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26.xml" ContentType="application/vnd.openxmlformats-officedocument.presentationml.tags+xml"/>
  <Override PartName="/ppt/notesSlides/notesSlide2.xml" ContentType="application/vnd.openxmlformats-officedocument.presentationml.notesSlide+xml"/>
  <Override PartName="/ppt/tags/tag127.xml" ContentType="application/vnd.openxmlformats-officedocument.presentationml.tags+xml"/>
  <Override PartName="/ppt/notesSlides/notesSlide3.xml" ContentType="application/vnd.openxmlformats-officedocument.presentationml.notesSlide+xml"/>
  <Override PartName="/ppt/tags/tag12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2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3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5259" r:id="rId8"/>
  </p:sldMasterIdLst>
  <p:notesMasterIdLst>
    <p:notesMasterId r:id="rId27"/>
  </p:notesMasterIdLst>
  <p:handoutMasterIdLst>
    <p:handoutMasterId r:id="rId28"/>
  </p:handoutMasterIdLst>
  <p:sldIdLst>
    <p:sldId id="267" r:id="rId9"/>
    <p:sldId id="279" r:id="rId10"/>
    <p:sldId id="2147483501" r:id="rId11"/>
    <p:sldId id="2147483489" r:id="rId12"/>
    <p:sldId id="257" r:id="rId13"/>
    <p:sldId id="315" r:id="rId14"/>
    <p:sldId id="256" r:id="rId15"/>
    <p:sldId id="271" r:id="rId16"/>
    <p:sldId id="285" r:id="rId17"/>
    <p:sldId id="270" r:id="rId18"/>
    <p:sldId id="423" r:id="rId19"/>
    <p:sldId id="302" r:id="rId20"/>
    <p:sldId id="445" r:id="rId21"/>
    <p:sldId id="272" r:id="rId22"/>
    <p:sldId id="259" r:id="rId23"/>
    <p:sldId id="258" r:id="rId24"/>
    <p:sldId id="262" r:id="rId25"/>
    <p:sldId id="2147483490" r:id="rId26"/>
  </p:sldIdLst>
  <p:sldSz cx="12188825" cy="6858000"/>
  <p:notesSz cx="6858000" cy="9144000"/>
  <p:embeddedFontLst>
    <p:embeddedFont>
      <p:font typeface="72" panose="020B0604020202020204" charset="0"/>
      <p:regular r:id="rId29"/>
      <p:bold r:id="rId30"/>
      <p:italic r:id="rId31"/>
      <p:boldItalic r:id="rId32"/>
    </p:embeddedFont>
    <p:embeddedFont>
      <p:font typeface="72 Brand" panose="020B0604020202020204" charset="0"/>
      <p:regular r:id="rId33"/>
      <p:bold r:id="rId34"/>
      <p:italic r:id="rId35"/>
      <p:boldItalic r:id="rId36"/>
    </p:embeddedFont>
    <p:embeddedFont>
      <p:font typeface="72 Brand Book" panose="020B0604020202020204" charset="0"/>
      <p:regular r:id="rId37"/>
      <p:italic r:id="rId38"/>
    </p:embeddedFont>
    <p:embeddedFont>
      <p:font typeface="72 Brand Light" panose="020B0604020202020204" charset="0"/>
      <p:regular r:id="rId39"/>
      <p:italic r:id="rId40"/>
    </p:embeddedFont>
    <p:embeddedFont>
      <p:font typeface="72 Brand Medium" panose="020B0604020202020204" charset="0"/>
      <p:regular r:id="rId41"/>
      <p:italic r:id="rId42"/>
    </p:embeddedFont>
    <p:embeddedFont>
      <p:font typeface="Segoe UI" panose="020B0502040204020203" pitchFamily="34" charset="0"/>
      <p:regular r:id="rId43"/>
      <p:bold r:id="rId44"/>
      <p:italic r:id="rId45"/>
      <p:boldItalic r:id="rId46"/>
    </p:embeddedFont>
  </p:embeddedFontLst>
  <p:custDataLst>
    <p:tags r:id="rId47"/>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SAP Business Suite" id="{C1D20AE8-2580-3F45-9BBC-18A81020CC5C}">
          <p14:sldIdLst>
            <p14:sldId id="267"/>
            <p14:sldId id="279"/>
            <p14:sldId id="2147483501"/>
            <p14:sldId id="2147483489"/>
            <p14:sldId id="257"/>
            <p14:sldId id="315"/>
            <p14:sldId id="256"/>
            <p14:sldId id="271"/>
            <p14:sldId id="285"/>
            <p14:sldId id="270"/>
            <p14:sldId id="423"/>
            <p14:sldId id="302"/>
            <p14:sldId id="445"/>
            <p14:sldId id="272"/>
            <p14:sldId id="259"/>
            <p14:sldId id="258"/>
            <p14:sldId id="262"/>
          </p14:sldIdLst>
        </p14:section>
        <p14:section name="Clean Core" id="{4A67B65D-EEF3-7C43-9EEC-E1E9432976B1}">
          <p14:sldIdLst>
            <p14:sldId id="2147483490"/>
          </p14:sldIdLst>
        </p14:section>
        <p14:section name="Appendix" id="{81ED238C-ED9D-CD4F-BE6F-D07808D9E45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C47E07-EF04-3821-1521-B167D3E504BB}" name="Schlabbers, Daniel" initials="SD" userId="S::daniel.schlabbers@sap.com::7b1b717d-c92c-4b33-9d33-5dd73f11a8f7" providerId="AD"/>
  <p188:author id="{16B43809-E1AC-96F7-6D30-5B3639542368}" name="Kresch, Matthew" initials="" userId="S::matthew.kresch@sap.com::3fe3f5bc-0201-491a-9380-058ad1db4077" providerId="AD"/>
  <p188:author id="{6C90B809-5D83-6D44-A3BD-20FAEB71D878}" name="Penner, Terry" initials="TP" userId="S::terry.penner@sap.com::e8831e6a-e6d7-4038-961c-b0fc3c88efba" providerId="AD"/>
  <p188:author id="{F823670A-501C-0965-FCEF-367B6466B7D7}" name="Kim, Jeanney" initials="" userId="S::jeanney.kim@sap.com::0ad817ec-751f-426b-a09b-fcc653d15c68" providerId="AD"/>
  <p188:author id="{0246AE0B-19CB-852A-7E23-5BB9363C7EEB}" name="Smart, Hildie" initials="SH" userId="S::hildie.smart@sap.com::4e2e4efb-153b-4edf-9a88-4856d2d55d84" providerId="AD"/>
  <p188:author id="{3185670C-280E-D3D3-FC64-1DB5C613F9E0}" name="Drefke, Kate" initials="KD" userId="S::kate.drefke@sap.com::89528195-207e-415a-92d9-f5aa6a350b60" providerId="AD"/>
  <p188:author id="{1BFE711A-8712-0CF3-305A-E4D5D6353041}" name="Tran, Thi Than Thuong" initials="TT" userId="S::thi.than.thuong.tran@sap.com::b8f71783-58c5-4305-b718-9bfe621bd144" providerId="AD"/>
  <p188:author id="{189B3B21-AC2D-EBDE-B5EC-492C4EF7EF1D}" name="Breher, Mona" initials="MK" userId="S::mona.breher@sap.com::a2c18acc-0619-4e7a-a85c-8986966ded39" providerId="AD"/>
  <p188:author id="{72895326-5C2C-2C15-EE16-638FED09F0F6}" name="Sandhu, Bharat" initials="BS" userId="S::bharat.sandhu@sap.com::f5b52b63-1f5a-416a-a4ee-d5c052bf20ae" providerId="AD"/>
  <p188:author id="{243E7129-2AC1-9CCB-3D63-5B11C3923845}" name="Keehn, Jessica" initials="JK" userId="S::jessica.keehn@sap.com::e8c54ee9-3ab2-428b-9b00-136b3530ffa3" providerId="AD"/>
  <p188:author id="{A639E129-038C-8FF8-CD48-8F192542C9C3}" name="Zimmermann, Patrick" initials="ZP" userId="S::patrick.zimmermann02@sap.com::6665281a-7baa-4c86-8c29-3cccbfb809de" providerId="AD"/>
  <p188:author id="{3557882D-8238-D756-4FE0-3FE29DEE6E5B}" name="Scherer, Jochen" initials="JS" userId="S::jochen.scherer@sap.com::ea521684-fa6e-4f1f-a990-53ce4c523aed" providerId="AD"/>
  <p188:author id="{CB4AAB31-09C2-340A-CEA3-5ED0D995EBFE}" name="van Rossum, Eric" initials="vE" userId="S::eric.van.rossum@sap.com::42aedc97-e752-447c-84be-c3e9cc5921e5" providerId="AD"/>
  <p188:author id="{B9259235-D2FD-9284-7777-DD99219F5F2C}" name="Chhaya, Haresh" initials="HC" userId="S::h.chhaya@sap.com::929c8bf1-dbc0-4d35-8d5b-185d0fce82ee" providerId="AD"/>
  <p188:author id="{829D074A-4F25-0ABF-D6F7-18DC6B72EFDC}" name="Ferguson, Robert" initials="FR" userId="S::robert.ferguson01@sap.com::9161217a-32ce-4277-aeca-7a1c85d1095a" providerId="AD"/>
  <p188:author id="{0CE81B4E-76D3-2E33-DA6E-8E973306008F}" name="Rolfs, Scott" initials="RS" userId="S::scott.rolfs@sap.com::eda342ce-84e1-47df-a454-4c9f616c75a4" providerId="AD"/>
  <p188:author id="{69E9F151-E9D8-DAB7-8FC5-4F59AF78BEFE}" name="Kearnan, Dan" initials="KD" userId="S::dan.kearnan@sap.com::2037bf1b-a346-43e9-bae2-e3e230d924b3" providerId="AD"/>
  <p188:author id="{D3912259-992C-1D98-B79D-E9FD7BC03791}" name="Bown, Brenda" initials="BB" userId="S::brenda.bown@sap.com::d8eede94-2835-462d-9ea3-317e61fdef1b" providerId="AD"/>
  <p188:author id="{856C675A-C6B6-7A02-8DBB-385F1721BCF4}" name="Buerkle, Sarah" initials="" userId="S::s.buerkle@sap.com::f9d8e04b-7712-4b12-9745-f87eaec9437d" providerId="AD"/>
  <p188:author id="{15247F64-37B1-A156-C963-F84EF9C2569E}" name=" " initials="HM" userId=" " providerId="None"/>
  <p188:author id="{9F7DC066-1575-59FE-328A-5C891F2CD228}" name="Dogan, Songuel" initials="DS" userId="S::songuel.dogan@sap.com::0a5bb34a-ae94-44b0-be3f-388be127c03b" providerId="AD"/>
  <p188:author id="{9BC96870-7946-A4FD-6429-713EFA0964BF}" name="Hutchings, Quinn" initials="QH" userId="S::quinn.hutchings@sap.com::31fbb77b-2fa6-4f5f-8f0d-211bcf35459f" providerId="AD"/>
  <p188:author id="{09DBBB75-2328-909F-DF91-6DF4E935E846}" name="Gudat, Sandra" initials="SG" userId="S::sandra.gudat@sap.com::6646031a-3feb-448a-b0ae-fe6ada803639" providerId="AD"/>
  <p188:author id="{85C84B85-CAE3-14A3-E98E-8501BB056D43}" name="Sureshchand, Akshay" initials="SA" userId="S::akshay.sureshchand@sap.com::202884c3-c09e-4a97-b8d2-4df5fd5ac85d" providerId="AD"/>
  <p188:author id="{02F7B888-F0E9-513B-5366-6214FF84EE84}" name="Kerrigan, Jacqueline" initials="KJ" userId="S::jacqueline.kerrigan@sap.com::7bda7bc1-4176-43ba-9690-3812015ca0f4" providerId="AD"/>
  <p188:author id="{3E798889-30B8-9664-3221-2E160AFA4A0E}" name="Truong, Tony" initials="TT" userId="S::tony.truong@sap.com::97dbfcaa-a8a6-4bdb-b1b2-b7d924ca34a0" providerId="AD"/>
  <p188:author id="{AF67228E-95CB-83C9-DF98-52E7FC602084}" name="Huber, Christian" initials="CH" userId="S::christian.huber02@sap.com::cdf9380f-f60c-41d4-afbc-b659b04bd58e" providerId="AD"/>
  <p188:author id="{C07224A0-BAE1-7C53-02AB-586ACC4EEF01}" name="Kristin Eskind" initials="" userId="S::keskind@duarte.com::885aca00-49b4-49f8-8c42-e9315366e2b9" providerId="AD"/>
  <p188:author id="{AEA448A1-3C31-3A0A-47CA-ECB7771221DC}" name="Schmidt, Sarah" initials="SS" userId="S::sarah.schmidt04@sap.com::ae05d904-f10c-4e53-a7d5-665454f9643c" providerId="AD"/>
  <p188:author id="{6FF1B3A2-E6CB-AF3D-3FA8-A886D35F8AFB}" name="Hoppin, Tim" initials="TH" userId="S::tim.hoppin@sap.com::e0bd8dad-2fdf-44fc-8e1f-5858b643cb83" providerId="AD"/>
  <p188:author id="{26EC04AB-35EA-1062-E7F9-89ACCC367623}" name="Patterson, Natalie" initials="NP" userId="S::natalie.patterson@sap.com::8a823526-a383-4cf5-ac70-1015589025e7" providerId="AD"/>
  <p188:author id="{488758AE-6C06-ABEC-D6CA-E73AE24AA740}" name="Crames, Annika" initials="AC" userId="S::annika.crames@sap.com::29550e5f-06ab-4542-b09f-7578f9d265d7" providerId="AD"/>
  <p188:author id="{7672DDB9-4096-1167-A8A9-D7D140FD139C}" name="Wandernoth, Marcus" initials="" userId="S::marcus.wandernoth@sap.com::b396a513-3ff8-405a-9eaa-484705e8e6f4" providerId="AD"/>
  <p188:author id="{AA95B2BA-4BED-3BCA-B9CE-4E3D089EAC25}" name="Zemanek, Julie" initials="" userId="S::julie.zemanek@sap.com::d4c4029f-f33d-44e1-bc0d-92c2d86baa25" providerId="AD"/>
  <p188:author id="{E60E82C2-8CF1-974C-6412-EB31F804273A}" name="Pawar-Walters, Ketaki" initials="" userId="S::ketaki.pawar-walters@sap.com::d732e5aa-05d4-4ec7-9333-3ed63e37dc94" providerId="AD"/>
  <p188:author id="{168584C2-308D-4A98-87AD-C6261ECF145F}" name="Kubach, Christiane" initials="CK" userId="S::christiane.kubach@sap.com::aea91726-3eaf-4e90-8fcf-387a3efff50e" providerId="AD"/>
  <p188:author id="{9CA550CB-2DEC-6D35-C080-70CAB97AC6B4}" name="Volland, Jonas" initials="VJ" userId="S::jonas.volland@sap.com::1db986ad-87c6-403a-b812-4dab6fd6ef21" providerId="AD"/>
  <p188:author id="{C98493CC-68EE-6728-8B09-C8A08468932B}" name="Pickett, Diane" initials="DP" userId="S::diane.pickett@sap.com::76650d4d-154f-49a6-bb81-d1ec82ba8ae0" providerId="AD"/>
  <p188:author id="{1FD45BD1-7350-DF90-5794-83E880ADC4A9}" name="Francis, Matthew" initials="MF" userId="S::matthew.francis@sap.com::a8632216-4f80-40f8-be21-bc10e0c15f3b" providerId="AD"/>
  <p188:author id="{3CFA16D9-D2C6-169F-504D-CD2C9CDB638F}" name="Sollod, Sylvie" initials="SS" userId="S::sylvie.sollod@sap.com::8ade8bea-c105-48d9-b3c3-f50e201c2420" providerId="AD"/>
  <p188:author id="{3D1F95DE-C52F-00C1-84CC-E54F50AFEFEF}" name="Hecker, Pascal" initials="HP" userId="S::p.hecker@sap.com::89793216-2f64-46ac-b1f6-b042d1bc1dfe" providerId="AD"/>
  <p188:author id="{C81325E1-AF58-5487-5EE9-F68CCE0D3F2C}" name="Hackler, Theresa" initials="HT" userId="S::theresa.hackler@sap.com::9ab4e2ff-fbae-47fb-b951-a2deec7a1ff9" providerId="AD"/>
  <p188:author id="{1AE12EE5-A2A1-EBA6-E619-9DB287310F20}" name="Yi, Chao" initials="CY" userId="S::chao.yi@sap.com::9ec09e70-85be-4511-a6dc-774f932c0576" providerId="AD"/>
  <p188:author id="{5BAC34E5-219F-0148-55D1-63BC9ECDA9B7}" name="Hameroff, Maura" initials="HM" userId="S::maura.hameroff@sap.com::11043179-61fd-4d69-bce4-f6ea7d97a41a" providerId="AD"/>
  <p188:author id="{0AD9DDF4-431E-886D-E7F7-872D804D91DF}" name="Steinhaeuser, Sebastian" initials="SS" userId="S::sebastian.steinhaeuser@sap.com::883ba5c6-3fb6-41e2-b813-7372354f81b0" providerId="AD"/>
  <p188:author id="{345B3EF7-C699-47B6-1BC6-E969B7E61D7C}" name="Bastian, Lars" initials="LB" userId="S::lars.bastian@sap.com::a9975bef-b98e-4380-afb1-83356b268f8e" providerId="AD"/>
  <p188:author id="{207E51F9-D2FD-D42E-015D-32BA5ECD883D}" name="Chen, Jenny" initials="" userId="S::j.chen02@sap.com::e1ebcb77-24a2-482c-9018-da335115959a" providerId="AD"/>
  <p188:author id="{2D6157FE-B439-0E8D-193C-609F2CFCBE88}" name="Kask, Sean" initials="SK" userId="S::sean.kask@sap.com::7b0ce078-19bb-4e69-81d3-fb049bce2051"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6E0FF"/>
    <a:srgbClr val="F0EAE9"/>
    <a:srgbClr val="475E75"/>
    <a:srgbClr val="0370F3"/>
    <a:srgbClr val="63BBFF"/>
    <a:srgbClr val="8DD3FF"/>
    <a:srgbClr val="9876FF"/>
    <a:srgbClr val="0070F2"/>
    <a:srgbClr val="EAEC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89"/>
    <p:restoredTop sz="76549"/>
  </p:normalViewPr>
  <p:slideViewPr>
    <p:cSldViewPr snapToGrid="0">
      <p:cViewPr varScale="1">
        <p:scale>
          <a:sx n="57" d="100"/>
          <a:sy n="57" d="100"/>
        </p:scale>
        <p:origin x="1036" y="4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11.fntdata"/><Relationship Id="rId21" Type="http://schemas.openxmlformats.org/officeDocument/2006/relationships/slide" Target="slides/slide13.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font" Target="fonts/font1.fntdata"/><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font" Target="fonts/font17.fntdata"/><Relationship Id="rId53" Type="http://schemas.microsoft.com/office/2018/10/relationships/authors" Target="authors.xml"/><Relationship Id="rId5" Type="http://schemas.openxmlformats.org/officeDocument/2006/relationships/customXml" Target="../customXml/item5.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font" Target="fonts/font3.fntdata"/><Relationship Id="rId44" Type="http://schemas.openxmlformats.org/officeDocument/2006/relationships/font" Target="fonts/font16.fntdata"/><Relationship Id="rId52"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presProps" Target="presProps.xml"/><Relationship Id="rId8" Type="http://schemas.openxmlformats.org/officeDocument/2006/relationships/slideMaster" Target="slideMasters/slideMaster1.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font" Target="fonts/font5.fntdata"/><Relationship Id="rId38" Type="http://schemas.openxmlformats.org/officeDocument/2006/relationships/font" Target="fonts/font10.fntdata"/><Relationship Id="rId46" Type="http://schemas.openxmlformats.org/officeDocument/2006/relationships/font" Target="fonts/font18.fntdata"/><Relationship Id="rId20" Type="http://schemas.openxmlformats.org/officeDocument/2006/relationships/slide" Target="slides/slide12.xml"/><Relationship Id="rId41"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36" Type="http://schemas.openxmlformats.org/officeDocument/2006/relationships/font" Target="fonts/font8.fntdata"/><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e Schroeter" userId="27335077-69f8-42ab-aa74-6d2fa6841815" providerId="ADAL" clId="{B3F5A743-8D92-4553-9FFD-0BC02C329166}"/>
    <pc:docChg chg="modSld">
      <pc:chgData name="Nicole Schroeter" userId="27335077-69f8-42ab-aa74-6d2fa6841815" providerId="ADAL" clId="{B3F5A743-8D92-4553-9FFD-0BC02C329166}" dt="2025-05-08T13:08:31.527" v="13" actId="6549"/>
      <pc:docMkLst>
        <pc:docMk/>
      </pc:docMkLst>
      <pc:sldChg chg="modNotesTx">
        <pc:chgData name="Nicole Schroeter" userId="27335077-69f8-42ab-aa74-6d2fa6841815" providerId="ADAL" clId="{B3F5A743-8D92-4553-9FFD-0BC02C329166}" dt="2025-05-08T13:07:36.829" v="5" actId="6549"/>
        <pc:sldMkLst>
          <pc:docMk/>
          <pc:sldMk cId="2666833686" sldId="256"/>
        </pc:sldMkLst>
      </pc:sldChg>
      <pc:sldChg chg="modNotesTx">
        <pc:chgData name="Nicole Schroeter" userId="27335077-69f8-42ab-aa74-6d2fa6841815" providerId="ADAL" clId="{B3F5A743-8D92-4553-9FFD-0BC02C329166}" dt="2025-05-08T13:07:19.921" v="3" actId="6549"/>
        <pc:sldMkLst>
          <pc:docMk/>
          <pc:sldMk cId="599181580" sldId="257"/>
        </pc:sldMkLst>
      </pc:sldChg>
      <pc:sldChg chg="modNotesTx">
        <pc:chgData name="Nicole Schroeter" userId="27335077-69f8-42ab-aa74-6d2fa6841815" providerId="ADAL" clId="{B3F5A743-8D92-4553-9FFD-0BC02C329166}" dt="2025-05-08T13:08:05.894" v="10" actId="6549"/>
        <pc:sldMkLst>
          <pc:docMk/>
          <pc:sldMk cId="2699044687" sldId="258"/>
        </pc:sldMkLst>
      </pc:sldChg>
      <pc:sldChg chg="modNotesTx">
        <pc:chgData name="Nicole Schroeter" userId="27335077-69f8-42ab-aa74-6d2fa6841815" providerId="ADAL" clId="{B3F5A743-8D92-4553-9FFD-0BC02C329166}" dt="2025-05-08T13:08:10.874" v="11" actId="6549"/>
        <pc:sldMkLst>
          <pc:docMk/>
          <pc:sldMk cId="1604413742" sldId="259"/>
        </pc:sldMkLst>
      </pc:sldChg>
      <pc:sldChg chg="modNotesTx">
        <pc:chgData name="Nicole Schroeter" userId="27335077-69f8-42ab-aa74-6d2fa6841815" providerId="ADAL" clId="{B3F5A743-8D92-4553-9FFD-0BC02C329166}" dt="2025-05-08T13:08:01.455" v="9" actId="6549"/>
        <pc:sldMkLst>
          <pc:docMk/>
          <pc:sldMk cId="4155804851" sldId="262"/>
        </pc:sldMkLst>
      </pc:sldChg>
      <pc:sldChg chg="modNotesTx">
        <pc:chgData name="Nicole Schroeter" userId="27335077-69f8-42ab-aa74-6d2fa6841815" providerId="ADAL" clId="{B3F5A743-8D92-4553-9FFD-0BC02C329166}" dt="2025-05-08T13:06:51.458" v="0" actId="6549"/>
        <pc:sldMkLst>
          <pc:docMk/>
          <pc:sldMk cId="1222090946" sldId="267"/>
        </pc:sldMkLst>
      </pc:sldChg>
      <pc:sldChg chg="modNotesTx">
        <pc:chgData name="Nicole Schroeter" userId="27335077-69f8-42ab-aa74-6d2fa6841815" providerId="ADAL" clId="{B3F5A743-8D92-4553-9FFD-0BC02C329166}" dt="2025-05-08T13:07:48.472" v="7" actId="6549"/>
        <pc:sldMkLst>
          <pc:docMk/>
          <pc:sldMk cId="1867156324" sldId="270"/>
        </pc:sldMkLst>
      </pc:sldChg>
      <pc:sldChg chg="modNotesTx">
        <pc:chgData name="Nicole Schroeter" userId="27335077-69f8-42ab-aa74-6d2fa6841815" providerId="ADAL" clId="{B3F5A743-8D92-4553-9FFD-0BC02C329166}" dt="2025-05-08T13:08:25.006" v="12" actId="6549"/>
        <pc:sldMkLst>
          <pc:docMk/>
          <pc:sldMk cId="3651944424" sldId="272"/>
        </pc:sldMkLst>
      </pc:sldChg>
      <pc:sldChg chg="modNotesTx">
        <pc:chgData name="Nicole Schroeter" userId="27335077-69f8-42ab-aa74-6d2fa6841815" providerId="ADAL" clId="{B3F5A743-8D92-4553-9FFD-0BC02C329166}" dt="2025-05-08T13:07:02.113" v="1" actId="6549"/>
        <pc:sldMkLst>
          <pc:docMk/>
          <pc:sldMk cId="1078190822" sldId="279"/>
        </pc:sldMkLst>
      </pc:sldChg>
      <pc:sldChg chg="modNotesTx">
        <pc:chgData name="Nicole Schroeter" userId="27335077-69f8-42ab-aa74-6d2fa6841815" providerId="ADAL" clId="{B3F5A743-8D92-4553-9FFD-0BC02C329166}" dt="2025-05-08T13:07:44.413" v="6" actId="6549"/>
        <pc:sldMkLst>
          <pc:docMk/>
          <pc:sldMk cId="1762637666" sldId="285"/>
        </pc:sldMkLst>
      </pc:sldChg>
      <pc:sldChg chg="modNotesTx">
        <pc:chgData name="Nicole Schroeter" userId="27335077-69f8-42ab-aa74-6d2fa6841815" providerId="ADAL" clId="{B3F5A743-8D92-4553-9FFD-0BC02C329166}" dt="2025-05-08T13:07:30.650" v="4" actId="6549"/>
        <pc:sldMkLst>
          <pc:docMk/>
          <pc:sldMk cId="3279510656" sldId="315"/>
        </pc:sldMkLst>
      </pc:sldChg>
      <pc:sldChg chg="modNotesTx">
        <pc:chgData name="Nicole Schroeter" userId="27335077-69f8-42ab-aa74-6d2fa6841815" providerId="ADAL" clId="{B3F5A743-8D92-4553-9FFD-0BC02C329166}" dt="2025-05-08T13:07:53.890" v="8" actId="6549"/>
        <pc:sldMkLst>
          <pc:docMk/>
          <pc:sldMk cId="1690546630" sldId="423"/>
        </pc:sldMkLst>
      </pc:sldChg>
      <pc:sldChg chg="modNotesTx">
        <pc:chgData name="Nicole Schroeter" userId="27335077-69f8-42ab-aa74-6d2fa6841815" providerId="ADAL" clId="{B3F5A743-8D92-4553-9FFD-0BC02C329166}" dt="2025-05-08T13:08:31.527" v="13" actId="6549"/>
        <pc:sldMkLst>
          <pc:docMk/>
          <pc:sldMk cId="1820121223" sldId="445"/>
        </pc:sldMkLst>
      </pc:sldChg>
      <pc:sldChg chg="modNotesTx">
        <pc:chgData name="Nicole Schroeter" userId="27335077-69f8-42ab-aa74-6d2fa6841815" providerId="ADAL" clId="{B3F5A743-8D92-4553-9FFD-0BC02C329166}" dt="2025-05-08T13:07:08.648" v="2" actId="6549"/>
        <pc:sldMkLst>
          <pc:docMk/>
          <pc:sldMk cId="2502115029" sldId="214748350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D1EFFF"/>
            </a:solidFill>
            <a:ln w="25400">
              <a:noFill/>
            </a:ln>
          </c:spPr>
          <c:dPt>
            <c:idx val="0"/>
            <c:bubble3D val="0"/>
            <c:spPr>
              <a:solidFill>
                <a:srgbClr val="4DB1FF"/>
              </a:solidFill>
              <a:ln w="25400">
                <a:noFill/>
              </a:ln>
              <a:effectLst/>
            </c:spPr>
            <c:extLst>
              <c:ext xmlns:c16="http://schemas.microsoft.com/office/drawing/2014/chart" uri="{C3380CC4-5D6E-409C-BE32-E72D297353CC}">
                <c16:uniqueId val="{00000001-625D-484F-BE38-452E1F7CF328}"/>
              </c:ext>
            </c:extLst>
          </c:dPt>
          <c:dPt>
            <c:idx val="1"/>
            <c:bubble3D val="0"/>
            <c:spPr>
              <a:solidFill>
                <a:srgbClr val="0070F2"/>
              </a:solidFill>
              <a:ln w="25400">
                <a:noFill/>
              </a:ln>
              <a:effectLst/>
            </c:spPr>
            <c:extLst>
              <c:ext xmlns:c16="http://schemas.microsoft.com/office/drawing/2014/chart" uri="{C3380CC4-5D6E-409C-BE32-E72D297353CC}">
                <c16:uniqueId val="{00000003-625D-484F-BE38-452E1F7CF328}"/>
              </c:ext>
            </c:extLst>
          </c:dPt>
          <c:dPt>
            <c:idx val="2"/>
            <c:bubble3D val="0"/>
            <c:spPr>
              <a:solidFill>
                <a:srgbClr val="0040B0"/>
              </a:solidFill>
              <a:ln w="25400">
                <a:noFill/>
              </a:ln>
              <a:effectLst/>
            </c:spPr>
            <c:extLst>
              <c:ext xmlns:c16="http://schemas.microsoft.com/office/drawing/2014/chart" uri="{C3380CC4-5D6E-409C-BE32-E72D297353CC}">
                <c16:uniqueId val="{00000005-625D-484F-BE38-452E1F7CF328}"/>
              </c:ext>
            </c:extLst>
          </c:dPt>
          <c:dPt>
            <c:idx val="3"/>
            <c:bubble3D val="0"/>
            <c:spPr>
              <a:solidFill>
                <a:srgbClr val="D1EFFF"/>
              </a:solidFill>
              <a:ln w="25400">
                <a:noFill/>
              </a:ln>
              <a:effectLst/>
            </c:spPr>
            <c:extLst>
              <c:ext xmlns:c16="http://schemas.microsoft.com/office/drawing/2014/chart" uri="{C3380CC4-5D6E-409C-BE32-E72D297353CC}">
                <c16:uniqueId val="{00000007-625D-484F-BE38-452E1F7CF328}"/>
              </c:ext>
            </c:extLst>
          </c:dPt>
          <c:dPt>
            <c:idx val="4"/>
            <c:bubble3D val="0"/>
            <c:spPr>
              <a:solidFill>
                <a:srgbClr val="A6E0FF"/>
              </a:solidFill>
              <a:ln w="25400">
                <a:noFill/>
              </a:ln>
              <a:effectLst/>
            </c:spPr>
            <c:extLst>
              <c:ext xmlns:c16="http://schemas.microsoft.com/office/drawing/2014/chart" uri="{C3380CC4-5D6E-409C-BE32-E72D297353CC}">
                <c16:uniqueId val="{00000009-625D-484F-BE38-452E1F7CF328}"/>
              </c:ext>
            </c:extLst>
          </c:dPt>
          <c:cat>
            <c:strRef>
              <c:f>Sheet1!$A$2:$A$6</c:f>
              <c:strCache>
                <c:ptCount val="4"/>
                <c:pt idx="0">
                  <c:v>1st Qtr</c:v>
                </c:pt>
                <c:pt idx="1">
                  <c:v>2nd Qtr</c:v>
                </c:pt>
                <c:pt idx="2">
                  <c:v>3rd Qtr</c:v>
                </c:pt>
                <c:pt idx="3">
                  <c:v>4th Qtr</c:v>
                </c:pt>
              </c:strCache>
            </c:strRef>
          </c:cat>
          <c:val>
            <c:numRef>
              <c:f>Sheet1!$B$2:$B$6</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A-625D-484F-BE38-452E1F7CF328}"/>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6350">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latin typeface="Arial" panose="020B0604020202020204" pitchFamily="34" charset="0"/>
              </a:rPr>
              <a:pPr algn="ctr"/>
              <a:t>‹Nr.›</a:t>
            </a:fld>
            <a:endParaRPr lang="de-DE" sz="1000">
              <a:latin typeface="Arial" panose="020B0604020202020204" pitchFamily="34" charset="0"/>
            </a:endParaRPr>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b="0" i="0">
                <a:latin typeface="Arial" panose="020B0604020202020204" pitchFamily="34" charset="0"/>
              </a:defRPr>
            </a:lvl1pPr>
          </a:lstStyle>
          <a:p>
            <a:fld id="{7D8C2C35-2B8A-446E-BEC0-FD36716C29AC}" type="slidenum">
              <a:rPr lang="en-DE" smtClean="0"/>
              <a:pPr/>
              <a:t>‹Nr.›</a:t>
            </a:fld>
            <a:endParaRPr lang="en-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b="0" i="0" kern="1200">
        <a:solidFill>
          <a:schemeClr val="tx1"/>
        </a:solidFill>
        <a:latin typeface="Arial" panose="020B0604020202020204" pitchFamily="34" charset="0"/>
        <a:ea typeface="+mn-ea"/>
        <a:cs typeface="+mn-cs"/>
      </a:defRPr>
    </a:lvl1pPr>
    <a:lvl2pPr marL="180000" indent="-180000" algn="l" defTabSz="1088776" rtl="0" eaLnBrk="1" latinLnBrk="0" hangingPunct="1">
      <a:buClr>
        <a:schemeClr val="accent1"/>
      </a:buClr>
      <a:buSzPct val="100000"/>
      <a:buFont typeface="Wingdings" pitchFamily="2" charset="2"/>
      <a:buChar char=""/>
      <a:defRPr sz="1400" b="0" i="0" kern="1200">
        <a:solidFill>
          <a:schemeClr val="tx1"/>
        </a:solidFill>
        <a:latin typeface="Arial" panose="020B0604020202020204" pitchFamily="34" charset="0"/>
        <a:ea typeface="+mn-ea"/>
        <a:cs typeface="+mn-cs"/>
      </a:defRPr>
    </a:lvl2pPr>
    <a:lvl3pPr marL="360000" indent="-180000" algn="l" defTabSz="1088776" rtl="0" eaLnBrk="1" latinLnBrk="0" hangingPunct="1">
      <a:buClr>
        <a:schemeClr val="accent2"/>
      </a:buClr>
      <a:buSzPct val="80000"/>
      <a:buFont typeface="Symbol" pitchFamily="18" charset="2"/>
      <a:buChar char="-"/>
      <a:defRPr sz="1200" b="0" i="0" kern="1200">
        <a:solidFill>
          <a:schemeClr val="tx1"/>
        </a:solidFill>
        <a:latin typeface="Arial" panose="020B0604020202020204" pitchFamily="34" charset="0"/>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15000"/>
              </a:lnSpc>
              <a:buFont typeface="Arial" panose="020B0604020202020204" pitchFamily="34" charset="0"/>
              <a:buNone/>
            </a:pPr>
            <a:endParaRPr lang="en-DE" sz="1200" dirty="0">
              <a:latin typeface="72 Brand" panose="020B0504030603020204" pitchFamily="34" charset="0"/>
            </a:endParaRPr>
          </a:p>
        </p:txBody>
      </p:sp>
      <p:sp>
        <p:nvSpPr>
          <p:cNvPr id="4" name="Slide Number Placeholder 3"/>
          <p:cNvSpPr>
            <a:spLocks noGrp="1"/>
          </p:cNvSpPr>
          <p:nvPr>
            <p:ph type="sldNum" sz="quarter" idx="5"/>
          </p:nvPr>
        </p:nvSpPr>
        <p:spPr/>
        <p:txBody>
          <a:bodyPr/>
          <a:lstStyle/>
          <a:p>
            <a:fld id="{7D8C2C35-2B8A-446E-BEC0-FD36716C29AC}" type="slidenum">
              <a:rPr lang="en-DE" smtClean="0"/>
              <a:pPr/>
              <a:t>1</a:t>
            </a:fld>
            <a:endParaRPr lang="en-DE"/>
          </a:p>
        </p:txBody>
      </p:sp>
    </p:spTree>
    <p:extLst>
      <p:ext uri="{BB962C8B-B14F-4D97-AF65-F5344CB8AC3E}">
        <p14:creationId xmlns:p14="http://schemas.microsoft.com/office/powerpoint/2010/main" val="2720601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lang="tr-TR" b="0" dirty="0"/>
          </a:p>
        </p:txBody>
      </p:sp>
      <p:sp>
        <p:nvSpPr>
          <p:cNvPr id="4" name="Foliennummernplatzhalter 3"/>
          <p:cNvSpPr>
            <a:spLocks noGrp="1"/>
          </p:cNvSpPr>
          <p:nvPr>
            <p:ph type="sldNum" sz="quarter" idx="5"/>
          </p:nvPr>
        </p:nvSpPr>
        <p:spPr/>
        <p:txBody>
          <a:bodyPr/>
          <a:lstStyle/>
          <a:p>
            <a:fld id="{7D8C2C35-2B8A-446E-BEC0-FD36716C29AC}" type="slidenum">
              <a:rPr lang="en-DE" smtClean="0"/>
              <a:pPr/>
              <a:t>11</a:t>
            </a:fld>
            <a:endParaRPr lang="en-DE"/>
          </a:p>
        </p:txBody>
      </p:sp>
    </p:spTree>
    <p:extLst>
      <p:ext uri="{BB962C8B-B14F-4D97-AF65-F5344CB8AC3E}">
        <p14:creationId xmlns:p14="http://schemas.microsoft.com/office/powerpoint/2010/main" val="2006141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pPr marL="0" marR="0">
              <a:lnSpc>
                <a:spcPct val="115000"/>
              </a:lnSpc>
              <a:spcAft>
                <a:spcPts val="800"/>
              </a:spcAft>
              <a:buNone/>
            </a:pPr>
            <a:endParaRPr lang="en-US" sz="1400" b="0" dirty="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7D8C2C35-2B8A-446E-BEC0-FD36716C29AC}" type="slidenum">
              <a:rPr lang="en-DE" smtClean="0"/>
              <a:pPr/>
              <a:t>13</a:t>
            </a:fld>
            <a:endParaRPr lang="en-DE"/>
          </a:p>
        </p:txBody>
      </p:sp>
    </p:spTree>
    <p:extLst>
      <p:ext uri="{BB962C8B-B14F-4D97-AF65-F5344CB8AC3E}">
        <p14:creationId xmlns:p14="http://schemas.microsoft.com/office/powerpoint/2010/main" val="19338616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C42E5-BC95-C14B-848C-BEAE124020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95CAA1-468C-78DB-58AA-484584F1DE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FAFC3F-F2CC-F104-AFE7-7DB1AB6B7594}"/>
              </a:ext>
            </a:extLst>
          </p:cNvPr>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lang="en-US" sz="1200" dirty="0">
              <a:latin typeface="72 Brand" panose="020B0504030603020204" pitchFamily="34" charset="0"/>
            </a:endParaRPr>
          </a:p>
        </p:txBody>
      </p:sp>
      <p:sp>
        <p:nvSpPr>
          <p:cNvPr id="4" name="Slide Number Placeholder 3">
            <a:extLst>
              <a:ext uri="{FF2B5EF4-FFF2-40B4-BE49-F238E27FC236}">
                <a16:creationId xmlns:a16="http://schemas.microsoft.com/office/drawing/2014/main" id="{77016AFA-1DD7-62E5-1E10-F44B8CA8ED6D}"/>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4</a:t>
            </a:fld>
            <a:endParaRPr kumimoji="0" lang="en-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48938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a:endParaRPr lang="en-US"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15</a:t>
            </a:fld>
            <a:endParaRPr lang="en-DE"/>
          </a:p>
        </p:txBody>
      </p:sp>
    </p:spTree>
    <p:extLst>
      <p:ext uri="{BB962C8B-B14F-4D97-AF65-F5344CB8AC3E}">
        <p14:creationId xmlns:p14="http://schemas.microsoft.com/office/powerpoint/2010/main" val="18056377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D8C2C35-2B8A-446E-BEC0-FD36716C29AC}" type="slidenum">
              <a:rPr lang="en-DE" smtClean="0"/>
              <a:pPr/>
              <a:t>16</a:t>
            </a:fld>
            <a:endParaRPr lang="en-DE"/>
          </a:p>
        </p:txBody>
      </p:sp>
    </p:spTree>
    <p:extLst>
      <p:ext uri="{BB962C8B-B14F-4D97-AF65-F5344CB8AC3E}">
        <p14:creationId xmlns:p14="http://schemas.microsoft.com/office/powerpoint/2010/main" val="2744987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4DF89D-2BF3-9EB8-B3BE-C480E53C6C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1CA73F-0F4C-78F1-E281-16C79A4DA8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D5CAF3-8DC6-DDE3-C4D5-16F31EA0CB96}"/>
              </a:ext>
            </a:extLst>
          </p:cNvPr>
          <p:cNvSpPr>
            <a:spLocks noGrp="1"/>
          </p:cNvSpPr>
          <p:nvPr>
            <p:ph type="body" idx="1"/>
          </p:nvPr>
        </p:nvSpPr>
        <p:spPr/>
        <p:txBody>
          <a:bodyPr>
            <a:normAutofit fontScale="47500" lnSpcReduction="20000"/>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lang="en-US" sz="1800" b="1" dirty="0">
              <a:effectLst/>
              <a:latin typeface="72 Brand" panose="020B050403060302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C364CF70-57A5-0C12-3184-12F5700AB941}"/>
              </a:ext>
            </a:extLst>
          </p:cNvPr>
          <p:cNvSpPr>
            <a:spLocks noGrp="1"/>
          </p:cNvSpPr>
          <p:nvPr>
            <p:ph type="sldNum" sz="quarter" idx="5"/>
          </p:nvPr>
        </p:nvSpPr>
        <p:spPr/>
        <p:txBody>
          <a:bodyPr/>
          <a:lstStyle/>
          <a:p>
            <a:fld id="{7D8C2C35-2B8A-446E-BEC0-FD36716C29AC}" type="slidenum">
              <a:rPr lang="en-DE" smtClean="0"/>
              <a:pPr/>
              <a:t>17</a:t>
            </a:fld>
            <a:endParaRPr lang="en-DE"/>
          </a:p>
        </p:txBody>
      </p:sp>
    </p:spTree>
    <p:extLst>
      <p:ext uri="{BB962C8B-B14F-4D97-AF65-F5344CB8AC3E}">
        <p14:creationId xmlns:p14="http://schemas.microsoft.com/office/powerpoint/2010/main" val="39262497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83D17E-B031-F683-3457-1D79F3E8A3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5E9A87-4197-508C-7D9A-E0DC22C46F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5174F7-8F14-FDF0-601A-98F104FE21C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3B3E41E-02CE-8FFE-2158-2F5AA751B39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8C2C35-2B8A-446E-BEC0-FD36716C29AC}" type="slidenum">
              <a:rPr kumimoji="0" lang="en-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84449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A6A48E-EB1B-49F3-0CF3-E95F36FE90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8E74A4-60BA-D776-E341-AE2E320365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D71497-9E8A-D92D-CEBE-D4AFBB581F2F}"/>
              </a:ext>
            </a:extLst>
          </p:cNvPr>
          <p:cNvSpPr>
            <a:spLocks noGrp="1"/>
          </p:cNvSpPr>
          <p:nvPr>
            <p:ph type="body" idx="1"/>
          </p:nvPr>
        </p:nvSpPr>
        <p:spPr/>
        <p:txBody>
          <a:bodyPr>
            <a:normAutofit fontScale="92500" lnSpcReduction="20000"/>
          </a:bodyPr>
          <a:lstStyle/>
          <a:p>
            <a:pPr defTabSz="1109463">
              <a:defRPr/>
            </a:pPr>
            <a:endParaRPr lang="en-US" dirty="0"/>
          </a:p>
        </p:txBody>
      </p:sp>
      <p:sp>
        <p:nvSpPr>
          <p:cNvPr id="4" name="Slide Number Placeholder 3">
            <a:extLst>
              <a:ext uri="{FF2B5EF4-FFF2-40B4-BE49-F238E27FC236}">
                <a16:creationId xmlns:a16="http://schemas.microsoft.com/office/drawing/2014/main" id="{6C0E3E63-2DBB-8819-01FF-46043E132AE1}"/>
              </a:ext>
            </a:extLst>
          </p:cNvPr>
          <p:cNvSpPr>
            <a:spLocks noGrp="1"/>
          </p:cNvSpPr>
          <p:nvPr>
            <p:ph type="sldNum" sz="quarter" idx="5"/>
          </p:nvPr>
        </p:nvSpPr>
        <p:spPr/>
        <p:txBody>
          <a:bodyPr/>
          <a:lstStyle/>
          <a:p>
            <a:pPr algn="r" defTabSz="931774">
              <a:defRPr/>
            </a:pPr>
            <a:fld id="{7D8C2C35-2B8A-446E-BEC0-FD36716C29AC}" type="slidenum">
              <a:rPr lang="en-DE" sz="1200">
                <a:solidFill>
                  <a:prstClr val="black"/>
                </a:solidFill>
              </a:rPr>
              <a:pPr algn="r" defTabSz="931774">
                <a:defRPr/>
              </a:pPr>
              <a:t>2</a:t>
            </a:fld>
            <a:endParaRPr lang="en-DE" sz="1200">
              <a:solidFill>
                <a:prstClr val="black"/>
              </a:solidFill>
            </a:endParaRPr>
          </a:p>
        </p:txBody>
      </p:sp>
    </p:spTree>
    <p:extLst>
      <p:ext uri="{BB962C8B-B14F-4D97-AF65-F5344CB8AC3E}">
        <p14:creationId xmlns:p14="http://schemas.microsoft.com/office/powerpoint/2010/main" val="1230591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8643F-4D77-CFFF-B35E-79F9417936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FE7C12-2982-3B22-437C-5B5AABF24D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A3FDFA-A676-234C-E69C-20BDBF977836}"/>
              </a:ext>
            </a:extLst>
          </p:cNvPr>
          <p:cNvSpPr>
            <a:spLocks noGrp="1"/>
          </p:cNvSpPr>
          <p:nvPr>
            <p:ph type="body" idx="1"/>
          </p:nvPr>
        </p:nvSpPr>
        <p:spPr/>
        <p:txBody>
          <a:bodyPr>
            <a:normAutofit fontScale="40000" lnSpcReduction="20000"/>
          </a:bodyPr>
          <a:lstStyle/>
          <a:p>
            <a:pPr>
              <a:buNone/>
            </a:pPr>
            <a:endParaRPr lang="en-US" sz="1200" dirty="0">
              <a:latin typeface="72 Brand" panose="020B0504030603020204" pitchFamily="34" charset="0"/>
            </a:endParaRPr>
          </a:p>
        </p:txBody>
      </p:sp>
      <p:sp>
        <p:nvSpPr>
          <p:cNvPr id="4" name="Slide Number Placeholder 3">
            <a:extLst>
              <a:ext uri="{FF2B5EF4-FFF2-40B4-BE49-F238E27FC236}">
                <a16:creationId xmlns:a16="http://schemas.microsoft.com/office/drawing/2014/main" id="{11E8CC4A-B47C-8B61-A011-B6AA6BD8EE26}"/>
              </a:ext>
            </a:extLst>
          </p:cNvPr>
          <p:cNvSpPr>
            <a:spLocks noGrp="1"/>
          </p:cNvSpPr>
          <p:nvPr>
            <p:ph type="sldNum" sz="quarter" idx="5"/>
          </p:nvPr>
        </p:nvSpPr>
        <p:spPr/>
        <p:txBody>
          <a:bodyPr/>
          <a:lstStyle/>
          <a:p>
            <a:pPr marL="0" marR="0" lvl="0" indent="0" algn="ctr" defTabSz="3901411"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72 Brand" panose="020B0504030603020204" pitchFamily="34" charset="0"/>
                <a:ea typeface="+mn-ea"/>
                <a:cs typeface="+mn-cs"/>
              </a:rPr>
              <a:pPr marL="0" marR="0" lvl="0" indent="0" algn="ctr" defTabSz="3901411" rtl="0" eaLnBrk="1" fontAlgn="auto" latinLnBrk="0" hangingPunct="1">
                <a:lnSpc>
                  <a:spcPct val="100000"/>
                </a:lnSpc>
                <a:spcBef>
                  <a:spcPts val="0"/>
                </a:spcBef>
                <a:spcAft>
                  <a:spcPts val="0"/>
                </a:spcAft>
                <a:buClrTx/>
                <a:buSzTx/>
                <a:buFontTx/>
                <a:buNone/>
                <a:tabLst/>
                <a:defRPr/>
              </a:pPr>
              <a:t>3</a:t>
            </a:fld>
            <a:endParaRPr kumimoji="0" lang="en-DE" sz="800"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Tree>
    <p:extLst>
      <p:ext uri="{BB962C8B-B14F-4D97-AF65-F5344CB8AC3E}">
        <p14:creationId xmlns:p14="http://schemas.microsoft.com/office/powerpoint/2010/main" val="41475169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D3E3B-FB9F-9A47-8412-2585C5745E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FF55BD-0DF5-E374-B705-C560A1981E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C853EC-F2C0-CFB7-DCBB-63E1CB9F464E}"/>
              </a:ext>
            </a:extLst>
          </p:cNvPr>
          <p:cNvSpPr>
            <a:spLocks noGrp="1"/>
          </p:cNvSpPr>
          <p:nvPr>
            <p:ph type="body" idx="1"/>
          </p:nvPr>
        </p:nvSpPr>
        <p:spPr/>
        <p:txBody>
          <a:bodyPr>
            <a:normAutofit/>
          </a:bodyPr>
          <a:lstStyle/>
          <a:p>
            <a:endParaRPr lang="de-DE" sz="1200" b="0" i="0" dirty="0">
              <a:solidFill>
                <a:srgbClr val="242424"/>
              </a:solidFill>
              <a:effectLst/>
              <a:latin typeface="Segoe UI" panose="020B0502040204020203" pitchFamily="34" charset="0"/>
            </a:endParaRPr>
          </a:p>
        </p:txBody>
      </p:sp>
      <p:sp>
        <p:nvSpPr>
          <p:cNvPr id="4" name="Slide Number Placeholder 3">
            <a:extLst>
              <a:ext uri="{FF2B5EF4-FFF2-40B4-BE49-F238E27FC236}">
                <a16:creationId xmlns:a16="http://schemas.microsoft.com/office/drawing/2014/main" id="{927DE50E-08D0-B363-5DAD-DECD992D8518}"/>
              </a:ext>
            </a:extLst>
          </p:cNvPr>
          <p:cNvSpPr>
            <a:spLocks noGrp="1"/>
          </p:cNvSpPr>
          <p:nvPr>
            <p:ph type="sldNum" sz="quarter" idx="5"/>
          </p:nvPr>
        </p:nvSpPr>
        <p:spPr/>
        <p:txBody>
          <a:bodyPr/>
          <a:lstStyle/>
          <a:p>
            <a:pPr marL="0" marR="0" lvl="0" indent="0" algn="ctr" defTabSz="3901411"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72 Brand" panose="020B0504030603020204" pitchFamily="34" charset="0"/>
                <a:ea typeface="+mn-ea"/>
                <a:cs typeface="+mn-cs"/>
              </a:rPr>
              <a:pPr marL="0" marR="0" lvl="0" indent="0" algn="ctr" defTabSz="3901411" rtl="0" eaLnBrk="1" fontAlgn="auto" latinLnBrk="0" hangingPunct="1">
                <a:lnSpc>
                  <a:spcPct val="100000"/>
                </a:lnSpc>
                <a:spcBef>
                  <a:spcPts val="0"/>
                </a:spcBef>
                <a:spcAft>
                  <a:spcPts val="0"/>
                </a:spcAft>
                <a:buClrTx/>
                <a:buSzTx/>
                <a:buFontTx/>
                <a:buNone/>
                <a:tabLst/>
                <a:defRPr/>
              </a:pPr>
              <a:t>5</a:t>
            </a:fld>
            <a:endParaRPr kumimoji="0" lang="en-DE" sz="800"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Tree>
    <p:extLst>
      <p:ext uri="{BB962C8B-B14F-4D97-AF65-F5344CB8AC3E}">
        <p14:creationId xmlns:p14="http://schemas.microsoft.com/office/powerpoint/2010/main" val="3504904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6</a:t>
            </a:fld>
            <a:endParaRPr lang="en-DE"/>
          </a:p>
        </p:txBody>
      </p:sp>
    </p:spTree>
    <p:extLst>
      <p:ext uri="{BB962C8B-B14F-4D97-AF65-F5344CB8AC3E}">
        <p14:creationId xmlns:p14="http://schemas.microsoft.com/office/powerpoint/2010/main" val="2600735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92500" lnSpcReduction="20000"/>
          </a:bodyPr>
          <a:lstStyle/>
          <a:p>
            <a:endParaRPr lang="de-DE" dirty="0"/>
          </a:p>
        </p:txBody>
      </p:sp>
      <p:sp>
        <p:nvSpPr>
          <p:cNvPr id="4" name="Foliennummernplatzhalter 3"/>
          <p:cNvSpPr>
            <a:spLocks noGrp="1"/>
          </p:cNvSpPr>
          <p:nvPr>
            <p:ph type="sldNum" sz="quarter" idx="5"/>
          </p:nvPr>
        </p:nvSpPr>
        <p:spPr/>
        <p:txBody>
          <a:bodyPr/>
          <a:lstStyle/>
          <a:p>
            <a:fld id="{7D8C2C35-2B8A-446E-BEC0-FD36716C29AC}" type="slidenum">
              <a:rPr lang="en-DE" smtClean="0"/>
              <a:pPr/>
              <a:t>7</a:t>
            </a:fld>
            <a:endParaRPr lang="en-DE"/>
          </a:p>
        </p:txBody>
      </p:sp>
    </p:spTree>
    <p:extLst>
      <p:ext uri="{BB962C8B-B14F-4D97-AF65-F5344CB8AC3E}">
        <p14:creationId xmlns:p14="http://schemas.microsoft.com/office/powerpoint/2010/main" val="2454084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6489A6-B0C3-693C-5A1B-D9F070EFB59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35C928-0659-538F-59F9-3922B46674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859E82-93E1-8467-435E-AD2C1FC36AC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B5A1D8D-1E0A-4157-EBF9-83CCCEAF153B}"/>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72 Brand" panose="020B0504030603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8</a:t>
            </a:fld>
            <a:endParaRPr kumimoji="0" lang="en-DE" sz="800"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Tree>
    <p:extLst>
      <p:ext uri="{BB962C8B-B14F-4D97-AF65-F5344CB8AC3E}">
        <p14:creationId xmlns:p14="http://schemas.microsoft.com/office/powerpoint/2010/main" val="7814167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606845-6381-BEB1-89BC-C26EE0C7A3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9DA99E-6BAB-12C6-5619-31F9DD283D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F0E164-DDEF-045B-0557-6DD0AA23957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F2EE97B-F536-B858-63FD-FA41DFC2929B}"/>
              </a:ext>
            </a:extLst>
          </p:cNvPr>
          <p:cNvSpPr>
            <a:spLocks noGrp="1"/>
          </p:cNvSpPr>
          <p:nvPr>
            <p:ph type="sldNum" sz="quarter" idx="5"/>
          </p:nvPr>
        </p:nvSpPr>
        <p:spPr/>
        <p:txBody>
          <a:bodyPr/>
          <a:lstStyle/>
          <a:p>
            <a:fld id="{7D8C2C35-2B8A-446E-BEC0-FD36716C29AC}" type="slidenum">
              <a:rPr lang="en-DE" smtClean="0"/>
              <a:pPr/>
              <a:t>9</a:t>
            </a:fld>
            <a:endParaRPr lang="en-DE"/>
          </a:p>
        </p:txBody>
      </p:sp>
    </p:spTree>
    <p:extLst>
      <p:ext uri="{BB962C8B-B14F-4D97-AF65-F5344CB8AC3E}">
        <p14:creationId xmlns:p14="http://schemas.microsoft.com/office/powerpoint/2010/main" val="16548581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D3E3B-FB9F-9A47-8412-2585C5745E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FF55BD-0DF5-E374-B705-C560A1981E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C853EC-F2C0-CFB7-DCBB-63E1CB9F464E}"/>
              </a:ext>
            </a:extLst>
          </p:cNvPr>
          <p:cNvSpPr>
            <a:spLocks noGrp="1"/>
          </p:cNvSpPr>
          <p:nvPr>
            <p:ph type="body" idx="1"/>
          </p:nvPr>
        </p:nvSpPr>
        <p:spPr/>
        <p:txBody>
          <a:bodyPr>
            <a:normAutofit fontScale="40000" lnSpcReduction="20000"/>
          </a:bodyPr>
          <a:lstStyle/>
          <a:p>
            <a:pPr marL="0" marR="0" lvl="0" indent="0" algn="l" defTabSz="913943" rtl="0" eaLnBrk="1" fontAlgn="base" latinLnBrk="0" hangingPunct="1">
              <a:lnSpc>
                <a:spcPct val="100000"/>
              </a:lnSpc>
              <a:spcBef>
                <a:spcPts val="0"/>
              </a:spcBef>
              <a:spcAft>
                <a:spcPts val="600"/>
              </a:spcAft>
              <a:buClr>
                <a:srgbClr val="F0AB00"/>
              </a:buClr>
              <a:buSzPct val="80000"/>
              <a:buFontTx/>
              <a:buNone/>
              <a:tabLst/>
              <a:defRPr/>
            </a:pPr>
            <a:endParaRPr lang="en-US" sz="1800" dirty="0">
              <a:effectLst/>
              <a:latin typeface="72 Brand" panose="020B0504030603020204" pitchFamily="34" charset="0"/>
              <a:ea typeface="Times New Roman" panose="02020603050405020304" pitchFamily="18" charset="0"/>
            </a:endParaRPr>
          </a:p>
        </p:txBody>
      </p:sp>
      <p:sp>
        <p:nvSpPr>
          <p:cNvPr id="4" name="Slide Number Placeholder 3">
            <a:extLst>
              <a:ext uri="{FF2B5EF4-FFF2-40B4-BE49-F238E27FC236}">
                <a16:creationId xmlns:a16="http://schemas.microsoft.com/office/drawing/2014/main" id="{927DE50E-08D0-B363-5DAD-DECD992D8518}"/>
              </a:ext>
            </a:extLst>
          </p:cNvPr>
          <p:cNvSpPr>
            <a:spLocks noGrp="1"/>
          </p:cNvSpPr>
          <p:nvPr>
            <p:ph type="sldNum" sz="quarter" idx="5"/>
          </p:nvPr>
        </p:nvSpPr>
        <p:spPr/>
        <p:txBody>
          <a:bodyPr/>
          <a:lstStyle/>
          <a:p>
            <a:pPr marL="0" marR="0" lvl="0" indent="0" algn="ctr" defTabSz="3901411"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72 Brand" panose="020B0504030603020204" pitchFamily="34" charset="0"/>
                <a:ea typeface="+mn-ea"/>
                <a:cs typeface="+mn-cs"/>
              </a:rPr>
              <a:pPr marL="0" marR="0" lvl="0" indent="0" algn="ctr" defTabSz="3901411" rtl="0" eaLnBrk="1" fontAlgn="auto" latinLnBrk="0" hangingPunct="1">
                <a:lnSpc>
                  <a:spcPct val="100000"/>
                </a:lnSpc>
                <a:spcBef>
                  <a:spcPts val="0"/>
                </a:spcBef>
                <a:spcAft>
                  <a:spcPts val="0"/>
                </a:spcAft>
                <a:buClrTx/>
                <a:buSzTx/>
                <a:buFontTx/>
                <a:buNone/>
                <a:tabLst/>
                <a:defRPr/>
              </a:pPr>
              <a:t>10</a:t>
            </a:fld>
            <a:endParaRPr kumimoji="0" lang="en-DE" sz="800"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Tree>
    <p:extLst>
      <p:ext uri="{BB962C8B-B14F-4D97-AF65-F5344CB8AC3E}">
        <p14:creationId xmlns:p14="http://schemas.microsoft.com/office/powerpoint/2010/main" val="20483372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3815448"/>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1_With cover with image">
    <p:bg>
      <p:bgRef idx="1001">
        <a:schemeClr val="bg1"/>
      </p:bgRef>
    </p:bg>
    <p:spTree>
      <p:nvGrpSpPr>
        <p:cNvPr id="1" name=""/>
        <p:cNvGrpSpPr/>
        <p:nvPr/>
      </p:nvGrpSpPr>
      <p:grpSpPr>
        <a:xfrm>
          <a:off x="0" y="0"/>
          <a:ext cx="0" cy="0"/>
          <a:chOff x="0" y="0"/>
          <a:chExt cx="0" cy="0"/>
        </a:xfrm>
      </p:grpSpPr>
      <p:pic>
        <p:nvPicPr>
          <p:cNvPr id="6" name="Picture 5" descr="title image of presentation. Showing a bridge over water with three anvils, symbolizing AI+Data+Applications">
            <a:extLst>
              <a:ext uri="{FF2B5EF4-FFF2-40B4-BE49-F238E27FC236}">
                <a16:creationId xmlns:a16="http://schemas.microsoft.com/office/drawing/2014/main" id="{8F16AA92-9FE3-D51A-13E5-CF318091E3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606"/>
            <a:ext cx="12188825" cy="6852788"/>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2428" y="2141327"/>
            <a:ext cx="4123776"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7850" y="2706317"/>
            <a:ext cx="6023601" cy="997196"/>
          </a:xfrm>
        </p:spPr>
        <p:txBody>
          <a:bodyPr>
            <a:noAutofit/>
          </a:bodyPr>
          <a:lstStyle>
            <a:lvl1pPr>
              <a:lnSpc>
                <a:spcPct val="90000"/>
              </a:lnSpc>
              <a:defRPr sz="3598" b="0" i="0">
                <a:latin typeface="72 Brand Medium" panose="020B0504030603020204" pitchFamily="34" charset="0"/>
                <a:cs typeface="72 Brand"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a:ea typeface="72 Brand" pitchFamily="34" charset="-128"/>
              <a:cs typeface="72 Brand" pitchFamily="34" charset="-128"/>
            </a:endParaRPr>
          </a:p>
        </p:txBody>
      </p:sp>
      <p:sp>
        <p:nvSpPr>
          <p:cNvPr id="3" name="Classification-Dynamic" descr="{&quot;templafy&quot;:{&quot;id&quot;:&quot;91778e7e-bfe3-4158-8801-de9d31379f58&quot;}}">
            <a:extLst>
              <a:ext uri="{FF2B5EF4-FFF2-40B4-BE49-F238E27FC236}">
                <a16:creationId xmlns:a16="http://schemas.microsoft.com/office/drawing/2014/main" id="{4A078429-99DD-7555-B0F4-FEF46FD297B0}"/>
              </a:ext>
            </a:extLst>
          </p:cNvPr>
          <p:cNvSpPr txBox="1"/>
          <p:nvPr userDrawn="1"/>
        </p:nvSpPr>
        <p:spPr>
          <a:xfrm>
            <a:off x="282428" y="6452600"/>
            <a:ext cx="4983516" cy="252000"/>
          </a:xfrm>
          <a:prstGeom prst="rect">
            <a:avLst/>
          </a:prstGeom>
          <a:noFill/>
        </p:spPr>
        <p:txBody>
          <a:bodyPr wrap="square" lIns="0" tIns="0" rIns="0" bIns="0" rtlCol="0">
            <a:normAutofit/>
          </a:bodyPr>
          <a:lstStyle/>
          <a:p>
            <a:pPr marL="0" marR="0" lvl="0" indent="0" algn="l" defTabSz="1087362" rtl="0" eaLnBrk="1" fontAlgn="auto" latinLnBrk="0" hangingPunct="1">
              <a:lnSpc>
                <a:spcPct val="100000"/>
              </a:lnSpc>
              <a:spcBef>
                <a:spcPts val="1797"/>
              </a:spcBef>
              <a:spcAft>
                <a:spcPts val="0"/>
              </a:spcAft>
              <a:buClr>
                <a:srgbClr val="0070F2"/>
              </a:buClr>
              <a:buSzPct val="80000"/>
              <a:buFont typeface="Arial" panose="020B0604020202020204" pitchFamily="34" charset="0"/>
              <a:buNone/>
              <a:tabLst/>
              <a:defRPr/>
            </a:pPr>
            <a:r>
              <a:rPr kumimoji="0" lang="en-US" sz="700" b="0" i="0" u="none" strike="noStrike" kern="1200" cap="none" spc="0" normalizeH="0" baseline="0" noProof="0">
                <a:ln>
                  <a:noFill/>
                </a:ln>
                <a:solidFill>
                  <a:schemeClr val="bg1"/>
                </a:solidFill>
                <a:effectLst/>
                <a:uLnTx/>
                <a:uFillTx/>
                <a:latin typeface="72 Brand" panose="020B0504030603020204" pitchFamily="34" charset="0"/>
                <a:ea typeface="+mn-ea"/>
                <a:cs typeface="+mn-cs"/>
              </a:rPr>
              <a:t>Public</a:t>
            </a:r>
          </a:p>
        </p:txBody>
      </p:sp>
    </p:spTree>
    <p:extLst>
      <p:ext uri="{BB962C8B-B14F-4D97-AF65-F5344CB8AC3E}">
        <p14:creationId xmlns:p14="http://schemas.microsoft.com/office/powerpoint/2010/main" val="26097270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3600726934"/>
      </p:ext>
    </p:extLst>
  </p:cSld>
  <p:clrMapOvr>
    <a:masterClrMapping/>
  </p:clrMapOvr>
  <p:extLst>
    <p:ext uri="{DCECCB84-F9BA-43D5-87BE-67443E8EF086}">
      <p15:sldGuideLst xmlns:p15="http://schemas.microsoft.com/office/powerpoint/2012/main">
        <p15:guide id="3" pos="736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738" y="1548000"/>
            <a:ext cx="11179376" cy="4788000"/>
          </a:xfrm>
          <a:noFill/>
        </p:spPr>
        <p:txBody>
          <a:bodyPr tIns="1368000"/>
          <a:lstStyle>
            <a:lvl1pPr algn="ctr">
              <a:defRPr sz="1399"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800095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4">
          <p15:clr>
            <a:srgbClr val="FBAE40"/>
          </p15:clr>
        </p15:guide>
        <p15:guide id="2" orient="horz" pos="317">
          <p15:clr>
            <a:srgbClr val="FBAE40"/>
          </p15:clr>
        </p15:guide>
        <p15:guide id="3" orient="horz" pos="551">
          <p15:clr>
            <a:srgbClr val="FBAE40"/>
          </p15:clr>
        </p15:guide>
        <p15:guide id="4" orient="horz" pos="972">
          <p15:clr>
            <a:srgbClr val="FBAE40"/>
          </p15:clr>
        </p15:guide>
        <p15:guide id="5" orient="horz" pos="3991">
          <p15:clr>
            <a:srgbClr val="FBAE40"/>
          </p15:clr>
        </p15:guide>
        <p15:guide id="6" pos="7364">
          <p15:clr>
            <a:srgbClr val="FBAE4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tags" Target="../tags/tag113.xml"/><Relationship Id="rId21" Type="http://schemas.openxmlformats.org/officeDocument/2006/relationships/tags" Target="../tags/tag17.xml"/><Relationship Id="rId42" Type="http://schemas.openxmlformats.org/officeDocument/2006/relationships/tags" Target="../tags/tag38.xml"/><Relationship Id="rId47" Type="http://schemas.openxmlformats.org/officeDocument/2006/relationships/tags" Target="../tags/tag43.xml"/><Relationship Id="rId63" Type="http://schemas.openxmlformats.org/officeDocument/2006/relationships/tags" Target="../tags/tag59.xml"/><Relationship Id="rId68" Type="http://schemas.openxmlformats.org/officeDocument/2006/relationships/tags" Target="../tags/tag64.xml"/><Relationship Id="rId84" Type="http://schemas.openxmlformats.org/officeDocument/2006/relationships/tags" Target="../tags/tag80.xml"/><Relationship Id="rId89" Type="http://schemas.openxmlformats.org/officeDocument/2006/relationships/tags" Target="../tags/tag85.xml"/><Relationship Id="rId112" Type="http://schemas.openxmlformats.org/officeDocument/2006/relationships/tags" Target="../tags/tag108.xml"/><Relationship Id="rId16" Type="http://schemas.openxmlformats.org/officeDocument/2006/relationships/tags" Target="../tags/tag12.xml"/><Relationship Id="rId107" Type="http://schemas.openxmlformats.org/officeDocument/2006/relationships/tags" Target="../tags/tag103.xml"/><Relationship Id="rId11" Type="http://schemas.openxmlformats.org/officeDocument/2006/relationships/tags" Target="../tags/tag7.xml"/><Relationship Id="rId32" Type="http://schemas.openxmlformats.org/officeDocument/2006/relationships/tags" Target="../tags/tag28.xml"/><Relationship Id="rId37" Type="http://schemas.openxmlformats.org/officeDocument/2006/relationships/tags" Target="../tags/tag33.xml"/><Relationship Id="rId53" Type="http://schemas.openxmlformats.org/officeDocument/2006/relationships/tags" Target="../tags/tag49.xml"/><Relationship Id="rId58" Type="http://schemas.openxmlformats.org/officeDocument/2006/relationships/tags" Target="../tags/tag54.xml"/><Relationship Id="rId74" Type="http://schemas.openxmlformats.org/officeDocument/2006/relationships/tags" Target="../tags/tag70.xml"/><Relationship Id="rId79" Type="http://schemas.openxmlformats.org/officeDocument/2006/relationships/tags" Target="../tags/tag75.xml"/><Relationship Id="rId102" Type="http://schemas.openxmlformats.org/officeDocument/2006/relationships/tags" Target="../tags/tag98.xml"/><Relationship Id="rId123" Type="http://schemas.openxmlformats.org/officeDocument/2006/relationships/tags" Target="../tags/tag119.xml"/><Relationship Id="rId128" Type="http://schemas.openxmlformats.org/officeDocument/2006/relationships/tags" Target="../tags/tag124.xml"/><Relationship Id="rId5" Type="http://schemas.openxmlformats.org/officeDocument/2006/relationships/theme" Target="../theme/theme1.xml"/><Relationship Id="rId90" Type="http://schemas.openxmlformats.org/officeDocument/2006/relationships/tags" Target="../tags/tag86.xml"/><Relationship Id="rId95" Type="http://schemas.openxmlformats.org/officeDocument/2006/relationships/tags" Target="../tags/tag91.xml"/><Relationship Id="rId22" Type="http://schemas.openxmlformats.org/officeDocument/2006/relationships/tags" Target="../tags/tag18.xml"/><Relationship Id="rId27" Type="http://schemas.openxmlformats.org/officeDocument/2006/relationships/tags" Target="../tags/tag23.xml"/><Relationship Id="rId43" Type="http://schemas.openxmlformats.org/officeDocument/2006/relationships/tags" Target="../tags/tag39.xml"/><Relationship Id="rId48" Type="http://schemas.openxmlformats.org/officeDocument/2006/relationships/tags" Target="../tags/tag44.xml"/><Relationship Id="rId64" Type="http://schemas.openxmlformats.org/officeDocument/2006/relationships/tags" Target="../tags/tag60.xml"/><Relationship Id="rId69" Type="http://schemas.openxmlformats.org/officeDocument/2006/relationships/tags" Target="../tags/tag65.xml"/><Relationship Id="rId113" Type="http://schemas.openxmlformats.org/officeDocument/2006/relationships/tags" Target="../tags/tag109.xml"/><Relationship Id="rId118" Type="http://schemas.openxmlformats.org/officeDocument/2006/relationships/tags" Target="../tags/tag114.xml"/><Relationship Id="rId80" Type="http://schemas.openxmlformats.org/officeDocument/2006/relationships/tags" Target="../tags/tag76.xml"/><Relationship Id="rId85" Type="http://schemas.openxmlformats.org/officeDocument/2006/relationships/tags" Target="../tags/tag81.xml"/><Relationship Id="rId12" Type="http://schemas.openxmlformats.org/officeDocument/2006/relationships/tags" Target="../tags/tag8.xml"/><Relationship Id="rId17" Type="http://schemas.openxmlformats.org/officeDocument/2006/relationships/tags" Target="../tags/tag13.xml"/><Relationship Id="rId33" Type="http://schemas.openxmlformats.org/officeDocument/2006/relationships/tags" Target="../tags/tag29.xml"/><Relationship Id="rId38" Type="http://schemas.openxmlformats.org/officeDocument/2006/relationships/tags" Target="../tags/tag34.xml"/><Relationship Id="rId59" Type="http://schemas.openxmlformats.org/officeDocument/2006/relationships/tags" Target="../tags/tag55.xml"/><Relationship Id="rId103" Type="http://schemas.openxmlformats.org/officeDocument/2006/relationships/tags" Target="../tags/tag99.xml"/><Relationship Id="rId108" Type="http://schemas.openxmlformats.org/officeDocument/2006/relationships/tags" Target="../tags/tag104.xml"/><Relationship Id="rId124" Type="http://schemas.openxmlformats.org/officeDocument/2006/relationships/tags" Target="../tags/tag120.xml"/><Relationship Id="rId129" Type="http://schemas.openxmlformats.org/officeDocument/2006/relationships/tags" Target="../tags/tag125.xml"/><Relationship Id="rId54" Type="http://schemas.openxmlformats.org/officeDocument/2006/relationships/tags" Target="../tags/tag50.xml"/><Relationship Id="rId70" Type="http://schemas.openxmlformats.org/officeDocument/2006/relationships/tags" Target="../tags/tag66.xml"/><Relationship Id="rId75" Type="http://schemas.openxmlformats.org/officeDocument/2006/relationships/tags" Target="../tags/tag71.xml"/><Relationship Id="rId91" Type="http://schemas.openxmlformats.org/officeDocument/2006/relationships/tags" Target="../tags/tag87.xml"/><Relationship Id="rId96" Type="http://schemas.openxmlformats.org/officeDocument/2006/relationships/tags" Target="../tags/tag92.xml"/><Relationship Id="rId1" Type="http://schemas.openxmlformats.org/officeDocument/2006/relationships/slideLayout" Target="../slideLayouts/slideLayout1.xml"/><Relationship Id="rId6" Type="http://schemas.openxmlformats.org/officeDocument/2006/relationships/tags" Target="../tags/tag2.xml"/><Relationship Id="rId23" Type="http://schemas.openxmlformats.org/officeDocument/2006/relationships/tags" Target="../tags/tag19.xml"/><Relationship Id="rId28" Type="http://schemas.openxmlformats.org/officeDocument/2006/relationships/tags" Target="../tags/tag24.xml"/><Relationship Id="rId49" Type="http://schemas.openxmlformats.org/officeDocument/2006/relationships/tags" Target="../tags/tag45.xml"/><Relationship Id="rId114" Type="http://schemas.openxmlformats.org/officeDocument/2006/relationships/tags" Target="../tags/tag110.xml"/><Relationship Id="rId119" Type="http://schemas.openxmlformats.org/officeDocument/2006/relationships/tags" Target="../tags/tag115.xml"/><Relationship Id="rId44" Type="http://schemas.openxmlformats.org/officeDocument/2006/relationships/tags" Target="../tags/tag40.xml"/><Relationship Id="rId60" Type="http://schemas.openxmlformats.org/officeDocument/2006/relationships/tags" Target="../tags/tag56.xml"/><Relationship Id="rId65" Type="http://schemas.openxmlformats.org/officeDocument/2006/relationships/tags" Target="../tags/tag61.xml"/><Relationship Id="rId81" Type="http://schemas.openxmlformats.org/officeDocument/2006/relationships/tags" Target="../tags/tag77.xml"/><Relationship Id="rId86" Type="http://schemas.openxmlformats.org/officeDocument/2006/relationships/tags" Target="../tags/tag82.xml"/><Relationship Id="rId130" Type="http://schemas.openxmlformats.org/officeDocument/2006/relationships/oleObject" Target="../embeddings/oleObject1.bin"/><Relationship Id="rId13" Type="http://schemas.openxmlformats.org/officeDocument/2006/relationships/tags" Target="../tags/tag9.xml"/><Relationship Id="rId18" Type="http://schemas.openxmlformats.org/officeDocument/2006/relationships/tags" Target="../tags/tag14.xml"/><Relationship Id="rId39" Type="http://schemas.openxmlformats.org/officeDocument/2006/relationships/tags" Target="../tags/tag35.xml"/><Relationship Id="rId109" Type="http://schemas.openxmlformats.org/officeDocument/2006/relationships/tags" Target="../tags/tag105.xml"/><Relationship Id="rId34" Type="http://schemas.openxmlformats.org/officeDocument/2006/relationships/tags" Target="../tags/tag30.xml"/><Relationship Id="rId50" Type="http://schemas.openxmlformats.org/officeDocument/2006/relationships/tags" Target="../tags/tag46.xml"/><Relationship Id="rId55" Type="http://schemas.openxmlformats.org/officeDocument/2006/relationships/tags" Target="../tags/tag51.xml"/><Relationship Id="rId76" Type="http://schemas.openxmlformats.org/officeDocument/2006/relationships/tags" Target="../tags/tag72.xml"/><Relationship Id="rId97" Type="http://schemas.openxmlformats.org/officeDocument/2006/relationships/tags" Target="../tags/tag93.xml"/><Relationship Id="rId104" Type="http://schemas.openxmlformats.org/officeDocument/2006/relationships/tags" Target="../tags/tag100.xml"/><Relationship Id="rId120" Type="http://schemas.openxmlformats.org/officeDocument/2006/relationships/tags" Target="../tags/tag116.xml"/><Relationship Id="rId125" Type="http://schemas.openxmlformats.org/officeDocument/2006/relationships/tags" Target="../tags/tag121.xml"/><Relationship Id="rId7" Type="http://schemas.openxmlformats.org/officeDocument/2006/relationships/tags" Target="../tags/tag3.xml"/><Relationship Id="rId71" Type="http://schemas.openxmlformats.org/officeDocument/2006/relationships/tags" Target="../tags/tag67.xml"/><Relationship Id="rId92" Type="http://schemas.openxmlformats.org/officeDocument/2006/relationships/tags" Target="../tags/tag88.xml"/><Relationship Id="rId2" Type="http://schemas.openxmlformats.org/officeDocument/2006/relationships/slideLayout" Target="../slideLayouts/slideLayout2.xml"/><Relationship Id="rId29" Type="http://schemas.openxmlformats.org/officeDocument/2006/relationships/tags" Target="../tags/tag25.xml"/><Relationship Id="rId24" Type="http://schemas.openxmlformats.org/officeDocument/2006/relationships/tags" Target="../tags/tag20.xml"/><Relationship Id="rId40" Type="http://schemas.openxmlformats.org/officeDocument/2006/relationships/tags" Target="../tags/tag36.xml"/><Relationship Id="rId45" Type="http://schemas.openxmlformats.org/officeDocument/2006/relationships/tags" Target="../tags/tag41.xml"/><Relationship Id="rId66" Type="http://schemas.openxmlformats.org/officeDocument/2006/relationships/tags" Target="../tags/tag62.xml"/><Relationship Id="rId87" Type="http://schemas.openxmlformats.org/officeDocument/2006/relationships/tags" Target="../tags/tag83.xml"/><Relationship Id="rId110" Type="http://schemas.openxmlformats.org/officeDocument/2006/relationships/tags" Target="../tags/tag106.xml"/><Relationship Id="rId115" Type="http://schemas.openxmlformats.org/officeDocument/2006/relationships/tags" Target="../tags/tag111.xml"/><Relationship Id="rId131" Type="http://schemas.openxmlformats.org/officeDocument/2006/relationships/image" Target="../media/image1.emf"/><Relationship Id="rId61" Type="http://schemas.openxmlformats.org/officeDocument/2006/relationships/tags" Target="../tags/tag57.xml"/><Relationship Id="rId82" Type="http://schemas.openxmlformats.org/officeDocument/2006/relationships/tags" Target="../tags/tag78.xml"/><Relationship Id="rId19" Type="http://schemas.openxmlformats.org/officeDocument/2006/relationships/tags" Target="../tags/tag15.xml"/><Relationship Id="rId14" Type="http://schemas.openxmlformats.org/officeDocument/2006/relationships/tags" Target="../tags/tag10.xml"/><Relationship Id="rId30" Type="http://schemas.openxmlformats.org/officeDocument/2006/relationships/tags" Target="../tags/tag26.xml"/><Relationship Id="rId35" Type="http://schemas.openxmlformats.org/officeDocument/2006/relationships/tags" Target="../tags/tag31.xml"/><Relationship Id="rId56" Type="http://schemas.openxmlformats.org/officeDocument/2006/relationships/tags" Target="../tags/tag52.xml"/><Relationship Id="rId77" Type="http://schemas.openxmlformats.org/officeDocument/2006/relationships/tags" Target="../tags/tag73.xml"/><Relationship Id="rId100" Type="http://schemas.openxmlformats.org/officeDocument/2006/relationships/tags" Target="../tags/tag96.xml"/><Relationship Id="rId105" Type="http://schemas.openxmlformats.org/officeDocument/2006/relationships/tags" Target="../tags/tag101.xml"/><Relationship Id="rId126" Type="http://schemas.openxmlformats.org/officeDocument/2006/relationships/tags" Target="../tags/tag122.xml"/><Relationship Id="rId8" Type="http://schemas.openxmlformats.org/officeDocument/2006/relationships/tags" Target="../tags/tag4.xml"/><Relationship Id="rId51" Type="http://schemas.openxmlformats.org/officeDocument/2006/relationships/tags" Target="../tags/tag47.xml"/><Relationship Id="rId72" Type="http://schemas.openxmlformats.org/officeDocument/2006/relationships/tags" Target="../tags/tag68.xml"/><Relationship Id="rId93" Type="http://schemas.openxmlformats.org/officeDocument/2006/relationships/tags" Target="../tags/tag89.xml"/><Relationship Id="rId98" Type="http://schemas.openxmlformats.org/officeDocument/2006/relationships/tags" Target="../tags/tag94.xml"/><Relationship Id="rId121" Type="http://schemas.openxmlformats.org/officeDocument/2006/relationships/tags" Target="../tags/tag117.xml"/><Relationship Id="rId3" Type="http://schemas.openxmlformats.org/officeDocument/2006/relationships/slideLayout" Target="../slideLayouts/slideLayout3.xml"/><Relationship Id="rId25" Type="http://schemas.openxmlformats.org/officeDocument/2006/relationships/tags" Target="../tags/tag21.xml"/><Relationship Id="rId46" Type="http://schemas.openxmlformats.org/officeDocument/2006/relationships/tags" Target="../tags/tag42.xml"/><Relationship Id="rId67" Type="http://schemas.openxmlformats.org/officeDocument/2006/relationships/tags" Target="../tags/tag63.xml"/><Relationship Id="rId116" Type="http://schemas.openxmlformats.org/officeDocument/2006/relationships/tags" Target="../tags/tag112.xml"/><Relationship Id="rId20" Type="http://schemas.openxmlformats.org/officeDocument/2006/relationships/tags" Target="../tags/tag16.xml"/><Relationship Id="rId41" Type="http://schemas.openxmlformats.org/officeDocument/2006/relationships/tags" Target="../tags/tag37.xml"/><Relationship Id="rId62" Type="http://schemas.openxmlformats.org/officeDocument/2006/relationships/tags" Target="../tags/tag58.xml"/><Relationship Id="rId83" Type="http://schemas.openxmlformats.org/officeDocument/2006/relationships/tags" Target="../tags/tag79.xml"/><Relationship Id="rId88" Type="http://schemas.openxmlformats.org/officeDocument/2006/relationships/tags" Target="../tags/tag84.xml"/><Relationship Id="rId111" Type="http://schemas.openxmlformats.org/officeDocument/2006/relationships/tags" Target="../tags/tag107.xml"/><Relationship Id="rId132" Type="http://schemas.openxmlformats.org/officeDocument/2006/relationships/image" Target="../media/image2.png"/><Relationship Id="rId15" Type="http://schemas.openxmlformats.org/officeDocument/2006/relationships/tags" Target="../tags/tag11.xml"/><Relationship Id="rId36" Type="http://schemas.openxmlformats.org/officeDocument/2006/relationships/tags" Target="../tags/tag32.xml"/><Relationship Id="rId57" Type="http://schemas.openxmlformats.org/officeDocument/2006/relationships/tags" Target="../tags/tag53.xml"/><Relationship Id="rId106" Type="http://schemas.openxmlformats.org/officeDocument/2006/relationships/tags" Target="../tags/tag102.xml"/><Relationship Id="rId127" Type="http://schemas.openxmlformats.org/officeDocument/2006/relationships/tags" Target="../tags/tag123.xml"/><Relationship Id="rId10" Type="http://schemas.openxmlformats.org/officeDocument/2006/relationships/tags" Target="../tags/tag6.xml"/><Relationship Id="rId31" Type="http://schemas.openxmlformats.org/officeDocument/2006/relationships/tags" Target="../tags/tag27.xml"/><Relationship Id="rId52" Type="http://schemas.openxmlformats.org/officeDocument/2006/relationships/tags" Target="../tags/tag48.xml"/><Relationship Id="rId73" Type="http://schemas.openxmlformats.org/officeDocument/2006/relationships/tags" Target="../tags/tag69.xml"/><Relationship Id="rId78" Type="http://schemas.openxmlformats.org/officeDocument/2006/relationships/tags" Target="../tags/tag74.xml"/><Relationship Id="rId94" Type="http://schemas.openxmlformats.org/officeDocument/2006/relationships/tags" Target="../tags/tag90.xml"/><Relationship Id="rId99" Type="http://schemas.openxmlformats.org/officeDocument/2006/relationships/tags" Target="../tags/tag95.xml"/><Relationship Id="rId101" Type="http://schemas.openxmlformats.org/officeDocument/2006/relationships/tags" Target="../tags/tag97.xml"/><Relationship Id="rId122" Type="http://schemas.openxmlformats.org/officeDocument/2006/relationships/tags" Target="../tags/tag118.xml"/><Relationship Id="rId4" Type="http://schemas.openxmlformats.org/officeDocument/2006/relationships/slideLayout" Target="../slideLayouts/slideLayout4.xml"/><Relationship Id="rId9" Type="http://schemas.openxmlformats.org/officeDocument/2006/relationships/tags" Target="../tags/tag5.xml"/><Relationship Id="rId26" Type="http://schemas.openxmlformats.org/officeDocument/2006/relationships/tags" Target="../tags/tag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11928BB4-D7AC-6A08-F259-9EB478450479}"/>
              </a:ext>
            </a:extLst>
          </p:cNvPr>
          <p:cNvGraphicFramePr>
            <a:graphicFrameLocks noChangeAspect="1"/>
          </p:cNvGraphicFramePr>
          <p:nvPr userDrawn="1">
            <p:custDataLst>
              <p:tags r:id="rId6"/>
            </p:custDataLst>
            <p:extLst>
              <p:ext uri="{D42A27DB-BD31-4B8C-83A1-F6EECF244321}">
                <p14:modId xmlns:p14="http://schemas.microsoft.com/office/powerpoint/2010/main" val="3969223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0" imgW="484" imgH="486" progId="TCLayout.ActiveDocument.1">
                  <p:embed/>
                </p:oleObj>
              </mc:Choice>
              <mc:Fallback>
                <p:oleObj name="think-cell Slide" r:id="rId130" imgW="484" imgH="486" progId="TCLayout.ActiveDocument.1">
                  <p:embed/>
                  <p:pic>
                    <p:nvPicPr>
                      <p:cNvPr id="12" name="think-cell data - do not delete" hidden="1">
                        <a:extLst>
                          <a:ext uri="{FF2B5EF4-FFF2-40B4-BE49-F238E27FC236}">
                            <a16:creationId xmlns:a16="http://schemas.microsoft.com/office/drawing/2014/main" id="{11928BB4-D7AC-6A08-F259-9EB478450479}"/>
                          </a:ext>
                        </a:extLst>
                      </p:cNvPr>
                      <p:cNvPicPr/>
                      <p:nvPr/>
                    </p:nvPicPr>
                    <p:blipFill>
                      <a:blip r:embed="rId131"/>
                      <a:stretch>
                        <a:fillRect/>
                      </a:stretch>
                    </p:blipFill>
                    <p:spPr>
                      <a:xfrm>
                        <a:off x="1588" y="1588"/>
                        <a:ext cx="1588" cy="1588"/>
                      </a:xfrm>
                      <a:prstGeom prst="rect">
                        <a:avLst/>
                      </a:prstGeom>
                    </p:spPr>
                  </p:pic>
                </p:oleObj>
              </mc:Fallback>
            </mc:AlternateContent>
          </a:graphicData>
        </a:graphic>
      </p:graphicFrame>
      <p:sp>
        <p:nvSpPr>
          <p:cNvPr id="34" name="Slide number"/>
          <p:cNvSpPr txBox="1"/>
          <p:nvPr userDrawn="1"/>
        </p:nvSpPr>
        <p:spPr bwMode="black">
          <a:xfrm>
            <a:off x="11478025" y="6536756"/>
            <a:ext cx="144195"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1087580" rtl="0" eaLnBrk="1" fontAlgn="auto" latinLnBrk="0" hangingPunct="1">
              <a:lnSpc>
                <a:spcPct val="100000"/>
              </a:lnSpc>
              <a:spcBef>
                <a:spcPts val="0"/>
              </a:spcBef>
              <a:spcAft>
                <a:spcPts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72 Brand"/>
                <a:ea typeface="+mn-ea"/>
                <a:cs typeface="+mn-cs"/>
              </a:rPr>
              <a:pPr marL="0" marR="0" lvl="0" indent="0" algn="r" defTabSz="1087580" rtl="0" eaLnBrk="1" fontAlgn="auto" latinLnBrk="0" hangingPunct="1">
                <a:lnSpc>
                  <a:spcPct val="100000"/>
                </a:lnSpc>
                <a:spcBef>
                  <a:spcPts val="0"/>
                </a:spcBef>
                <a:spcAft>
                  <a:spcPts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72 Brand"/>
              <a:ea typeface="+mn-ea"/>
              <a:cs typeface="+mn-cs"/>
            </a:endParaRPr>
          </a:p>
        </p:txBody>
      </p:sp>
      <p:sp>
        <p:nvSpPr>
          <p:cNvPr id="3" name="Text Placeholder"/>
          <p:cNvSpPr>
            <a:spLocks noGrp="1"/>
          </p:cNvSpPr>
          <p:nvPr userDrawn="1">
            <p:ph type="body" idx="1"/>
          </p:nvPr>
        </p:nvSpPr>
        <p:spPr bwMode="black">
          <a:xfrm>
            <a:off x="572789" y="1337389"/>
            <a:ext cx="11043248" cy="2090056"/>
          </a:xfrm>
          <a:prstGeom prst="rect">
            <a:avLst/>
          </a:prstGeom>
        </p:spPr>
        <p:txBody>
          <a:bodyPr vert="horz" lIns="0" tIns="0" rIns="0" bIns="0" rtlCol="0">
            <a:no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54139" y="490635"/>
            <a:ext cx="11061897"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7"/>
            </p:custDataLst>
          </p:nvPr>
        </p:nvGrpSpPr>
        <p:grpSpPr>
          <a:xfrm>
            <a:off x="3936747" y="3978000"/>
            <a:ext cx="1024344"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2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27"/>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28"/>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2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8"/>
            </p:custDataLst>
          </p:nvPr>
        </p:nvGrpSpPr>
        <p:grpSpPr>
          <a:xfrm>
            <a:off x="5388701" y="3978000"/>
            <a:ext cx="1024344"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2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22"/>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2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2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2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9"/>
            </p:custDataLst>
          </p:nvPr>
        </p:nvGrpSpPr>
        <p:grpSpPr>
          <a:xfrm>
            <a:off x="6840652" y="3978000"/>
            <a:ext cx="1024344"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1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13"/>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1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15"/>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16"/>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17"/>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18"/>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19"/>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2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580" rtl="0" eaLnBrk="1" fontAlgn="auto" latinLnBrk="0" hangingPunct="1">
                <a:lnSpc>
                  <a:spcPct val="100000"/>
                </a:lnSpc>
                <a:spcBef>
                  <a:spcPts val="0"/>
                </a:spcBef>
                <a:spcAft>
                  <a:spcPts val="0"/>
                </a:spcAft>
                <a:buClrTx/>
                <a:buSzTx/>
                <a:buFontTx/>
                <a:buNone/>
                <a:tabLst/>
                <a:defRPr/>
              </a:pPr>
              <a:endParaRPr kumimoji="0" lang="en-US"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10"/>
            </p:custDataLst>
          </p:nvPr>
        </p:nvGrpSpPr>
        <p:grpSpPr>
          <a:xfrm>
            <a:off x="8292602" y="3978000"/>
            <a:ext cx="1024344"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11"/>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12"/>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13"/>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14"/>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15"/>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16"/>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17"/>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18"/>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19"/>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20"/>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21"/>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22"/>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23"/>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24"/>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25"/>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26"/>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27"/>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28"/>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29"/>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30"/>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pPr marL="0" marR="0" lvl="0" indent="0" algn="l" defTabSz="1087580" rtl="0" eaLnBrk="1" fontAlgn="auto" latinLnBrk="0" hangingPunct="1">
                <a:lnSpc>
                  <a:spcPct val="100000"/>
                </a:lnSpc>
                <a:spcBef>
                  <a:spcPts val="0"/>
                </a:spcBef>
                <a:spcAft>
                  <a:spcPts val="0"/>
                </a:spcAft>
                <a:buClrTx/>
                <a:buSzTx/>
                <a:buFontTx/>
                <a:buNone/>
                <a:tabLst/>
                <a:defRPr/>
              </a:pPr>
              <a:endParaRPr kumimoji="0" lang="en-GB" sz="2097"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2978" y="5984673"/>
            <a:ext cx="10182903" cy="138499"/>
          </a:xfrm>
          <a:prstGeom prst="rect">
            <a:avLst/>
          </a:prstGeom>
          <a:noFill/>
        </p:spPr>
        <p:txBody>
          <a:bodyPr wrap="square" lIns="0" tIns="0" rIns="0" bIns="0" rtlCol="0">
            <a:spAutoFit/>
          </a:bodyPr>
          <a:lstStyle/>
          <a:p>
            <a:pPr marL="0" marR="0" lvl="0" indent="0" algn="l" defTabSz="1087580"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72 Brand" pitchFamily="34" charset="-128"/>
                <a:cs typeface="72 Brand"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65861" y="896921"/>
            <a:ext cx="2122964" cy="295649"/>
          </a:xfrm>
          <a:prstGeom prst="rect">
            <a:avLst/>
          </a:prstGeom>
          <a:solidFill>
            <a:schemeClr val="accent6">
              <a:lumMod val="60000"/>
              <a:lumOff val="40000"/>
            </a:schemeClr>
          </a:solidFill>
          <a:ln w="19050" cap="flat" cmpd="sng" algn="ctr">
            <a:noFill/>
            <a:prstDash val="solid"/>
          </a:ln>
          <a:effectLst/>
        </p:spPr>
        <p:txBody>
          <a:bodyPr lIns="321982" tIns="46508" rIns="89440" bIns="46508" rtlCol="0" anchor="ctr"/>
          <a:lstStyle/>
          <a:p>
            <a:pPr marL="0" marR="0" lvl="0" indent="0" algn="l" defTabSz="913395"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72 Brand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65861" y="896921"/>
            <a:ext cx="2122964" cy="295649"/>
          </a:xfrm>
          <a:prstGeom prst="rect">
            <a:avLst/>
          </a:prstGeom>
          <a:solidFill>
            <a:schemeClr val="accent6">
              <a:lumMod val="60000"/>
              <a:lumOff val="40000"/>
            </a:schemeClr>
          </a:solidFill>
          <a:ln w="19050" cap="flat" cmpd="sng" algn="ctr">
            <a:noFill/>
            <a:prstDash val="solid"/>
          </a:ln>
          <a:effectLst/>
        </p:spPr>
        <p:txBody>
          <a:bodyPr lIns="321982" tIns="46508" rIns="89440" bIns="46508" rtlCol="0" anchor="ctr"/>
          <a:lstStyle/>
          <a:p>
            <a:pPr marL="0" marR="0" lvl="0" indent="0" algn="l" defTabSz="913395"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65861" y="896921"/>
            <a:ext cx="2122964" cy="295649"/>
          </a:xfrm>
          <a:prstGeom prst="rect">
            <a:avLst/>
          </a:prstGeom>
          <a:solidFill>
            <a:schemeClr val="accent6">
              <a:lumMod val="60000"/>
              <a:lumOff val="40000"/>
            </a:schemeClr>
          </a:solidFill>
          <a:ln w="19050" cap="flat" cmpd="sng" algn="ctr">
            <a:noFill/>
            <a:prstDash val="solid"/>
          </a:ln>
          <a:effectLst/>
        </p:spPr>
        <p:txBody>
          <a:bodyPr lIns="321982" tIns="46508" rIns="89440" bIns="46508" rtlCol="0" anchor="ctr"/>
          <a:lstStyle/>
          <a:p>
            <a:pPr marL="0" marR="0" lvl="0" indent="0" algn="l" defTabSz="913395"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65861" y="896921"/>
            <a:ext cx="2122964" cy="295649"/>
          </a:xfrm>
          <a:prstGeom prst="rect">
            <a:avLst/>
          </a:prstGeom>
          <a:solidFill>
            <a:schemeClr val="accent6">
              <a:lumMod val="60000"/>
              <a:lumOff val="40000"/>
            </a:schemeClr>
          </a:solidFill>
          <a:ln w="19050" cap="flat" cmpd="sng" algn="ctr">
            <a:noFill/>
            <a:prstDash val="solid"/>
          </a:ln>
          <a:effectLst/>
        </p:spPr>
        <p:txBody>
          <a:bodyPr lIns="321982" tIns="46508" rIns="89440" bIns="46508" rtlCol="0" anchor="ctr"/>
          <a:lstStyle/>
          <a:p>
            <a:pPr marL="0" marR="0" lvl="0" indent="0" algn="l" defTabSz="913395"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65861" y="896921"/>
            <a:ext cx="2122964" cy="295649"/>
          </a:xfrm>
          <a:prstGeom prst="rect">
            <a:avLst/>
          </a:prstGeom>
          <a:solidFill>
            <a:schemeClr val="accent6">
              <a:lumMod val="60000"/>
              <a:lumOff val="40000"/>
            </a:schemeClr>
          </a:solidFill>
          <a:ln w="19050" cap="flat" cmpd="sng" algn="ctr">
            <a:noFill/>
            <a:prstDash val="solid"/>
          </a:ln>
          <a:effectLst/>
        </p:spPr>
        <p:txBody>
          <a:bodyPr lIns="321982" tIns="46508" rIns="89440" bIns="46508" rtlCol="0" anchor="ctr"/>
          <a:lstStyle/>
          <a:p>
            <a:pPr marL="0" marR="0" lvl="0" indent="0" algn="l" defTabSz="913395"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65861" y="896921"/>
            <a:ext cx="2122964" cy="295649"/>
          </a:xfrm>
          <a:prstGeom prst="rect">
            <a:avLst/>
          </a:prstGeom>
          <a:solidFill>
            <a:schemeClr val="accent6">
              <a:lumMod val="60000"/>
              <a:lumOff val="40000"/>
            </a:schemeClr>
          </a:solidFill>
          <a:ln w="19050" cap="flat" cmpd="sng" algn="ctr">
            <a:noFill/>
            <a:prstDash val="solid"/>
          </a:ln>
          <a:effectLst/>
        </p:spPr>
        <p:txBody>
          <a:bodyPr lIns="321982" tIns="46508" rIns="89440" bIns="46508" rtlCol="0" anchor="ctr"/>
          <a:lstStyle/>
          <a:p>
            <a:pPr marL="0" marR="0" lvl="0" indent="0" algn="l" defTabSz="913395"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78407" y="1097679"/>
            <a:ext cx="2477810" cy="1277432"/>
          </a:xfrm>
          <a:prstGeom prst="wedgeRectCallout">
            <a:avLst/>
          </a:prstGeom>
          <a:solidFill>
            <a:srgbClr val="FFFF00"/>
          </a:solidFill>
          <a:ln w="12700" cap="flat" cmpd="sng" algn="ctr">
            <a:solidFill>
              <a:srgbClr val="000000"/>
            </a:solidFill>
            <a:prstDash val="solid"/>
            <a:miter lim="800000"/>
          </a:ln>
          <a:effectLst/>
        </p:spPr>
        <p:txBody>
          <a:bodyPr lIns="143103" tIns="143103" rIns="143103" bIns="143103" rtlCol="0" anchor="t"/>
          <a:lstStyle/>
          <a:p>
            <a:pPr marL="0" marR="0" lvl="0" indent="0" algn="l" defTabSz="913395" rtl="0"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lt;initials&gt; &lt;date&gt;</a:t>
            </a:r>
            <a:r>
              <a:rPr kumimoji="0" lang="en-US" sz="1199" b="0" i="0" u="none" strike="noStrike" kern="0" cap="none" spc="0" normalizeH="0" baseline="0" noProof="0" err="1">
                <a:ln>
                  <a:noFill/>
                </a:ln>
                <a:solidFill>
                  <a:srgbClr val="0A0A0A"/>
                </a:solidFill>
                <a:effectLst/>
                <a:uLnTx/>
                <a:uFillTx/>
                <a:latin typeface="72 Brand" panose="020B0504030603020204" pitchFamily="34" charset="0"/>
                <a:ea typeface="+mn-ea"/>
                <a:cs typeface="+mn-cs"/>
              </a:rPr>
              <a:t>yyyy</a:t>
            </a: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MM-dd </a:t>
            </a:r>
            <a:r>
              <a:rPr kumimoji="0" lang="en-US" sz="1199" b="0" i="0" u="none" strike="noStrike" kern="0" cap="none" spc="0" normalizeH="0" baseline="0" noProof="0" err="1">
                <a:ln>
                  <a:noFill/>
                </a:ln>
                <a:solidFill>
                  <a:srgbClr val="0A0A0A"/>
                </a:solidFill>
                <a:effectLst/>
                <a:uLnTx/>
                <a:uFillTx/>
                <a:latin typeface="72 Brand" panose="020B0504030603020204" pitchFamily="34" charset="0"/>
                <a:ea typeface="+mn-ea"/>
                <a:cs typeface="+mn-cs"/>
              </a:rPr>
              <a:t>hh:mm</a:t>
            </a: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lt;/date&gt;: </a:t>
            </a:r>
          </a:p>
          <a:p>
            <a:pPr marL="0" marR="0" lvl="0" indent="0" algn="l" defTabSz="913395" rtl="0"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78407" y="1097671"/>
            <a:ext cx="2477810" cy="1277440"/>
          </a:xfrm>
          <a:prstGeom prst="wedgeRectCallout">
            <a:avLst/>
          </a:prstGeom>
          <a:solidFill>
            <a:srgbClr val="FFFF00"/>
          </a:solidFill>
          <a:ln w="12700" cap="flat" cmpd="sng" algn="ctr">
            <a:solidFill>
              <a:srgbClr val="000000"/>
            </a:solidFill>
            <a:prstDash val="solid"/>
            <a:miter lim="800000"/>
          </a:ln>
          <a:effectLst/>
        </p:spPr>
        <p:txBody>
          <a:bodyPr lIns="143103" tIns="143103" rIns="143103" bIns="143103" rtlCol="0" anchor="t"/>
          <a:lstStyle/>
          <a:p>
            <a:pPr marL="0" marR="0" lvl="0" indent="0" algn="l" defTabSz="913395" rtl="0"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lt;initials&gt; &lt;date&gt;</a:t>
            </a:r>
            <a:r>
              <a:rPr kumimoji="0" lang="en-US" sz="1199" b="0" i="0" u="none" strike="noStrike" kern="0" cap="none" spc="0" normalizeH="0" baseline="0" noProof="0" err="1">
                <a:ln>
                  <a:noFill/>
                </a:ln>
                <a:solidFill>
                  <a:srgbClr val="0A0A0A"/>
                </a:solidFill>
                <a:effectLst/>
                <a:uLnTx/>
                <a:uFillTx/>
                <a:latin typeface="72 Brand" panose="020B0504030603020204" pitchFamily="34" charset="0"/>
                <a:ea typeface="+mn-ea"/>
                <a:cs typeface="+mn-cs"/>
              </a:rPr>
              <a:t>yyyy</a:t>
            </a: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MM-dd </a:t>
            </a:r>
            <a:r>
              <a:rPr kumimoji="0" lang="en-US" sz="1199" b="0" i="0" u="none" strike="noStrike" kern="0" cap="none" spc="0" normalizeH="0" baseline="0" noProof="0" err="1">
                <a:ln>
                  <a:noFill/>
                </a:ln>
                <a:solidFill>
                  <a:srgbClr val="0A0A0A"/>
                </a:solidFill>
                <a:effectLst/>
                <a:uLnTx/>
                <a:uFillTx/>
                <a:latin typeface="72 Brand" panose="020B0504030603020204" pitchFamily="34" charset="0"/>
                <a:ea typeface="+mn-ea"/>
                <a:cs typeface="+mn-cs"/>
              </a:rPr>
              <a:t>hh:mm</a:t>
            </a: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5125" y="2819465"/>
            <a:ext cx="6358576" cy="1219077"/>
          </a:xfrm>
          <a:prstGeom prst="rect">
            <a:avLst/>
          </a:prstGeom>
          <a:noFill/>
          <a:ln w="25400" algn="ctr">
            <a:noFill/>
            <a:miter lim="800000"/>
            <a:headEnd/>
            <a:tailEnd/>
          </a:ln>
        </p:spPr>
        <p:txBody>
          <a:bodyPr lIns="89907" tIns="71925" rIns="89907" bIns="71925" rtlCol="0" anchor="ctr"/>
          <a:lstStyle/>
          <a:p>
            <a:pPr marL="0" marR="0" lvl="0" indent="0" algn="ctr" defTabSz="913395" rtl="0" eaLnBrk="1" fontAlgn="base" latinLnBrk="0" hangingPunct="1">
              <a:lnSpc>
                <a:spcPct val="100000"/>
              </a:lnSpc>
              <a:spcBef>
                <a:spcPct val="50000"/>
              </a:spcBef>
              <a:spcAft>
                <a:spcPct val="0"/>
              </a:spcAft>
              <a:buClr>
                <a:srgbClr val="F0AB00"/>
              </a:buClr>
              <a:buSzPct val="80000"/>
              <a:buFontTx/>
              <a:buNone/>
              <a:tabLst/>
              <a:defRPr/>
            </a:pPr>
            <a:r>
              <a:rPr kumimoji="0" lang="en-US" sz="8790" b="0" i="0" u="none" strike="noStrike" kern="0" cap="none" spc="0" normalizeH="0" baseline="0" noProof="0">
                <a:ln>
                  <a:noFill/>
                </a:ln>
                <a:solidFill>
                  <a:srgbClr val="475E75"/>
                </a:solidFill>
                <a:effectLst/>
                <a:uLnTx/>
                <a:uFillTx/>
                <a:latin typeface="72 Brand" panose="020B0504030603020204" pitchFamily="34" charset="0"/>
                <a:ea typeface="72 Brand" pitchFamily="34" charset="-128"/>
                <a:cs typeface="72 Brand" pitchFamily="34" charset="-128"/>
              </a:rPr>
              <a:t>DRAFT</a:t>
            </a:r>
          </a:p>
        </p:txBody>
      </p:sp>
      <p:sp>
        <p:nvSpPr>
          <p:cNvPr id="148" name="Copyright Placeholder" descr="{&quot;templafy&quot;:{&quot;id&quot;:&quot;a74eddeb-ce90-4f01-99b3-d929310ab967&quot;}}">
            <a:extLst>
              <a:ext uri="{FF2B5EF4-FFF2-40B4-BE49-F238E27FC236}">
                <a16:creationId xmlns:a16="http://schemas.microsoft.com/office/drawing/2014/main" id="{4A8E1C91-00FA-311B-35ED-A325303F3A88}"/>
              </a:ext>
            </a:extLst>
          </p:cNvPr>
          <p:cNvSpPr txBox="1">
            <a:spLocks/>
          </p:cNvSpPr>
          <p:nvPr userDrawn="1"/>
        </p:nvSpPr>
        <p:spPr>
          <a:xfrm>
            <a:off x="578345" y="6559838"/>
            <a:ext cx="214802" cy="92333"/>
          </a:xfrm>
          <a:prstGeom prst="rect">
            <a:avLst/>
          </a:prstGeom>
        </p:spPr>
        <p:txBody>
          <a:bodyPr wrap="none" lIns="0" tIns="0" rIns="0" bIns="0" anchor="ctr" anchorCtr="0">
            <a:sp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7362" rtl="0" eaLnBrk="1" fontAlgn="auto" latinLnBrk="0" hangingPunct="1">
              <a:lnSpc>
                <a:spcPct val="100000"/>
              </a:lnSpc>
              <a:spcBef>
                <a:spcPts val="1797"/>
              </a:spcBef>
              <a:spcAft>
                <a:spcPts val="0"/>
              </a:spcAft>
              <a:buClr>
                <a:srgbClr val="0070F2"/>
              </a:buClr>
              <a:buSzPct val="80000"/>
              <a:buFont typeface="Arial" panose="020B0604020202020204" pitchFamily="34" charset="0"/>
              <a:buNone/>
              <a:tabLst/>
              <a:defRPr/>
            </a:pPr>
            <a:r>
              <a:rPr kumimoji="0" lang="en-US" sz="600" b="0" i="0" u="none" strike="noStrike" kern="1200" cap="none" spc="0" normalizeH="0" baseline="0" noProof="0" dirty="0">
                <a:ln>
                  <a:noFill/>
                </a:ln>
                <a:solidFill>
                  <a:srgbClr val="000000"/>
                </a:solidFill>
                <a:effectLst/>
                <a:uLnTx/>
                <a:uFillTx/>
                <a:latin typeface="72 Brand" panose="020B0504030603020204" pitchFamily="34" charset="0"/>
                <a:ea typeface="+mn-ea"/>
                <a:cs typeface="+mn-cs"/>
              </a:rPr>
              <a:t>Public</a:t>
            </a:r>
          </a:p>
        </p:txBody>
      </p:sp>
      <p:pic>
        <p:nvPicPr>
          <p:cNvPr id="5" name="Picture 4">
            <a:extLst>
              <a:ext uri="{FF2B5EF4-FFF2-40B4-BE49-F238E27FC236}">
                <a16:creationId xmlns:a16="http://schemas.microsoft.com/office/drawing/2014/main" id="{EB9C2482-602E-FDD0-BC3F-C47585ED261B}"/>
              </a:ext>
            </a:extLst>
          </p:cNvPr>
          <p:cNvPicPr>
            <a:picLocks noChangeAspect="1"/>
          </p:cNvPicPr>
          <p:nvPr userDrawn="1"/>
        </p:nvPicPr>
        <p:blipFill>
          <a:blip r:embed="rId132"/>
          <a:stretch>
            <a:fillRect/>
          </a:stretch>
        </p:blipFill>
        <p:spPr>
          <a:xfrm rot="5400000">
            <a:off x="10468006" y="1765073"/>
            <a:ext cx="4057388" cy="527251"/>
          </a:xfrm>
          <a:prstGeom prst="rect">
            <a:avLst/>
          </a:prstGeom>
        </p:spPr>
      </p:pic>
    </p:spTree>
    <p:extLst>
      <p:ext uri="{BB962C8B-B14F-4D97-AF65-F5344CB8AC3E}">
        <p14:creationId xmlns:p14="http://schemas.microsoft.com/office/powerpoint/2010/main" val="4093896606"/>
      </p:ext>
    </p:extLst>
  </p:cSld>
  <p:clrMap bg1="lt1" tx1="dk1" bg2="lt2" tx2="dk2" accent1="accent1" accent2="accent2" accent3="accent3" accent4="accent4" accent5="accent5" accent6="accent6" hlink="hlink" folHlink="folHlink"/>
  <p:sldLayoutIdLst>
    <p:sldLayoutId id="2147485268" r:id="rId1"/>
    <p:sldLayoutId id="2147485290" r:id="rId2"/>
    <p:sldLayoutId id="2147485291" r:id="rId3"/>
    <p:sldLayoutId id="2147485295" r:id="rId4"/>
  </p:sldLayoutIdLst>
  <p:hf hdr="0" ftr="0" dt="0"/>
  <p:txStyles>
    <p:titleStyle>
      <a:lvl1pPr algn="l" defTabSz="1087362" rtl="0" eaLnBrk="1" latinLnBrk="0" hangingPunct="1">
        <a:spcBef>
          <a:spcPct val="0"/>
        </a:spcBef>
        <a:buNone/>
        <a:defRPr sz="2397" b="1" i="0" kern="1200" baseline="0">
          <a:gradFill>
            <a:gsLst>
              <a:gs pos="0">
                <a:schemeClr val="tx1"/>
              </a:gs>
              <a:gs pos="100000">
                <a:schemeClr val="tx1"/>
              </a:gs>
            </a:gsLst>
            <a:lin ang="5400000" scaled="1"/>
          </a:gradFill>
          <a:latin typeface="72 Brand Medium" panose="020B0504030603020204" pitchFamily="34" charset="0"/>
          <a:ea typeface="+mj-ea"/>
          <a:cs typeface="+mj-cs"/>
        </a:defRPr>
      </a:lvl1pPr>
    </p:titleStyle>
    <p:bodyStyle>
      <a:lvl1pPr marL="0" indent="0" algn="l" defTabSz="1087362" rtl="0" eaLnBrk="1" latinLnBrk="0" hangingPunct="1">
        <a:spcBef>
          <a:spcPts val="1797"/>
        </a:spcBef>
        <a:buClrTx/>
        <a:buSzPct val="80000"/>
        <a:buFont typeface="72 Brand" panose="02000000000000000000" pitchFamily="2" charset="0"/>
        <a:buChar char="​"/>
        <a:defRPr sz="1997" b="0" i="0" kern="1200">
          <a:gradFill>
            <a:gsLst>
              <a:gs pos="0">
                <a:schemeClr val="tx1"/>
              </a:gs>
              <a:gs pos="100000">
                <a:schemeClr val="tx1"/>
              </a:gs>
            </a:gsLst>
            <a:lin ang="5400000" scaled="1"/>
          </a:gradFill>
          <a:latin typeface="+mn-lt"/>
          <a:ea typeface="+mn-ea"/>
          <a:cs typeface="+mn-cs"/>
        </a:defRPr>
      </a:lvl1pPr>
      <a:lvl2pPr marL="179766" indent="-179766" algn="l" defTabSz="1087362" rtl="0" eaLnBrk="1" latinLnBrk="0" hangingPunct="1">
        <a:spcBef>
          <a:spcPts val="600"/>
        </a:spcBef>
        <a:buClr>
          <a:schemeClr val="bg1">
            <a:lumMod val="85000"/>
          </a:schemeClr>
        </a:buClr>
        <a:buSzPct val="100000"/>
        <a:buFont typeface="Arial" panose="020B0604020202020204" pitchFamily="34" charset="0"/>
        <a:buChar char="•"/>
        <a:defRPr sz="1797" b="0" i="0" kern="1200">
          <a:gradFill>
            <a:gsLst>
              <a:gs pos="0">
                <a:schemeClr val="tx1"/>
              </a:gs>
              <a:gs pos="100000">
                <a:schemeClr val="tx1"/>
              </a:gs>
            </a:gsLst>
            <a:lin ang="5400000" scaled="1"/>
          </a:gradFill>
          <a:latin typeface="+mn-lt"/>
          <a:ea typeface="+mn-ea"/>
          <a:cs typeface="+mn-cs"/>
        </a:defRPr>
      </a:lvl2pPr>
      <a:lvl3pPr marL="358380" indent="-179190" algn="l" defTabSz="1087362" rtl="0" eaLnBrk="1" latinLnBrk="0" hangingPunct="1">
        <a:spcBef>
          <a:spcPts val="300"/>
        </a:spcBef>
        <a:buClr>
          <a:schemeClr val="bg1">
            <a:lumMod val="85000"/>
          </a:schemeClr>
        </a:buClr>
        <a:buSzPct val="100000"/>
        <a:buFont typeface="Arial" panose="020B0604020202020204" pitchFamily="34" charset="0"/>
        <a:buChar char="•"/>
        <a:defRPr lang="en-US" sz="1797" b="0" i="0" kern="1200" noProof="0" dirty="0" smtClean="0">
          <a:gradFill>
            <a:gsLst>
              <a:gs pos="0">
                <a:schemeClr val="tx1"/>
              </a:gs>
              <a:gs pos="100000">
                <a:schemeClr val="tx1"/>
              </a:gs>
            </a:gsLst>
            <a:lin ang="5400000" scaled="1"/>
          </a:gradFill>
          <a:latin typeface="+mn-lt"/>
          <a:ea typeface="+mn-ea"/>
          <a:cs typeface="+mn-cs"/>
        </a:defRPr>
      </a:lvl3pPr>
      <a:lvl4pPr marL="539298" indent="-179766" algn="l" defTabSz="1087362" rtl="0" eaLnBrk="1" latinLnBrk="0" hangingPunct="1">
        <a:spcBef>
          <a:spcPts val="300"/>
        </a:spcBef>
        <a:buClr>
          <a:schemeClr val="bg1">
            <a:lumMod val="85000"/>
          </a:schemeClr>
        </a:buClr>
        <a:buSzPct val="80000"/>
        <a:buFont typeface="Arial" panose="020B0604020202020204" pitchFamily="34" charset="0"/>
        <a:buChar char="•"/>
        <a:defRPr sz="1599" b="0" i="0" kern="1200">
          <a:gradFill>
            <a:gsLst>
              <a:gs pos="0">
                <a:schemeClr val="tx1"/>
              </a:gs>
              <a:gs pos="100000">
                <a:schemeClr val="tx1"/>
              </a:gs>
            </a:gsLst>
            <a:lin ang="5400000" scaled="1"/>
          </a:gradFill>
          <a:latin typeface="+mn-lt"/>
          <a:ea typeface="+mn-ea"/>
          <a:cs typeface="+mn-cs"/>
        </a:defRPr>
      </a:lvl4pPr>
      <a:lvl5pPr marL="719064" indent="-179766" algn="l" defTabSz="1087362" rtl="0" eaLnBrk="1" latinLnBrk="0" hangingPunct="1">
        <a:spcBef>
          <a:spcPts val="100"/>
        </a:spcBef>
        <a:buClr>
          <a:schemeClr val="bg1">
            <a:lumMod val="85000"/>
          </a:schemeClr>
        </a:buClr>
        <a:buSzPct val="100000"/>
        <a:buFont typeface="Arial" panose="020B0604020202020204" pitchFamily="34" charset="0"/>
        <a:buChar char="•"/>
        <a:defRPr sz="1399" b="0" i="0" kern="1200" baseline="0">
          <a:gradFill>
            <a:gsLst>
              <a:gs pos="0">
                <a:schemeClr val="tx1"/>
              </a:gs>
              <a:gs pos="100000">
                <a:schemeClr val="tx1"/>
              </a:gs>
            </a:gsLst>
            <a:lin ang="5400000" scaled="1"/>
          </a:gradFill>
          <a:latin typeface="+mn-lt"/>
          <a:ea typeface="+mn-ea"/>
          <a:cs typeface="+mn-cs"/>
        </a:defRPr>
      </a:lvl5pPr>
      <a:lvl6pPr marL="2990243" indent="-271840" algn="l" defTabSz="1087362" rtl="0" eaLnBrk="1" latinLnBrk="0" hangingPunct="1">
        <a:spcBef>
          <a:spcPct val="20000"/>
        </a:spcBef>
        <a:buFont typeface="Arial" pitchFamily="34" charset="0"/>
        <a:buChar char="•"/>
        <a:defRPr sz="2397" kern="1200">
          <a:solidFill>
            <a:schemeClr val="tx1"/>
          </a:solidFill>
          <a:latin typeface="+mn-lt"/>
          <a:ea typeface="+mn-ea"/>
          <a:cs typeface="+mn-cs"/>
        </a:defRPr>
      </a:lvl6pPr>
      <a:lvl7pPr marL="3533924" indent="-271840" algn="l" defTabSz="1087362" rtl="0" eaLnBrk="1" latinLnBrk="0" hangingPunct="1">
        <a:spcBef>
          <a:spcPct val="20000"/>
        </a:spcBef>
        <a:buFont typeface="Arial" pitchFamily="34" charset="0"/>
        <a:buChar char="•"/>
        <a:defRPr sz="2397" kern="1200">
          <a:solidFill>
            <a:schemeClr val="tx1"/>
          </a:solidFill>
          <a:latin typeface="+mn-lt"/>
          <a:ea typeface="+mn-ea"/>
          <a:cs typeface="+mn-cs"/>
        </a:defRPr>
      </a:lvl7pPr>
      <a:lvl8pPr marL="4077604" indent="-271840" algn="l" defTabSz="1087362" rtl="0" eaLnBrk="1" latinLnBrk="0" hangingPunct="1">
        <a:spcBef>
          <a:spcPct val="20000"/>
        </a:spcBef>
        <a:buFont typeface="Arial" pitchFamily="34" charset="0"/>
        <a:buChar char="•"/>
        <a:defRPr sz="2397" kern="1200">
          <a:solidFill>
            <a:schemeClr val="tx1"/>
          </a:solidFill>
          <a:latin typeface="+mn-lt"/>
          <a:ea typeface="+mn-ea"/>
          <a:cs typeface="+mn-cs"/>
        </a:defRPr>
      </a:lvl8pPr>
      <a:lvl9pPr marL="4621286" indent="-271840" algn="l" defTabSz="1087362" rtl="0" eaLnBrk="1" latinLnBrk="0" hangingPunct="1">
        <a:spcBef>
          <a:spcPct val="20000"/>
        </a:spcBef>
        <a:buFont typeface="Arial" pitchFamily="34" charset="0"/>
        <a:buChar char="•"/>
        <a:defRPr sz="2397" kern="1200">
          <a:solidFill>
            <a:schemeClr val="tx1"/>
          </a:solidFill>
          <a:latin typeface="+mn-lt"/>
          <a:ea typeface="+mn-ea"/>
          <a:cs typeface="+mn-cs"/>
        </a:defRPr>
      </a:lvl9pPr>
    </p:bodyStyle>
    <p:otherStyle>
      <a:defPPr>
        <a:defRPr lang="de-DE"/>
      </a:defPPr>
      <a:lvl1pPr marL="0" algn="l" defTabSz="1087362" rtl="0" eaLnBrk="1" latinLnBrk="0" hangingPunct="1">
        <a:defRPr sz="2097" kern="1200">
          <a:solidFill>
            <a:schemeClr val="tx1"/>
          </a:solidFill>
          <a:latin typeface="+mn-lt"/>
          <a:ea typeface="+mn-ea"/>
          <a:cs typeface="+mn-cs"/>
        </a:defRPr>
      </a:lvl1pPr>
      <a:lvl2pPr marL="543681" algn="l" defTabSz="1087362" rtl="0" eaLnBrk="1" latinLnBrk="0" hangingPunct="1">
        <a:defRPr sz="2097" kern="1200">
          <a:solidFill>
            <a:schemeClr val="tx1"/>
          </a:solidFill>
          <a:latin typeface="+mn-lt"/>
          <a:ea typeface="+mn-ea"/>
          <a:cs typeface="+mn-cs"/>
        </a:defRPr>
      </a:lvl2pPr>
      <a:lvl3pPr marL="1087362" algn="l" defTabSz="1087362" rtl="0" eaLnBrk="1" latinLnBrk="0" hangingPunct="1">
        <a:defRPr sz="2097" kern="1200">
          <a:solidFill>
            <a:schemeClr val="tx1"/>
          </a:solidFill>
          <a:latin typeface="+mn-lt"/>
          <a:ea typeface="+mn-ea"/>
          <a:cs typeface="+mn-cs"/>
        </a:defRPr>
      </a:lvl3pPr>
      <a:lvl4pPr marL="1631042" algn="l" defTabSz="1087362" rtl="0" eaLnBrk="1" latinLnBrk="0" hangingPunct="1">
        <a:defRPr sz="2097" kern="1200">
          <a:solidFill>
            <a:schemeClr val="tx1"/>
          </a:solidFill>
          <a:latin typeface="+mn-lt"/>
          <a:ea typeface="+mn-ea"/>
          <a:cs typeface="+mn-cs"/>
        </a:defRPr>
      </a:lvl4pPr>
      <a:lvl5pPr marL="2174721" algn="l" defTabSz="1087362" rtl="0" eaLnBrk="1" latinLnBrk="0" hangingPunct="1">
        <a:defRPr sz="2097" kern="1200">
          <a:solidFill>
            <a:schemeClr val="tx1"/>
          </a:solidFill>
          <a:latin typeface="+mn-lt"/>
          <a:ea typeface="+mn-ea"/>
          <a:cs typeface="+mn-cs"/>
        </a:defRPr>
      </a:lvl5pPr>
      <a:lvl6pPr marL="2718403" algn="l" defTabSz="1087362" rtl="0" eaLnBrk="1" latinLnBrk="0" hangingPunct="1">
        <a:defRPr sz="2097" kern="1200">
          <a:solidFill>
            <a:schemeClr val="tx1"/>
          </a:solidFill>
          <a:latin typeface="+mn-lt"/>
          <a:ea typeface="+mn-ea"/>
          <a:cs typeface="+mn-cs"/>
        </a:defRPr>
      </a:lvl6pPr>
      <a:lvl7pPr marL="3262084" algn="l" defTabSz="1087362" rtl="0" eaLnBrk="1" latinLnBrk="0" hangingPunct="1">
        <a:defRPr sz="2097" kern="1200">
          <a:solidFill>
            <a:schemeClr val="tx1"/>
          </a:solidFill>
          <a:latin typeface="+mn-lt"/>
          <a:ea typeface="+mn-ea"/>
          <a:cs typeface="+mn-cs"/>
        </a:defRPr>
      </a:lvl7pPr>
      <a:lvl8pPr marL="3805765" algn="l" defTabSz="1087362" rtl="0" eaLnBrk="1" latinLnBrk="0" hangingPunct="1">
        <a:defRPr sz="2097" kern="1200">
          <a:solidFill>
            <a:schemeClr val="tx1"/>
          </a:solidFill>
          <a:latin typeface="+mn-lt"/>
          <a:ea typeface="+mn-ea"/>
          <a:cs typeface="+mn-cs"/>
        </a:defRPr>
      </a:lvl8pPr>
      <a:lvl9pPr marL="4349445" algn="l" defTabSz="1087362" rtl="0" eaLnBrk="1" latinLnBrk="0" hangingPunct="1">
        <a:defRPr sz="209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61">
          <p15:clr>
            <a:srgbClr val="F26B43"/>
          </p15:clr>
        </p15:guide>
        <p15:guide id="3" pos="7321">
          <p15:clr>
            <a:srgbClr val="F26B43"/>
          </p15:clr>
        </p15:guide>
        <p15:guide id="4" orient="horz" pos="364">
          <p15:clr>
            <a:srgbClr val="F26B43"/>
          </p15:clr>
        </p15:guide>
        <p15:guide id="5" orient="horz" pos="3958">
          <p15:clr>
            <a:srgbClr val="F26B43"/>
          </p15:clr>
        </p15:guide>
        <p15:guide id="6" orient="horz" pos="4138">
          <p15:clr>
            <a:srgbClr val="F26B43"/>
          </p15:clr>
        </p15:guide>
        <p15:guide id="7" pos="176">
          <p15:clr>
            <a:srgbClr val="F26B43"/>
          </p15:clr>
        </p15:guide>
        <p15:guide id="8" pos="7500">
          <p15:clr>
            <a:srgbClr val="F26B43"/>
          </p15:clr>
        </p15:guide>
        <p15:guide id="9" orient="horz" pos="180">
          <p15:clr>
            <a:srgbClr val="F26B43"/>
          </p15:clr>
        </p15:guide>
        <p15:guide id="10" pos="3841">
          <p15:clr>
            <a:srgbClr val="FDE53C"/>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9.xml"/><Relationship Id="rId7" Type="http://schemas.openxmlformats.org/officeDocument/2006/relationships/image" Target="../media/image49.png"/><Relationship Id="rId2" Type="http://schemas.openxmlformats.org/officeDocument/2006/relationships/slideLayout" Target="../slideLayouts/slideLayout3.xml"/><Relationship Id="rId1" Type="http://schemas.openxmlformats.org/officeDocument/2006/relationships/tags" Target="../tags/tag129.xml"/><Relationship Id="rId6" Type="http://schemas.openxmlformats.org/officeDocument/2006/relationships/image" Target="../media/image48.png"/><Relationship Id="rId5" Type="http://schemas.openxmlformats.org/officeDocument/2006/relationships/image" Target="../media/image47.png"/><Relationship Id="rId10" Type="http://schemas.openxmlformats.org/officeDocument/2006/relationships/image" Target="../media/image15.emf"/><Relationship Id="rId4" Type="http://schemas.openxmlformats.org/officeDocument/2006/relationships/image" Target="../media/image46.png"/><Relationship Id="rId9"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51.png"/><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53.png"/><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customXml" Target="../../customXml/item7.xml"/><Relationship Id="rId1" Type="http://schemas.openxmlformats.org/officeDocument/2006/relationships/customXml" Target="../../customXml/item6.xml"/><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svg"/></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63.jpeg"/><Relationship Id="rId13" Type="http://schemas.openxmlformats.org/officeDocument/2006/relationships/image" Target="../media/image68.svg"/><Relationship Id="rId3" Type="http://schemas.openxmlformats.org/officeDocument/2006/relationships/notesSlide" Target="../notesSlides/notesSlide15.xml"/><Relationship Id="rId7" Type="http://schemas.openxmlformats.org/officeDocument/2006/relationships/image" Target="../media/image62.jpeg"/><Relationship Id="rId12" Type="http://schemas.openxmlformats.org/officeDocument/2006/relationships/image" Target="../media/image67.png"/><Relationship Id="rId2" Type="http://schemas.openxmlformats.org/officeDocument/2006/relationships/slideLayout" Target="../slideLayouts/slideLayout1.xml"/><Relationship Id="rId1" Type="http://schemas.openxmlformats.org/officeDocument/2006/relationships/tags" Target="../tags/tag130.xml"/><Relationship Id="rId6" Type="http://schemas.openxmlformats.org/officeDocument/2006/relationships/image" Target="../media/image1.emf"/><Relationship Id="rId11" Type="http://schemas.openxmlformats.org/officeDocument/2006/relationships/image" Target="../media/image66.jpeg"/><Relationship Id="rId5" Type="http://schemas.openxmlformats.org/officeDocument/2006/relationships/oleObject" Target="../embeddings/oleObject4.bin"/><Relationship Id="rId10" Type="http://schemas.openxmlformats.org/officeDocument/2006/relationships/image" Target="../media/image65.jpeg"/><Relationship Id="rId4" Type="http://schemas.openxmlformats.org/officeDocument/2006/relationships/image" Target="../media/image61.jpeg"/><Relationship Id="rId9" Type="http://schemas.openxmlformats.org/officeDocument/2006/relationships/image" Target="../media/image64.jpeg"/></Relationships>
</file>

<file path=ppt/slides/_rels/slide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69.pn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notesSlide" Target="../notesSlides/notesSlide2.xml"/><Relationship Id="rId7" Type="http://schemas.openxmlformats.org/officeDocument/2006/relationships/image" Target="../media/image7.svg"/><Relationship Id="rId12"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126.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10.png"/><Relationship Id="rId4" Type="http://schemas.openxmlformats.org/officeDocument/2006/relationships/oleObject" Target="../embeddings/oleObject2.bin"/><Relationship Id="rId9" Type="http://schemas.openxmlformats.org/officeDocument/2006/relationships/image" Target="../media/image9.png"/><Relationship Id="rId14" Type="http://schemas.openxmlformats.org/officeDocument/2006/relationships/image" Target="../media/image14.png"/></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6.png"/><Relationship Id="rId3" Type="http://schemas.openxmlformats.org/officeDocument/2006/relationships/notesSlide" Target="../notesSlides/notesSlide3.xml"/><Relationship Id="rId7" Type="http://schemas.microsoft.com/office/2007/relationships/hdphoto" Target="../media/hdphoto1.wdp"/><Relationship Id="rId12" Type="http://schemas.openxmlformats.org/officeDocument/2006/relationships/image" Target="../media/image9.png"/><Relationship Id="rId2" Type="http://schemas.openxmlformats.org/officeDocument/2006/relationships/slideLayout" Target="../slideLayouts/slideLayout1.xml"/><Relationship Id="rId16" Type="http://schemas.openxmlformats.org/officeDocument/2006/relationships/image" Target="../media/image21.svg"/><Relationship Id="rId1" Type="http://schemas.openxmlformats.org/officeDocument/2006/relationships/tags" Target="../tags/tag127.xml"/><Relationship Id="rId6" Type="http://schemas.openxmlformats.org/officeDocument/2006/relationships/image" Target="../media/image16.png"/><Relationship Id="rId11" Type="http://schemas.openxmlformats.org/officeDocument/2006/relationships/image" Target="../media/image11.png"/><Relationship Id="rId5" Type="http://schemas.openxmlformats.org/officeDocument/2006/relationships/image" Target="../media/image15.emf"/><Relationship Id="rId15" Type="http://schemas.openxmlformats.org/officeDocument/2006/relationships/image" Target="../media/image20.png"/><Relationship Id="rId10" Type="http://schemas.openxmlformats.org/officeDocument/2006/relationships/image" Target="../media/image18.png"/><Relationship Id="rId4" Type="http://schemas.openxmlformats.org/officeDocument/2006/relationships/oleObject" Target="../embeddings/oleObject3.bin"/><Relationship Id="rId9" Type="http://schemas.openxmlformats.org/officeDocument/2006/relationships/image" Target="../media/image10.png"/><Relationship Id="rId14" Type="http://schemas.openxmlformats.org/officeDocument/2006/relationships/image" Target="../media/image19.svg"/></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4.xml"/><Relationship Id="rId7" Type="http://schemas.openxmlformats.org/officeDocument/2006/relationships/image" Target="../media/image19.svg"/><Relationship Id="rId2" Type="http://schemas.openxmlformats.org/officeDocument/2006/relationships/slideLayout" Target="../slideLayouts/slideLayout3.xml"/><Relationship Id="rId1" Type="http://schemas.openxmlformats.org/officeDocument/2006/relationships/tags" Target="../tags/tag128.xml"/><Relationship Id="rId6" Type="http://schemas.openxmlformats.org/officeDocument/2006/relationships/image" Target="../media/image6.png"/><Relationship Id="rId11" Type="http://schemas.openxmlformats.org/officeDocument/2006/relationships/image" Target="../media/image24.svg"/><Relationship Id="rId5" Type="http://schemas.openxmlformats.org/officeDocument/2006/relationships/image" Target="../media/image15.emf"/><Relationship Id="rId10" Type="http://schemas.openxmlformats.org/officeDocument/2006/relationships/image" Target="../media/image23.png"/><Relationship Id="rId4" Type="http://schemas.openxmlformats.org/officeDocument/2006/relationships/oleObject" Target="../embeddings/oleObject3.bin"/><Relationship Id="rId9" Type="http://schemas.openxmlformats.org/officeDocument/2006/relationships/image" Target="../media/image21.svg"/></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7.png"/><Relationship Id="rId7"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6.svg"/><Relationship Id="rId5" Type="http://schemas.openxmlformats.org/officeDocument/2006/relationships/image" Target="../media/image8.png"/><Relationship Id="rId10" Type="http://schemas.openxmlformats.org/officeDocument/2006/relationships/image" Target="../media/image25.png"/><Relationship Id="rId4" Type="http://schemas.openxmlformats.org/officeDocument/2006/relationships/image" Target="../media/image10.png"/><Relationship Id="rId9" Type="http://schemas.openxmlformats.org/officeDocument/2006/relationships/image" Target="../media/image9.png"/></Relationships>
</file>

<file path=ppt/slides/_rels/slide7.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30.svg"/><Relationship Id="rId5" Type="http://schemas.openxmlformats.org/officeDocument/2006/relationships/image" Target="../media/image29.png"/><Relationship Id="rId10" Type="http://schemas.openxmlformats.org/officeDocument/2006/relationships/image" Target="../media/image34.svg"/><Relationship Id="rId4" Type="http://schemas.openxmlformats.org/officeDocument/2006/relationships/image" Target="../media/image28.svg"/><Relationship Id="rId9"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slides/_rels/slide9.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9.png"/><Relationship Id="rId7"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chart" Target="../charts/chart1.xml"/><Relationship Id="rId9"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4ACA9-E167-9387-AD71-DBA5044EB3A9}"/>
              </a:ext>
            </a:extLst>
          </p:cNvPr>
          <p:cNvSpPr>
            <a:spLocks noGrp="1"/>
          </p:cNvSpPr>
          <p:nvPr>
            <p:ph type="title"/>
          </p:nvPr>
        </p:nvSpPr>
        <p:spPr>
          <a:xfrm>
            <a:off x="287856" y="1139455"/>
            <a:ext cx="6844464" cy="1560883"/>
          </a:xfrm>
        </p:spPr>
        <p:txBody>
          <a:bodyPr/>
          <a:lstStyle/>
          <a:p>
            <a:r>
              <a:rPr lang="en-GB" sz="3600" dirty="0">
                <a:solidFill>
                  <a:schemeClr val="bg1"/>
                </a:solidFill>
              </a:rPr>
              <a:t>Join a new era of </a:t>
            </a:r>
            <a:br>
              <a:rPr lang="en-GB" sz="3600" dirty="0">
                <a:solidFill>
                  <a:schemeClr val="bg1"/>
                </a:solidFill>
              </a:rPr>
            </a:br>
            <a:r>
              <a:rPr lang="en-GB" sz="3600" dirty="0">
                <a:solidFill>
                  <a:schemeClr val="bg1"/>
                </a:solidFill>
              </a:rPr>
              <a:t>enterprise management with </a:t>
            </a:r>
            <a:r>
              <a:rPr lang="en-GB" sz="4800" dirty="0">
                <a:solidFill>
                  <a:schemeClr val="bg1"/>
                </a:solidFill>
              </a:rPr>
              <a:t>SAP Business Suite </a:t>
            </a:r>
            <a:br>
              <a:rPr lang="en-GB" sz="4800" dirty="0">
                <a:solidFill>
                  <a:schemeClr val="bg1"/>
                </a:solidFill>
              </a:rPr>
            </a:br>
            <a:br>
              <a:rPr lang="en-GB" sz="1600" dirty="0">
                <a:latin typeface="72 Brand" panose="020B0504030603020204" pitchFamily="34" charset="0"/>
              </a:rPr>
            </a:br>
            <a:endParaRPr lang="en-DE" sz="1600">
              <a:latin typeface="72 Brand" panose="020B0504030603020204" pitchFamily="34" charset="0"/>
            </a:endParaRPr>
          </a:p>
        </p:txBody>
      </p:sp>
      <p:pic>
        <p:nvPicPr>
          <p:cNvPr id="4" name="LogoWhite-Dynamic" descr="{&quot;templafy&quot;:{&quot;id&quot;:&quot;39273fa5-2ca6-468a-92ac-7c53efa75f56&quot;}}">
            <a:extLst>
              <a:ext uri="{FF2B5EF4-FFF2-40B4-BE49-F238E27FC236}">
                <a16:creationId xmlns:a16="http://schemas.microsoft.com/office/drawing/2014/main" id="{4856A684-FCA2-2360-0AF5-0FE2E540B330}"/>
              </a:ext>
            </a:extLst>
          </p:cNvPr>
          <p:cNvPicPr>
            <a:picLocks noChangeAspect="1"/>
          </p:cNvPicPr>
          <p:nvPr/>
        </p:nvPicPr>
        <p:blipFill>
          <a:blip r:embed="rId3"/>
          <a:stretch>
            <a:fillRect/>
          </a:stretch>
        </p:blipFill>
        <p:spPr>
          <a:xfrm>
            <a:off x="287856" y="360000"/>
            <a:ext cx="726813" cy="360000"/>
          </a:xfrm>
          <a:prstGeom prst="rect">
            <a:avLst/>
          </a:prstGeom>
        </p:spPr>
      </p:pic>
    </p:spTree>
    <p:extLst>
      <p:ext uri="{BB962C8B-B14F-4D97-AF65-F5344CB8AC3E}">
        <p14:creationId xmlns:p14="http://schemas.microsoft.com/office/powerpoint/2010/main" val="12220909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441672-D005-28BA-2D26-88F5349B31D4}"/>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EB35E8A3-D20E-B1D0-03A7-D18F6A6BA04B}"/>
              </a:ext>
            </a:extLst>
          </p:cNvPr>
          <p:cNvSpPr/>
          <p:nvPr/>
        </p:nvSpPr>
        <p:spPr bwMode="gray">
          <a:xfrm>
            <a:off x="574676" y="3081529"/>
            <a:ext cx="11049726" cy="3215101"/>
          </a:xfrm>
          <a:prstGeom prst="roundRect">
            <a:avLst>
              <a:gd name="adj" fmla="val 3189"/>
            </a:avLst>
          </a:prstGeom>
          <a:gradFill flip="none" rotWithShape="1">
            <a:gsLst>
              <a:gs pos="0">
                <a:srgbClr val="EBF8FF"/>
              </a:gs>
              <a:gs pos="100000">
                <a:srgbClr val="EBF8FF">
                  <a:alpha val="0"/>
                </a:srgbClr>
              </a:gs>
            </a:gsLst>
            <a:lin ang="5400000" scaled="1"/>
            <a:tileRect/>
          </a:gradFill>
          <a:ln w="25400" algn="ctr">
            <a:noFill/>
            <a:miter lim="800000"/>
            <a:headEnd/>
            <a:tailEnd/>
          </a:ln>
        </p:spPr>
        <p:txBody>
          <a:bodyPr lIns="182880" tIns="146304" rIns="182880" bIns="146304" rtlCol="0" anchor="t"/>
          <a:lstStyle/>
          <a:p>
            <a:pPr fontAlgn="base">
              <a:spcBef>
                <a:spcPct val="50000"/>
              </a:spcBef>
              <a:spcAft>
                <a:spcPct val="0"/>
              </a:spcAft>
              <a:buClr>
                <a:srgbClr val="F0AB00"/>
              </a:buClr>
              <a:buSzPct val="80000"/>
            </a:pPr>
            <a:endParaRPr lang="en-US" sz="1200" kern="0">
              <a:solidFill>
                <a:srgbClr val="000000"/>
              </a:solidFill>
              <a:latin typeface="72 Brand"/>
              <a:ea typeface="72 Brand" pitchFamily="34" charset="-128"/>
              <a:cs typeface="72 Brand" pitchFamily="34" charset="-128"/>
            </a:endParaRPr>
          </a:p>
        </p:txBody>
      </p:sp>
      <p:sp>
        <p:nvSpPr>
          <p:cNvPr id="10" name="Rectangle 9">
            <a:extLst>
              <a:ext uri="{FF2B5EF4-FFF2-40B4-BE49-F238E27FC236}">
                <a16:creationId xmlns:a16="http://schemas.microsoft.com/office/drawing/2014/main" id="{1BC2E880-D827-4554-1364-270514A6A27D}"/>
              </a:ext>
            </a:extLst>
          </p:cNvPr>
          <p:cNvSpPr/>
          <p:nvPr/>
        </p:nvSpPr>
        <p:spPr bwMode="gray">
          <a:xfrm>
            <a:off x="727297" y="3256683"/>
            <a:ext cx="3278412" cy="1446553"/>
          </a:xfrm>
          <a:prstGeom prst="rect">
            <a:avLst/>
          </a:prstGeom>
          <a:noFill/>
          <a:ln w="25400" algn="ctr">
            <a:noFill/>
            <a:miter lim="800000"/>
            <a:headEnd/>
            <a:tailEnd/>
          </a:ln>
        </p:spPr>
        <p:txBody>
          <a:bodyPr lIns="0" tIns="0" rIns="0" bIns="0" rtlCol="0" anchor="t"/>
          <a:lstStyle/>
          <a:p>
            <a:pPr fontAlgn="base">
              <a:spcBef>
                <a:spcPct val="50000"/>
              </a:spcBef>
              <a:spcAft>
                <a:spcPct val="0"/>
              </a:spcAft>
              <a:buClr>
                <a:srgbClr val="F0AB00"/>
              </a:buClr>
              <a:buSzPct val="80000"/>
            </a:pPr>
            <a:r>
              <a:rPr lang="en-US" sz="1600" kern="0">
                <a:gradFill>
                  <a:gsLst>
                    <a:gs pos="0">
                      <a:srgbClr val="002A86"/>
                    </a:gs>
                    <a:gs pos="100000">
                      <a:srgbClr val="002A86"/>
                    </a:gs>
                  </a:gsLst>
                  <a:lin ang="2700000" scaled="1"/>
                </a:gradFill>
                <a:latin typeface="72 Brand Medium"/>
                <a:ea typeface="72 Brand" pitchFamily="34" charset="-128"/>
                <a:cs typeface="72 Brand" pitchFamily="34" charset="-128"/>
              </a:rPr>
              <a:t>One suite</a:t>
            </a:r>
            <a:br>
              <a:rPr lang="en-US" sz="1600" kern="0">
                <a:gradFill>
                  <a:gsLst>
                    <a:gs pos="0">
                      <a:srgbClr val="002A86"/>
                    </a:gs>
                    <a:gs pos="100000">
                      <a:srgbClr val="002A86"/>
                    </a:gs>
                  </a:gsLst>
                  <a:lin ang="2700000" scaled="1"/>
                </a:gradFill>
                <a:latin typeface="72 Brand Medium"/>
                <a:ea typeface="72 Brand" pitchFamily="34" charset="-128"/>
                <a:cs typeface="72 Brand" pitchFamily="34" charset="-128"/>
              </a:rPr>
            </a:br>
            <a:r>
              <a:rPr lang="en-US" sz="1200" kern="0">
                <a:gradFill>
                  <a:gsLst>
                    <a:gs pos="0">
                      <a:srgbClr val="000000"/>
                    </a:gs>
                    <a:gs pos="100000">
                      <a:srgbClr val="000000"/>
                    </a:gs>
                  </a:gsLst>
                  <a:lin ang="2700000" scaled="1"/>
                </a:gradFill>
                <a:latin typeface="72 Brand"/>
              </a:rPr>
              <a:t>of applications with seamlessly</a:t>
            </a:r>
            <a:br>
              <a:rPr lang="en-US" sz="1200" kern="0">
                <a:gradFill>
                  <a:gsLst>
                    <a:gs pos="0">
                      <a:srgbClr val="000000"/>
                    </a:gs>
                    <a:gs pos="100000">
                      <a:srgbClr val="000000"/>
                    </a:gs>
                  </a:gsLst>
                  <a:lin ang="2700000" scaled="1"/>
                </a:gradFill>
                <a:latin typeface="72 Brand"/>
              </a:rPr>
            </a:br>
            <a:r>
              <a:rPr lang="en-US" sz="1200" kern="0">
                <a:gradFill>
                  <a:gsLst>
                    <a:gs pos="0">
                      <a:srgbClr val="000000"/>
                    </a:gs>
                    <a:gs pos="100000">
                      <a:srgbClr val="000000"/>
                    </a:gs>
                  </a:gsLst>
                  <a:lin ang="2700000" scaled="1"/>
                </a:gradFill>
                <a:latin typeface="72 Brand"/>
              </a:rPr>
              <a:t>integrated business processes</a:t>
            </a:r>
          </a:p>
        </p:txBody>
      </p:sp>
      <p:sp>
        <p:nvSpPr>
          <p:cNvPr id="12" name="Rectangle: Rounded Corners 11">
            <a:extLst>
              <a:ext uri="{FF2B5EF4-FFF2-40B4-BE49-F238E27FC236}">
                <a16:creationId xmlns:a16="http://schemas.microsoft.com/office/drawing/2014/main" id="{98F3E496-A5CB-57DF-A6B6-ADA8E2DC306A}"/>
              </a:ext>
            </a:extLst>
          </p:cNvPr>
          <p:cNvSpPr/>
          <p:nvPr/>
        </p:nvSpPr>
        <p:spPr bwMode="gray">
          <a:xfrm>
            <a:off x="574676" y="1676574"/>
            <a:ext cx="3583654" cy="1234267"/>
          </a:xfrm>
          <a:prstGeom prst="roundRect">
            <a:avLst>
              <a:gd name="adj" fmla="val 6345"/>
            </a:avLst>
          </a:prstGeom>
          <a:gradFill flip="none" rotWithShape="1">
            <a:gsLst>
              <a:gs pos="0">
                <a:srgbClr val="A6E0FF"/>
              </a:gs>
              <a:gs pos="100000">
                <a:srgbClr val="89D1FF"/>
              </a:gs>
            </a:gsLst>
            <a:lin ang="2700000" scaled="1"/>
            <a:tileRect/>
          </a:gradFill>
          <a:ln w="15238" cap="flat">
            <a:noFill/>
            <a:prstDash val="solid"/>
            <a:miter/>
          </a:ln>
        </p:spPr>
        <p:txBody>
          <a:bodyPr lIns="182880" tIns="146304" rIns="182880" bIns="146304" rtlCol="0" anchor="t"/>
          <a:lstStyle/>
          <a:p>
            <a:pPr defTabSz="1088776" fontAlgn="base">
              <a:spcBef>
                <a:spcPts val="600"/>
              </a:spcBef>
              <a:buClr>
                <a:srgbClr val="000000"/>
              </a:buClr>
              <a:buSzPct val="100000"/>
              <a:defRPr/>
            </a:pPr>
            <a:r>
              <a:rPr lang="en-US" sz="1600" kern="0">
                <a:gradFill>
                  <a:gsLst>
                    <a:gs pos="0">
                      <a:srgbClr val="002A86"/>
                    </a:gs>
                    <a:gs pos="100000">
                      <a:srgbClr val="002A86"/>
                    </a:gs>
                  </a:gsLst>
                  <a:lin ang="2700000" scaled="1"/>
                </a:gradFill>
                <a:latin typeface="72 Brand Medium"/>
              </a:rPr>
              <a:t>Comprehensive</a:t>
            </a:r>
            <a:r>
              <a:rPr lang="en-US" sz="1100" kern="0">
                <a:gradFill>
                  <a:gsLst>
                    <a:gs pos="0">
                      <a:srgbClr val="002A86"/>
                    </a:gs>
                    <a:gs pos="100000">
                      <a:srgbClr val="002A86"/>
                    </a:gs>
                  </a:gsLst>
                  <a:lin ang="2700000" scaled="1"/>
                </a:gradFill>
                <a:latin typeface="72 Brand Medium"/>
              </a:rPr>
              <a:t> </a:t>
            </a:r>
          </a:p>
          <a:p>
            <a:pPr defTabSz="1088776" fontAlgn="base">
              <a:spcBef>
                <a:spcPts val="600"/>
              </a:spcBef>
              <a:spcAft>
                <a:spcPts val="600"/>
              </a:spcAft>
              <a:buClr>
                <a:srgbClr val="000000"/>
              </a:buClr>
              <a:buSzPct val="100000"/>
              <a:defRPr/>
            </a:pPr>
            <a:r>
              <a:rPr lang="en-US" sz="1200" kern="0">
                <a:gradFill>
                  <a:gsLst>
                    <a:gs pos="0">
                      <a:srgbClr val="002A86"/>
                    </a:gs>
                    <a:gs pos="100000">
                      <a:srgbClr val="002A86"/>
                    </a:gs>
                  </a:gsLst>
                  <a:lin ang="2700000" scaled="1"/>
                </a:gradFill>
                <a:latin typeface="72 Brand"/>
              </a:rPr>
              <a:t>Power end-to-end business processes with the most comprehensive, integrated portfolio </a:t>
            </a:r>
            <a:br>
              <a:rPr lang="en-US" sz="1200" kern="0">
                <a:gradFill>
                  <a:gsLst>
                    <a:gs pos="0">
                      <a:srgbClr val="002A86"/>
                    </a:gs>
                    <a:gs pos="100000">
                      <a:srgbClr val="002A86"/>
                    </a:gs>
                  </a:gsLst>
                  <a:lin ang="2700000" scaled="1"/>
                </a:gradFill>
                <a:latin typeface="72 Brand"/>
              </a:rPr>
            </a:br>
            <a:r>
              <a:rPr lang="en-US" sz="1200" kern="0">
                <a:gradFill>
                  <a:gsLst>
                    <a:gs pos="0">
                      <a:srgbClr val="002A86"/>
                    </a:gs>
                    <a:gs pos="100000">
                      <a:srgbClr val="002A86"/>
                    </a:gs>
                  </a:gsLst>
                  <a:lin ang="2700000" scaled="1"/>
                </a:gradFill>
                <a:latin typeface="72 Brand"/>
              </a:rPr>
              <a:t>of applications</a:t>
            </a:r>
          </a:p>
        </p:txBody>
      </p:sp>
      <p:sp>
        <p:nvSpPr>
          <p:cNvPr id="15" name="Rectangle: Rounded Corners 14">
            <a:extLst>
              <a:ext uri="{FF2B5EF4-FFF2-40B4-BE49-F238E27FC236}">
                <a16:creationId xmlns:a16="http://schemas.microsoft.com/office/drawing/2014/main" id="{4A8451C9-5001-6D99-861C-89FE48FD03A2}"/>
              </a:ext>
            </a:extLst>
          </p:cNvPr>
          <p:cNvSpPr/>
          <p:nvPr/>
        </p:nvSpPr>
        <p:spPr bwMode="gray">
          <a:xfrm>
            <a:off x="4307711" y="1676574"/>
            <a:ext cx="3583654" cy="1234267"/>
          </a:xfrm>
          <a:prstGeom prst="roundRect">
            <a:avLst>
              <a:gd name="adj" fmla="val 6345"/>
            </a:avLst>
          </a:prstGeom>
          <a:gradFill flip="none" rotWithShape="1">
            <a:gsLst>
              <a:gs pos="0">
                <a:srgbClr val="A6E0FF"/>
              </a:gs>
              <a:gs pos="100000">
                <a:srgbClr val="89D1FF"/>
              </a:gs>
            </a:gsLst>
            <a:lin ang="2700000" scaled="1"/>
            <a:tileRect/>
          </a:gradFill>
          <a:ln w="15238" cap="flat">
            <a:noFill/>
            <a:prstDash val="solid"/>
            <a:miter/>
          </a:ln>
        </p:spPr>
        <p:txBody>
          <a:bodyPr lIns="182880" tIns="146304" rIns="182880" bIns="146304" rtlCol="0" anchor="t"/>
          <a:lstStyle/>
          <a:p>
            <a:pPr defTabSz="1088776" fontAlgn="base">
              <a:spcBef>
                <a:spcPts val="600"/>
              </a:spcBef>
              <a:spcAft>
                <a:spcPct val="0"/>
              </a:spcAft>
              <a:buClr>
                <a:srgbClr val="000000"/>
              </a:buClr>
              <a:buSzPct val="100000"/>
            </a:pPr>
            <a:r>
              <a:rPr lang="en-US" sz="1600" kern="0">
                <a:gradFill>
                  <a:gsLst>
                    <a:gs pos="0">
                      <a:srgbClr val="002A86"/>
                    </a:gs>
                    <a:gs pos="100000">
                      <a:srgbClr val="002A86"/>
                    </a:gs>
                  </a:gsLst>
                  <a:lin ang="2700000" scaled="1"/>
                </a:gradFill>
                <a:latin typeface="72 Brand Medium"/>
              </a:rPr>
              <a:t>Extensible and integrated</a:t>
            </a:r>
          </a:p>
          <a:p>
            <a:pPr defTabSz="1088776" fontAlgn="base">
              <a:spcBef>
                <a:spcPts val="600"/>
              </a:spcBef>
              <a:spcAft>
                <a:spcPts val="600"/>
              </a:spcAft>
              <a:buClr>
                <a:srgbClr val="000000"/>
              </a:buClr>
              <a:buSzPct val="100000"/>
              <a:defRPr/>
            </a:pPr>
            <a:r>
              <a:rPr lang="en-US" sz="1200" kern="0">
                <a:gradFill>
                  <a:gsLst>
                    <a:gs pos="0">
                      <a:srgbClr val="002A86"/>
                    </a:gs>
                    <a:gs pos="100000">
                      <a:srgbClr val="002A86"/>
                    </a:gs>
                  </a:gsLst>
                  <a:lin ang="2700000" scaled="1"/>
                </a:gradFill>
                <a:latin typeface="72 Brand"/>
              </a:rPr>
              <a:t>Easily connect and extend applications with generative AI powered development, automation, and integration solutions</a:t>
            </a:r>
            <a:endParaRPr lang="en-US" sz="1200" kern="0">
              <a:gradFill>
                <a:gsLst>
                  <a:gs pos="0">
                    <a:srgbClr val="002A86"/>
                  </a:gs>
                  <a:gs pos="100000">
                    <a:srgbClr val="002A86"/>
                  </a:gs>
                </a:gsLst>
                <a:lin ang="2700000" scaled="1"/>
              </a:gradFill>
              <a:latin typeface="72 Brand"/>
              <a:cs typeface="Arial"/>
            </a:endParaRPr>
          </a:p>
        </p:txBody>
      </p:sp>
      <p:sp>
        <p:nvSpPr>
          <p:cNvPr id="18" name="Rectangle: Rounded Corners 17">
            <a:extLst>
              <a:ext uri="{FF2B5EF4-FFF2-40B4-BE49-F238E27FC236}">
                <a16:creationId xmlns:a16="http://schemas.microsoft.com/office/drawing/2014/main" id="{9EC78366-E0D8-8627-028F-A185FB4CDB2C}"/>
              </a:ext>
            </a:extLst>
          </p:cNvPr>
          <p:cNvSpPr/>
          <p:nvPr/>
        </p:nvSpPr>
        <p:spPr bwMode="gray">
          <a:xfrm>
            <a:off x="8040748" y="1676574"/>
            <a:ext cx="3583654" cy="1234267"/>
          </a:xfrm>
          <a:prstGeom prst="roundRect">
            <a:avLst>
              <a:gd name="adj" fmla="val 6345"/>
            </a:avLst>
          </a:prstGeom>
          <a:gradFill flip="none" rotWithShape="1">
            <a:gsLst>
              <a:gs pos="0">
                <a:srgbClr val="A6E0FF"/>
              </a:gs>
              <a:gs pos="100000">
                <a:srgbClr val="89D1FF"/>
              </a:gs>
            </a:gsLst>
            <a:lin ang="2700000" scaled="1"/>
            <a:tileRect/>
          </a:gradFill>
          <a:ln w="15238" cap="flat">
            <a:noFill/>
            <a:prstDash val="solid"/>
            <a:miter/>
          </a:ln>
        </p:spPr>
        <p:txBody>
          <a:bodyPr lIns="182880" tIns="146304" rIns="182880" bIns="146304" rtlCol="0" anchor="t"/>
          <a:lstStyle/>
          <a:p>
            <a:pPr defTabSz="1088776" fontAlgn="base">
              <a:spcBef>
                <a:spcPts val="600"/>
              </a:spcBef>
              <a:spcAft>
                <a:spcPct val="0"/>
              </a:spcAft>
              <a:buClr>
                <a:srgbClr val="000000"/>
              </a:buClr>
              <a:buSzPct val="100000"/>
            </a:pPr>
            <a:r>
              <a:rPr lang="en-US" sz="1600" kern="0">
                <a:gradFill>
                  <a:gsLst>
                    <a:gs pos="0">
                      <a:srgbClr val="002A86"/>
                    </a:gs>
                    <a:gs pos="100000">
                      <a:srgbClr val="002A86"/>
                    </a:gs>
                  </a:gsLst>
                  <a:lin ang="2700000" scaled="1"/>
                </a:gradFill>
                <a:latin typeface="72 Brand Medium"/>
              </a:rPr>
              <a:t>Industry-specific</a:t>
            </a:r>
          </a:p>
          <a:p>
            <a:pPr defTabSz="1088776" fontAlgn="base">
              <a:spcBef>
                <a:spcPts val="600"/>
              </a:spcBef>
              <a:spcAft>
                <a:spcPct val="0"/>
              </a:spcAft>
              <a:buClr>
                <a:srgbClr val="000000"/>
              </a:buClr>
              <a:buSzPct val="100000"/>
            </a:pPr>
            <a:r>
              <a:rPr lang="en-US" sz="1200" kern="0">
                <a:gradFill>
                  <a:gsLst>
                    <a:gs pos="0">
                      <a:srgbClr val="002A86"/>
                    </a:gs>
                    <a:gs pos="100000">
                      <a:srgbClr val="002A86"/>
                    </a:gs>
                  </a:gsLst>
                  <a:lin ang="2700000" scaled="1"/>
                </a:gradFill>
                <a:latin typeface="72 Brand"/>
              </a:rPr>
              <a:t>Tailored solutions for all industries, </a:t>
            </a:r>
            <a:br>
              <a:rPr lang="en-US" sz="1200" kern="0">
                <a:gradFill>
                  <a:gsLst>
                    <a:gs pos="0">
                      <a:srgbClr val="002A86"/>
                    </a:gs>
                    <a:gs pos="100000">
                      <a:srgbClr val="002A86"/>
                    </a:gs>
                  </a:gsLst>
                  <a:lin ang="2700000" scaled="1"/>
                </a:gradFill>
                <a:latin typeface="72 Brand"/>
              </a:rPr>
            </a:br>
            <a:r>
              <a:rPr lang="en-US" sz="1200" kern="0">
                <a:gradFill>
                  <a:gsLst>
                    <a:gs pos="0">
                      <a:srgbClr val="002A86"/>
                    </a:gs>
                    <a:gs pos="100000">
                      <a:srgbClr val="002A86"/>
                    </a:gs>
                  </a:gsLst>
                  <a:lin ang="2700000" scaled="1"/>
                </a:gradFill>
                <a:latin typeface="72 Brand"/>
              </a:rPr>
              <a:t>built to meet unique business needs</a:t>
            </a:r>
          </a:p>
        </p:txBody>
      </p:sp>
      <p:pic>
        <p:nvPicPr>
          <p:cNvPr id="19" name="Picture 18">
            <a:extLst>
              <a:ext uri="{FF2B5EF4-FFF2-40B4-BE49-F238E27FC236}">
                <a16:creationId xmlns:a16="http://schemas.microsoft.com/office/drawing/2014/main" id="{8823DC07-19CA-6E82-ACF9-76C377B64870}"/>
              </a:ext>
            </a:extLst>
          </p:cNvPr>
          <p:cNvPicPr>
            <a:picLocks noChangeAspect="1"/>
          </p:cNvPicPr>
          <p:nvPr/>
        </p:nvPicPr>
        <p:blipFill rotWithShape="1">
          <a:blip r:embed="rId4"/>
          <a:srcRect l="1880" t="25509" r="55813" b="40586"/>
          <a:stretch/>
        </p:blipFill>
        <p:spPr>
          <a:xfrm>
            <a:off x="1045195" y="4525403"/>
            <a:ext cx="2254265" cy="1271437"/>
          </a:xfrm>
          <a:prstGeom prst="rect">
            <a:avLst/>
          </a:prstGeom>
        </p:spPr>
      </p:pic>
      <p:pic>
        <p:nvPicPr>
          <p:cNvPr id="21" name="Picture 20">
            <a:extLst>
              <a:ext uri="{FF2B5EF4-FFF2-40B4-BE49-F238E27FC236}">
                <a16:creationId xmlns:a16="http://schemas.microsoft.com/office/drawing/2014/main" id="{59716F64-1158-B6D4-58D9-B427AC3F95B4}"/>
              </a:ext>
            </a:extLst>
          </p:cNvPr>
          <p:cNvPicPr>
            <a:picLocks noChangeAspect="1"/>
          </p:cNvPicPr>
          <p:nvPr/>
        </p:nvPicPr>
        <p:blipFill rotWithShape="1">
          <a:blip r:embed="rId5"/>
          <a:srcRect l="1279" t="547" r="52765" b="53496"/>
          <a:stretch/>
        </p:blipFill>
        <p:spPr>
          <a:xfrm>
            <a:off x="4778179" y="3099217"/>
            <a:ext cx="2254350" cy="1268072"/>
          </a:xfrm>
          <a:prstGeom prst="rect">
            <a:avLst/>
          </a:prstGeom>
        </p:spPr>
      </p:pic>
      <p:pic>
        <p:nvPicPr>
          <p:cNvPr id="24" name="Picture 23">
            <a:extLst>
              <a:ext uri="{FF2B5EF4-FFF2-40B4-BE49-F238E27FC236}">
                <a16:creationId xmlns:a16="http://schemas.microsoft.com/office/drawing/2014/main" id="{6927AFBA-6348-0535-347E-FF1E3A602AF6}"/>
              </a:ext>
            </a:extLst>
          </p:cNvPr>
          <p:cNvPicPr>
            <a:picLocks noChangeAspect="1"/>
          </p:cNvPicPr>
          <p:nvPr/>
        </p:nvPicPr>
        <p:blipFill rotWithShape="1">
          <a:blip r:embed="rId6"/>
          <a:srcRect l="30990" t="18340" r="25524" b="38174"/>
          <a:stretch/>
        </p:blipFill>
        <p:spPr>
          <a:xfrm>
            <a:off x="4778179" y="4525403"/>
            <a:ext cx="2254350" cy="1268072"/>
          </a:xfrm>
          <a:prstGeom prst="rect">
            <a:avLst/>
          </a:prstGeom>
        </p:spPr>
      </p:pic>
      <p:pic>
        <p:nvPicPr>
          <p:cNvPr id="25" name="Picture 24" descr="A screenshot of a computer&#10;&#10;Description automatically generated">
            <a:extLst>
              <a:ext uri="{FF2B5EF4-FFF2-40B4-BE49-F238E27FC236}">
                <a16:creationId xmlns:a16="http://schemas.microsoft.com/office/drawing/2014/main" id="{85D69324-8BAA-1918-145C-FC9B804CB99A}"/>
              </a:ext>
            </a:extLst>
          </p:cNvPr>
          <p:cNvPicPr>
            <a:picLocks noChangeAspect="1"/>
          </p:cNvPicPr>
          <p:nvPr/>
        </p:nvPicPr>
        <p:blipFill rotWithShape="1">
          <a:blip r:embed="rId7"/>
          <a:srcRect r="60533" b="60533"/>
          <a:stretch/>
        </p:blipFill>
        <p:spPr>
          <a:xfrm>
            <a:off x="8507711" y="4525403"/>
            <a:ext cx="2260332" cy="1271437"/>
          </a:xfrm>
          <a:prstGeom prst="rect">
            <a:avLst/>
          </a:prstGeom>
        </p:spPr>
      </p:pic>
      <p:pic>
        <p:nvPicPr>
          <p:cNvPr id="26" name="Picture 25">
            <a:extLst>
              <a:ext uri="{FF2B5EF4-FFF2-40B4-BE49-F238E27FC236}">
                <a16:creationId xmlns:a16="http://schemas.microsoft.com/office/drawing/2014/main" id="{3CE6E7D1-8316-DAC1-127F-0619E95D91AA}"/>
              </a:ext>
            </a:extLst>
          </p:cNvPr>
          <p:cNvPicPr>
            <a:picLocks noChangeAspect="1"/>
          </p:cNvPicPr>
          <p:nvPr/>
        </p:nvPicPr>
        <p:blipFill rotWithShape="1">
          <a:blip r:embed="rId8"/>
          <a:srcRect l="41" t="597" r="69000" b="68443"/>
          <a:stretch/>
        </p:blipFill>
        <p:spPr>
          <a:xfrm>
            <a:off x="8507711" y="3099217"/>
            <a:ext cx="2260332" cy="1271437"/>
          </a:xfrm>
          <a:prstGeom prst="rect">
            <a:avLst/>
          </a:prstGeom>
        </p:spPr>
      </p:pic>
      <p:sp>
        <p:nvSpPr>
          <p:cNvPr id="27" name="Rectangle: Rounded Corners 26">
            <a:extLst>
              <a:ext uri="{FF2B5EF4-FFF2-40B4-BE49-F238E27FC236}">
                <a16:creationId xmlns:a16="http://schemas.microsoft.com/office/drawing/2014/main" id="{363B992B-C2D9-7C37-7680-756BAA2CB4E7}"/>
              </a:ext>
            </a:extLst>
          </p:cNvPr>
          <p:cNvSpPr/>
          <p:nvPr/>
        </p:nvSpPr>
        <p:spPr bwMode="auto">
          <a:xfrm>
            <a:off x="6330640" y="3083729"/>
            <a:ext cx="1560725" cy="328536"/>
          </a:xfrm>
          <a:prstGeom prst="roundRect">
            <a:avLst>
              <a:gd name="adj" fmla="val 5000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37" tIns="146190" rIns="182737" bIns="146190" numCol="1" spcCol="0" rtlCol="0" fromWordArt="0" anchor="ctr" anchorCtr="0" forceAA="0" compatLnSpc="1">
            <a:prstTxWarp prst="textNoShape">
              <a:avLst/>
            </a:prstTxWarp>
            <a:noAutofit/>
          </a:bodyPr>
          <a:lstStyle/>
          <a:p>
            <a:pPr algn="ctr" defTabSz="931726" fontAlgn="base">
              <a:spcBef>
                <a:spcPct val="0"/>
              </a:spcBef>
              <a:spcAft>
                <a:spcPct val="0"/>
              </a:spcAft>
            </a:pPr>
            <a:r>
              <a:rPr lang="en-US" sz="1199">
                <a:gradFill>
                  <a:gsLst>
                    <a:gs pos="0">
                      <a:srgbClr val="002A86"/>
                    </a:gs>
                    <a:gs pos="100000">
                      <a:srgbClr val="002A86"/>
                    </a:gs>
                  </a:gsLst>
                  <a:lin ang="5400000" scaled="1"/>
                </a:gradFill>
                <a:latin typeface="72 Brand Medium" panose="020B0604030603020204" pitchFamily="34" charset="0"/>
                <a:cs typeface="72" panose="020B0503030000000003" pitchFamily="34" charset="0"/>
              </a:rPr>
              <a:t>Procure to pay</a:t>
            </a:r>
          </a:p>
        </p:txBody>
      </p:sp>
      <p:sp>
        <p:nvSpPr>
          <p:cNvPr id="28" name="Rectangle: Rounded Corners 27">
            <a:extLst>
              <a:ext uri="{FF2B5EF4-FFF2-40B4-BE49-F238E27FC236}">
                <a16:creationId xmlns:a16="http://schemas.microsoft.com/office/drawing/2014/main" id="{CAD7C562-9F61-1D3E-9B13-F2BB64CE09F2}"/>
              </a:ext>
            </a:extLst>
          </p:cNvPr>
          <p:cNvSpPr/>
          <p:nvPr/>
        </p:nvSpPr>
        <p:spPr bwMode="auto">
          <a:xfrm>
            <a:off x="6330640" y="4525403"/>
            <a:ext cx="1560725" cy="328536"/>
          </a:xfrm>
          <a:prstGeom prst="roundRect">
            <a:avLst>
              <a:gd name="adj" fmla="val 5000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37" tIns="146190" rIns="182737" bIns="146190" numCol="1" spcCol="0" rtlCol="0" fromWordArt="0" anchor="ctr" anchorCtr="0" forceAA="0" compatLnSpc="1">
            <a:prstTxWarp prst="textNoShape">
              <a:avLst/>
            </a:prstTxWarp>
            <a:noAutofit/>
          </a:bodyPr>
          <a:lstStyle/>
          <a:p>
            <a:pPr algn="ctr" defTabSz="931726" fontAlgn="base">
              <a:spcBef>
                <a:spcPct val="0"/>
              </a:spcBef>
              <a:spcAft>
                <a:spcPct val="0"/>
              </a:spcAft>
            </a:pPr>
            <a:r>
              <a:rPr lang="en-US" sz="1199">
                <a:gradFill>
                  <a:gsLst>
                    <a:gs pos="0">
                      <a:srgbClr val="002A86"/>
                    </a:gs>
                    <a:gs pos="100000">
                      <a:srgbClr val="002A86"/>
                    </a:gs>
                  </a:gsLst>
                  <a:lin ang="5400000" scaled="1"/>
                </a:gradFill>
                <a:latin typeface="72 Brand Medium" panose="020B0604030603020204" pitchFamily="34" charset="0"/>
                <a:cs typeface="72" panose="020B0503030000000003" pitchFamily="34" charset="0"/>
              </a:rPr>
              <a:t>Lead to cash</a:t>
            </a:r>
          </a:p>
        </p:txBody>
      </p:sp>
      <p:sp>
        <p:nvSpPr>
          <p:cNvPr id="29" name="Rectangle: Rounded Corners 28">
            <a:extLst>
              <a:ext uri="{FF2B5EF4-FFF2-40B4-BE49-F238E27FC236}">
                <a16:creationId xmlns:a16="http://schemas.microsoft.com/office/drawing/2014/main" id="{C7F18BD2-CEF0-FFA7-A7F9-2A83A9A6E336}"/>
              </a:ext>
            </a:extLst>
          </p:cNvPr>
          <p:cNvSpPr/>
          <p:nvPr/>
        </p:nvSpPr>
        <p:spPr bwMode="auto">
          <a:xfrm>
            <a:off x="10063678" y="3083729"/>
            <a:ext cx="1560725" cy="328536"/>
          </a:xfrm>
          <a:prstGeom prst="roundRect">
            <a:avLst>
              <a:gd name="adj" fmla="val 5000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37" tIns="146190" rIns="182737" bIns="146190" numCol="1" spcCol="0" rtlCol="0" fromWordArt="0" anchor="ctr" anchorCtr="0" forceAA="0" compatLnSpc="1">
            <a:prstTxWarp prst="textNoShape">
              <a:avLst/>
            </a:prstTxWarp>
            <a:noAutofit/>
          </a:bodyPr>
          <a:lstStyle/>
          <a:p>
            <a:pPr algn="ctr" defTabSz="931726" fontAlgn="base">
              <a:spcBef>
                <a:spcPct val="0"/>
              </a:spcBef>
              <a:spcAft>
                <a:spcPct val="0"/>
              </a:spcAft>
            </a:pPr>
            <a:r>
              <a:rPr lang="en-US" sz="1199">
                <a:gradFill>
                  <a:gsLst>
                    <a:gs pos="0">
                      <a:srgbClr val="002A86"/>
                    </a:gs>
                    <a:gs pos="100000">
                      <a:srgbClr val="002A86"/>
                    </a:gs>
                  </a:gsLst>
                  <a:lin ang="5400000" scaled="1"/>
                </a:gradFill>
                <a:latin typeface="72 Brand Medium" panose="020B0604030603020204" pitchFamily="34" charset="0"/>
                <a:cs typeface="72" panose="020B0503030000000003" pitchFamily="34" charset="0"/>
              </a:rPr>
              <a:t>Design to operate</a:t>
            </a:r>
          </a:p>
        </p:txBody>
      </p:sp>
      <p:sp>
        <p:nvSpPr>
          <p:cNvPr id="30" name="Rectangle: Rounded Corners 29">
            <a:extLst>
              <a:ext uri="{FF2B5EF4-FFF2-40B4-BE49-F238E27FC236}">
                <a16:creationId xmlns:a16="http://schemas.microsoft.com/office/drawing/2014/main" id="{5A405995-6E2D-91B8-71F0-340445EC3B28}"/>
              </a:ext>
            </a:extLst>
          </p:cNvPr>
          <p:cNvSpPr/>
          <p:nvPr/>
        </p:nvSpPr>
        <p:spPr bwMode="auto">
          <a:xfrm>
            <a:off x="10063678" y="4525403"/>
            <a:ext cx="1560725" cy="328536"/>
          </a:xfrm>
          <a:prstGeom prst="roundRect">
            <a:avLst>
              <a:gd name="adj" fmla="val 5000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37" tIns="146190" rIns="182737" bIns="146190" numCol="1" spcCol="0" rtlCol="0" fromWordArt="0" anchor="ctr" anchorCtr="0" forceAA="0" compatLnSpc="1">
            <a:prstTxWarp prst="textNoShape">
              <a:avLst/>
            </a:prstTxWarp>
            <a:noAutofit/>
          </a:bodyPr>
          <a:lstStyle/>
          <a:p>
            <a:pPr algn="ctr" defTabSz="931726" fontAlgn="base">
              <a:spcBef>
                <a:spcPct val="0"/>
              </a:spcBef>
              <a:spcAft>
                <a:spcPct val="0"/>
              </a:spcAft>
            </a:pPr>
            <a:r>
              <a:rPr lang="en-US" sz="1199">
                <a:gradFill>
                  <a:gsLst>
                    <a:gs pos="0">
                      <a:srgbClr val="002A86"/>
                    </a:gs>
                    <a:gs pos="100000">
                      <a:srgbClr val="002A86"/>
                    </a:gs>
                  </a:gsLst>
                  <a:lin ang="5400000" scaled="1"/>
                </a:gradFill>
                <a:latin typeface="72 Brand Medium" panose="020B0604030603020204" pitchFamily="34" charset="0"/>
                <a:cs typeface="72" panose="020B0503030000000003" pitchFamily="34" charset="0"/>
              </a:rPr>
              <a:t>Record to report</a:t>
            </a:r>
          </a:p>
        </p:txBody>
      </p:sp>
      <p:sp>
        <p:nvSpPr>
          <p:cNvPr id="31" name="Rectangle: Rounded Corners 30">
            <a:extLst>
              <a:ext uri="{FF2B5EF4-FFF2-40B4-BE49-F238E27FC236}">
                <a16:creationId xmlns:a16="http://schemas.microsoft.com/office/drawing/2014/main" id="{AE7F8B5B-F4AF-9BF1-6A76-5B4B839C6AD0}"/>
              </a:ext>
            </a:extLst>
          </p:cNvPr>
          <p:cNvSpPr/>
          <p:nvPr/>
        </p:nvSpPr>
        <p:spPr bwMode="auto">
          <a:xfrm>
            <a:off x="2597606" y="4525403"/>
            <a:ext cx="1560725" cy="328536"/>
          </a:xfrm>
          <a:prstGeom prst="roundRect">
            <a:avLst>
              <a:gd name="adj" fmla="val 5000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37" tIns="146190" rIns="182737" bIns="146190" numCol="1" spcCol="0" rtlCol="0" fromWordArt="0" anchor="ctr" anchorCtr="0" forceAA="0" compatLnSpc="1">
            <a:prstTxWarp prst="textNoShape">
              <a:avLst/>
            </a:prstTxWarp>
            <a:noAutofit/>
          </a:bodyPr>
          <a:lstStyle/>
          <a:p>
            <a:pPr algn="ctr" defTabSz="931726" fontAlgn="base">
              <a:spcBef>
                <a:spcPct val="0"/>
              </a:spcBef>
              <a:spcAft>
                <a:spcPct val="0"/>
              </a:spcAft>
            </a:pPr>
            <a:r>
              <a:rPr lang="en-US" sz="1199">
                <a:gradFill>
                  <a:gsLst>
                    <a:gs pos="0">
                      <a:srgbClr val="002A86"/>
                    </a:gs>
                    <a:gs pos="100000">
                      <a:srgbClr val="002A86"/>
                    </a:gs>
                  </a:gsLst>
                  <a:lin ang="5400000" scaled="1"/>
                </a:gradFill>
                <a:latin typeface="72 Brand Medium" panose="020B0604030603020204" pitchFamily="34" charset="0"/>
                <a:cs typeface="72" panose="020B0503030000000003" pitchFamily="34" charset="0"/>
              </a:rPr>
              <a:t>Hire to retire</a:t>
            </a:r>
          </a:p>
        </p:txBody>
      </p:sp>
      <p:graphicFrame>
        <p:nvGraphicFramePr>
          <p:cNvPr id="7" name="think-cell data - do not delete" hidden="1">
            <a:extLst>
              <a:ext uri="{FF2B5EF4-FFF2-40B4-BE49-F238E27FC236}">
                <a16:creationId xmlns:a16="http://schemas.microsoft.com/office/drawing/2014/main" id="{D5FF61AD-3D5F-8EBF-B555-1178073AB47E}"/>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441" y="43877"/>
          <a:ext cx="341" cy="441"/>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7" name="think-cell data - do not delete" hidden="1">
                        <a:extLst>
                          <a:ext uri="{FF2B5EF4-FFF2-40B4-BE49-F238E27FC236}">
                            <a16:creationId xmlns:a16="http://schemas.microsoft.com/office/drawing/2014/main" id="{D5FF61AD-3D5F-8EBF-B555-1178073AB47E}"/>
                          </a:ext>
                          <a:ext uri="{C183D7F6-B498-43B3-948B-1728B52AA6E4}">
                            <adec:decorative xmlns:adec="http://schemas.microsoft.com/office/drawing/2017/decorative" val="1"/>
                          </a:ext>
                        </a:extLst>
                      </p:cNvPr>
                      <p:cNvPicPr/>
                      <p:nvPr/>
                    </p:nvPicPr>
                    <p:blipFill>
                      <a:blip r:embed="rId10"/>
                      <a:stretch>
                        <a:fillRect/>
                      </a:stretch>
                    </p:blipFill>
                    <p:spPr>
                      <a:xfrm>
                        <a:off x="441" y="43877"/>
                        <a:ext cx="341" cy="441"/>
                      </a:xfrm>
                      <a:prstGeom prst="rect">
                        <a:avLst/>
                      </a:prstGeom>
                    </p:spPr>
                  </p:pic>
                </p:oleObj>
              </mc:Fallback>
            </mc:AlternateContent>
          </a:graphicData>
        </a:graphic>
      </p:graphicFrame>
      <p:sp>
        <p:nvSpPr>
          <p:cNvPr id="1845" name="TextBox 1844">
            <a:extLst>
              <a:ext uri="{FF2B5EF4-FFF2-40B4-BE49-F238E27FC236}">
                <a16:creationId xmlns:a16="http://schemas.microsoft.com/office/drawing/2014/main" id="{899C7993-9F4D-D3F1-50B9-ED4E3E9B78B4}"/>
              </a:ext>
            </a:extLst>
          </p:cNvPr>
          <p:cNvSpPr txBox="1"/>
          <p:nvPr/>
        </p:nvSpPr>
        <p:spPr>
          <a:xfrm>
            <a:off x="573088" y="942667"/>
            <a:ext cx="10617081" cy="430887"/>
          </a:xfrm>
          <a:prstGeom prst="rect">
            <a:avLst/>
          </a:prstGeom>
          <a:noFill/>
        </p:spPr>
        <p:txBody>
          <a:bodyPr wrap="square" lIns="0" tIns="0" rIns="0" bIns="0" anchor="t">
            <a:spAutoFit/>
          </a:bodyPr>
          <a:lstStyle/>
          <a:p>
            <a:pPr defTabSz="1073773">
              <a:defRPr/>
            </a:pPr>
            <a:r>
              <a:rPr lang="en-GB" sz="1400" dirty="0">
                <a:solidFill>
                  <a:srgbClr val="000000"/>
                </a:solidFill>
                <a:latin typeface="72 Brand Medium" panose="020B0604030603020204" pitchFamily="34" charset="0"/>
              </a:rPr>
              <a:t>SAP’s applications and Business Technology Platform</a:t>
            </a:r>
            <a:r>
              <a:rPr lang="en-GB" sz="1400" dirty="0">
                <a:solidFill>
                  <a:srgbClr val="000000"/>
                </a:solidFill>
                <a:latin typeface="72 Brand"/>
              </a:rPr>
              <a:t> deliver comprehensive, connected </a:t>
            </a:r>
            <a:br>
              <a:rPr lang="en-GB" sz="1400" dirty="0">
                <a:solidFill>
                  <a:srgbClr val="000000"/>
                </a:solidFill>
                <a:latin typeface="72 Brand"/>
              </a:rPr>
            </a:br>
            <a:r>
              <a:rPr lang="en-GB" sz="1400" dirty="0">
                <a:solidFill>
                  <a:srgbClr val="000000"/>
                </a:solidFill>
                <a:latin typeface="72 Brand"/>
              </a:rPr>
              <a:t>and tailored solutions to meet your unique needs.</a:t>
            </a:r>
          </a:p>
        </p:txBody>
      </p:sp>
      <p:sp>
        <p:nvSpPr>
          <p:cNvPr id="4" name="Title 3">
            <a:extLst>
              <a:ext uri="{FF2B5EF4-FFF2-40B4-BE49-F238E27FC236}">
                <a16:creationId xmlns:a16="http://schemas.microsoft.com/office/drawing/2014/main" id="{E9C5C9EF-B937-B22F-F886-E756EFE95C58}"/>
              </a:ext>
            </a:extLst>
          </p:cNvPr>
          <p:cNvSpPr>
            <a:spLocks noGrp="1"/>
          </p:cNvSpPr>
          <p:nvPr>
            <p:ph type="title"/>
          </p:nvPr>
        </p:nvSpPr>
        <p:spPr/>
        <p:txBody>
          <a:bodyPr/>
          <a:lstStyle/>
          <a:p>
            <a:r>
              <a:rPr lang="en-GB" sz="2400" b="1" dirty="0">
                <a:gradFill>
                  <a:gsLst>
                    <a:gs pos="0">
                      <a:srgbClr val="000000"/>
                    </a:gs>
                    <a:gs pos="100000">
                      <a:srgbClr val="000000"/>
                    </a:gs>
                  </a:gsLst>
                  <a:lin ang="18900000" scaled="1"/>
                </a:gradFill>
                <a:latin typeface="+mj-lt"/>
              </a:rPr>
              <a:t>Unparalleled Applications</a:t>
            </a:r>
          </a:p>
        </p:txBody>
      </p:sp>
      <p:sp>
        <p:nvSpPr>
          <p:cNvPr id="1922" name="Oval 1921">
            <a:extLst>
              <a:ext uri="{FF2B5EF4-FFF2-40B4-BE49-F238E27FC236}">
                <a16:creationId xmlns:a16="http://schemas.microsoft.com/office/drawing/2014/main" id="{1185741A-70E3-0C82-7DA2-CCB428FE5F93}"/>
              </a:ext>
              <a:ext uri="{C183D7F6-B498-43B3-948B-1728B52AA6E4}">
                <adec:decorative xmlns:adec="http://schemas.microsoft.com/office/drawing/2017/decorative" val="1"/>
              </a:ext>
            </a:extLst>
          </p:cNvPr>
          <p:cNvSpPr/>
          <p:nvPr/>
        </p:nvSpPr>
        <p:spPr bwMode="gray">
          <a:xfrm>
            <a:off x="10807846" y="550199"/>
            <a:ext cx="740337" cy="740336"/>
          </a:xfrm>
          <a:prstGeom prst="ellipse">
            <a:avLst/>
          </a:prstGeom>
          <a:noFill/>
          <a:ln w="12700" algn="ctr">
            <a:gradFill>
              <a:gsLst>
                <a:gs pos="0">
                  <a:srgbClr val="89D1FF"/>
                </a:gs>
                <a:gs pos="100000">
                  <a:srgbClr val="1B90FF"/>
                </a:gs>
              </a:gsLst>
              <a:lin ang="5400000" scaled="1"/>
            </a:grad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
        <p:nvSpPr>
          <p:cNvPr id="1923" name="Rectangle: Rounded Corners 1922">
            <a:extLst>
              <a:ext uri="{FF2B5EF4-FFF2-40B4-BE49-F238E27FC236}">
                <a16:creationId xmlns:a16="http://schemas.microsoft.com/office/drawing/2014/main" id="{E74A1810-2310-760F-5CBB-479D6D6D8A8E}"/>
              </a:ext>
            </a:extLst>
          </p:cNvPr>
          <p:cNvSpPr/>
          <p:nvPr/>
        </p:nvSpPr>
        <p:spPr bwMode="gray">
          <a:xfrm>
            <a:off x="10666040" y="501842"/>
            <a:ext cx="1023949" cy="234614"/>
          </a:xfrm>
          <a:prstGeom prst="roundRect">
            <a:avLst>
              <a:gd name="adj" fmla="val 14916"/>
            </a:avLst>
          </a:prstGeom>
          <a:solidFill>
            <a:srgbClr val="7858FF"/>
          </a:solidFill>
          <a:ln w="15238" cap="flat">
            <a:noFill/>
            <a:prstDash val="solid"/>
            <a:miter/>
          </a:ln>
        </p:spPr>
        <p:txBody>
          <a:bodyPr rtlCol="0" anchor="ctr"/>
          <a:lstStyle/>
          <a:p>
            <a:pPr algn="ctr" defTabSz="1088122"/>
            <a:r>
              <a:rPr lang="en-US" sz="1100">
                <a:gradFill>
                  <a:gsLst>
                    <a:gs pos="0">
                      <a:schemeClr val="bg1"/>
                    </a:gs>
                    <a:gs pos="100000">
                      <a:schemeClr val="bg1"/>
                    </a:gs>
                  </a:gsLst>
                  <a:lin ang="0" scaled="0"/>
                </a:gradFill>
                <a:latin typeface="+mj-lt"/>
              </a:rPr>
              <a:t>AI</a:t>
            </a:r>
          </a:p>
        </p:txBody>
      </p:sp>
      <p:sp>
        <p:nvSpPr>
          <p:cNvPr id="1925" name="Rectangle: Rounded Corners 1924">
            <a:extLst>
              <a:ext uri="{FF2B5EF4-FFF2-40B4-BE49-F238E27FC236}">
                <a16:creationId xmlns:a16="http://schemas.microsoft.com/office/drawing/2014/main" id="{F3288D92-8863-787A-12CE-E50373B4D492}"/>
              </a:ext>
            </a:extLst>
          </p:cNvPr>
          <p:cNvSpPr/>
          <p:nvPr/>
        </p:nvSpPr>
        <p:spPr bwMode="gray">
          <a:xfrm>
            <a:off x="10666040" y="803060"/>
            <a:ext cx="1023949" cy="234614"/>
          </a:xfrm>
          <a:prstGeom prst="roundRect">
            <a:avLst>
              <a:gd name="adj" fmla="val 17081"/>
            </a:avLst>
          </a:prstGeom>
          <a:solidFill>
            <a:srgbClr val="0070F2"/>
          </a:solidFill>
          <a:ln w="15238" cap="flat">
            <a:noFill/>
            <a:prstDash val="solid"/>
            <a:miter/>
          </a:ln>
        </p:spPr>
        <p:txBody>
          <a:bodyPr rtlCol="0" anchor="ctr"/>
          <a:lstStyle/>
          <a:p>
            <a:pPr algn="ctr" defTabSz="1088122"/>
            <a:r>
              <a:rPr lang="en-US" sz="1100">
                <a:gradFill>
                  <a:gsLst>
                    <a:gs pos="0">
                      <a:schemeClr val="bg1"/>
                    </a:gs>
                    <a:gs pos="100000">
                      <a:schemeClr val="bg1"/>
                    </a:gs>
                  </a:gsLst>
                  <a:lin ang="0" scaled="0"/>
                </a:gradFill>
                <a:latin typeface="+mj-lt"/>
              </a:rPr>
              <a:t>Data</a:t>
            </a:r>
          </a:p>
        </p:txBody>
      </p:sp>
      <p:sp>
        <p:nvSpPr>
          <p:cNvPr id="1926" name="Rectangle 1925">
            <a:extLst>
              <a:ext uri="{FF2B5EF4-FFF2-40B4-BE49-F238E27FC236}">
                <a16:creationId xmlns:a16="http://schemas.microsoft.com/office/drawing/2014/main" id="{AD015B0C-582E-A658-168B-932446A806DF}"/>
              </a:ext>
              <a:ext uri="{C183D7F6-B498-43B3-948B-1728B52AA6E4}">
                <adec:decorative xmlns:adec="http://schemas.microsoft.com/office/drawing/2017/decorative" val="1"/>
              </a:ext>
            </a:extLst>
          </p:cNvPr>
          <p:cNvSpPr/>
          <p:nvPr/>
        </p:nvSpPr>
        <p:spPr bwMode="gray">
          <a:xfrm>
            <a:off x="10648624" y="474191"/>
            <a:ext cx="1049348" cy="628150"/>
          </a:xfrm>
          <a:prstGeom prst="rect">
            <a:avLst/>
          </a:prstGeom>
          <a:solidFill>
            <a:schemeClr val="bg1">
              <a:alpha val="80000"/>
            </a:schemeClr>
          </a:solidFill>
          <a:ln w="25400" algn="ctr">
            <a:no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
        <p:nvSpPr>
          <p:cNvPr id="1927" name="Rectangle: Rounded Corners 1926">
            <a:extLst>
              <a:ext uri="{FF2B5EF4-FFF2-40B4-BE49-F238E27FC236}">
                <a16:creationId xmlns:a16="http://schemas.microsoft.com/office/drawing/2014/main" id="{C09A60F2-9B7C-7680-E69E-3558866F8163}"/>
              </a:ext>
            </a:extLst>
          </p:cNvPr>
          <p:cNvSpPr/>
          <p:nvPr/>
        </p:nvSpPr>
        <p:spPr bwMode="gray">
          <a:xfrm>
            <a:off x="10666401" y="1104278"/>
            <a:ext cx="1023949" cy="234614"/>
          </a:xfrm>
          <a:prstGeom prst="roundRect">
            <a:avLst>
              <a:gd name="adj" fmla="val 16401"/>
            </a:avLst>
          </a:prstGeom>
          <a:gradFill flip="none" rotWithShape="1">
            <a:gsLst>
              <a:gs pos="0">
                <a:srgbClr val="A6E0FF"/>
              </a:gs>
              <a:gs pos="100000">
                <a:srgbClr val="89D1FF"/>
              </a:gs>
            </a:gsLst>
            <a:lin ang="2700000" scaled="1"/>
            <a:tileRect/>
          </a:gradFill>
          <a:ln w="15238" cap="flat">
            <a:noFill/>
            <a:prstDash val="solid"/>
            <a:miter/>
          </a:ln>
        </p:spPr>
        <p:txBody>
          <a:bodyPr lIns="91440" tIns="91440" rIns="91440" bIns="91440" rtlCol="0" anchor="ctr"/>
          <a:lstStyle/>
          <a:p>
            <a:pPr algn="ctr" defTabSz="913943" fontAlgn="base">
              <a:spcAft>
                <a:spcPts val="600"/>
              </a:spcAft>
              <a:buClr>
                <a:srgbClr val="F0AB00"/>
              </a:buClr>
              <a:buSzPct val="80000"/>
            </a:pPr>
            <a:r>
              <a:rPr lang="en-US" sz="1100" kern="0">
                <a:latin typeface="+mj-lt"/>
              </a:rPr>
              <a:t>Applications</a:t>
            </a:r>
          </a:p>
        </p:txBody>
      </p:sp>
      <p:sp>
        <p:nvSpPr>
          <p:cNvPr id="2" name="Rectangle: Top Corners Rounded 1" descr="bar at the bottom for Business Technology Platformsignal that the “One suite” and the processes highlighted are all sitting on top of the business technology platform.">
            <a:extLst>
              <a:ext uri="{FF2B5EF4-FFF2-40B4-BE49-F238E27FC236}">
                <a16:creationId xmlns:a16="http://schemas.microsoft.com/office/drawing/2014/main" id="{EAD2B138-5EF8-7CC9-02F7-4C2670675C06}"/>
              </a:ext>
            </a:extLst>
          </p:cNvPr>
          <p:cNvSpPr/>
          <p:nvPr/>
        </p:nvSpPr>
        <p:spPr bwMode="gray">
          <a:xfrm flipV="1">
            <a:off x="574675" y="5925366"/>
            <a:ext cx="11049726" cy="365077"/>
          </a:xfrm>
          <a:prstGeom prst="round2SameRect">
            <a:avLst/>
          </a:prstGeom>
          <a:gradFill flip="none" rotWithShape="1">
            <a:gsLst>
              <a:gs pos="0">
                <a:srgbClr val="A6E0FF"/>
              </a:gs>
              <a:gs pos="100000">
                <a:srgbClr val="89D1FF"/>
              </a:gs>
            </a:gsLst>
            <a:lin ang="2700000" scaled="1"/>
            <a:tileRect/>
          </a:gradFill>
          <a:ln w="15238" cap="flat">
            <a:noFill/>
            <a:prstDash val="solid"/>
            <a:miter/>
          </a:ln>
        </p:spPr>
        <p:txBody>
          <a:bodyPr lIns="182880" tIns="146304" rIns="182880" bIns="146304" rtlCol="0" anchor="t"/>
          <a:lstStyle/>
          <a:p>
            <a:pPr fontAlgn="base">
              <a:spcBef>
                <a:spcPts val="600"/>
              </a:spcBef>
              <a:spcAft>
                <a:spcPct val="0"/>
              </a:spcAft>
              <a:buClr>
                <a:srgbClr val="000000"/>
              </a:buClr>
              <a:buSzPct val="100000"/>
            </a:pPr>
            <a:endParaRPr lang="en-GB" sz="1600" kern="0">
              <a:gradFill>
                <a:gsLst>
                  <a:gs pos="0">
                    <a:srgbClr val="002A86"/>
                  </a:gs>
                  <a:gs pos="100000">
                    <a:srgbClr val="002A86"/>
                  </a:gs>
                </a:gsLst>
                <a:lin ang="2700000" scaled="1"/>
              </a:gradFill>
              <a:latin typeface="72 Brand Medium"/>
            </a:endParaRPr>
          </a:p>
        </p:txBody>
      </p:sp>
      <p:sp>
        <p:nvSpPr>
          <p:cNvPr id="32" name="TextBox 31">
            <a:extLst>
              <a:ext uri="{FF2B5EF4-FFF2-40B4-BE49-F238E27FC236}">
                <a16:creationId xmlns:a16="http://schemas.microsoft.com/office/drawing/2014/main" id="{778AB66B-3760-5B13-E236-F15763FBFBB6}"/>
              </a:ext>
            </a:extLst>
          </p:cNvPr>
          <p:cNvSpPr txBox="1"/>
          <p:nvPr/>
        </p:nvSpPr>
        <p:spPr>
          <a:xfrm>
            <a:off x="4668858" y="5984794"/>
            <a:ext cx="2861361" cy="246221"/>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en-US" sz="1600" kern="0">
                <a:gradFill>
                  <a:gsLst>
                    <a:gs pos="0">
                      <a:srgbClr val="002A86"/>
                    </a:gs>
                    <a:gs pos="100000">
                      <a:srgbClr val="002A86"/>
                    </a:gs>
                  </a:gsLst>
                  <a:lin ang="2700000" scaled="1"/>
                </a:gradFill>
                <a:latin typeface="72 Brand Medium"/>
              </a:rPr>
              <a:t>Business Technology Platform</a:t>
            </a:r>
          </a:p>
        </p:txBody>
      </p:sp>
    </p:spTree>
    <p:extLst>
      <p:ext uri="{BB962C8B-B14F-4D97-AF65-F5344CB8AC3E}">
        <p14:creationId xmlns:p14="http://schemas.microsoft.com/office/powerpoint/2010/main" val="186715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DC2">
            <a:hlinkClick r:id="" action="ppaction://media"/>
            <a:extLst>
              <a:ext uri="{FF2B5EF4-FFF2-40B4-BE49-F238E27FC236}">
                <a16:creationId xmlns:a16="http://schemas.microsoft.com/office/drawing/2014/main" id="{6586077A-1EBC-AA0D-5D20-E6CF806B0737}"/>
              </a:ext>
            </a:extLst>
          </p:cNvPr>
          <p:cNvPicPr>
            <a:picLocks noChangeAspect="1"/>
          </p:cNvPicPr>
          <p:nvPr>
            <a:videoFile r:link="rId1"/>
            <p:extLst>
              <p:ext uri="{DAA4B4D4-6D71-4841-9C94-3DE7FCFB9230}">
                <p14:media xmlns:p14="http://schemas.microsoft.com/office/powerpoint/2010/main" r:embed="rId2">
                  <p14:trim end="78312.3"/>
                </p14:media>
              </p:ext>
            </p:extLst>
          </p:nvPr>
        </p:nvPicPr>
        <p:blipFill>
          <a:blip r:embed="rId5"/>
          <a:stretch>
            <a:fillRect/>
          </a:stretch>
        </p:blipFill>
        <p:spPr>
          <a:xfrm>
            <a:off x="1587" y="1786"/>
            <a:ext cx="12185652" cy="6854429"/>
          </a:xfrm>
          <a:prstGeom prst="rect">
            <a:avLst/>
          </a:prstGeom>
        </p:spPr>
      </p:pic>
      <p:sp>
        <p:nvSpPr>
          <p:cNvPr id="2" name="Rectangle: Rounded Corners 22">
            <a:extLst>
              <a:ext uri="{FF2B5EF4-FFF2-40B4-BE49-F238E27FC236}">
                <a16:creationId xmlns:a16="http://schemas.microsoft.com/office/drawing/2014/main" id="{067B65BB-DE2F-49DB-C3A1-E7C81E956B0D}"/>
              </a:ext>
            </a:extLst>
          </p:cNvPr>
          <p:cNvSpPr/>
          <p:nvPr/>
        </p:nvSpPr>
        <p:spPr bwMode="gray">
          <a:xfrm>
            <a:off x="10816352" y="0"/>
            <a:ext cx="1370886" cy="274177"/>
          </a:xfrm>
          <a:prstGeom prst="roundRect">
            <a:avLst/>
          </a:prstGeom>
          <a:solidFill>
            <a:srgbClr val="92D050"/>
          </a:solidFill>
          <a:ln w="25400" algn="ctr">
            <a:noFill/>
            <a:miter lim="800000"/>
            <a:headEnd/>
            <a:tailEnd/>
          </a:ln>
        </p:spPr>
        <p:txBody>
          <a:bodyPr lIns="91392" tIns="91392" rIns="91392" bIns="91392" rtlCol="0" anchor="ctr"/>
          <a:lstStyle/>
          <a:p>
            <a:pPr algn="ctr" defTabSz="913943" fontAlgn="base">
              <a:spcBef>
                <a:spcPct val="50000"/>
              </a:spcBef>
              <a:spcAft>
                <a:spcPct val="0"/>
              </a:spcAft>
              <a:buClr>
                <a:srgbClr val="F0AB00"/>
              </a:buClr>
              <a:buSzPct val="80000"/>
            </a:pPr>
            <a:r>
              <a:rPr lang="en-US" sz="1199" b="1" kern="0" dirty="0">
                <a:solidFill>
                  <a:schemeClr val="bg1"/>
                </a:solidFill>
                <a:latin typeface="+mn-lt"/>
                <a:ea typeface="72 Brand" pitchFamily="34" charset="-128"/>
                <a:cs typeface="72 Brand" pitchFamily="34" charset="-128"/>
              </a:rPr>
              <a:t>CONCEPTUAL</a:t>
            </a:r>
          </a:p>
        </p:txBody>
      </p:sp>
    </p:spTree>
    <p:extLst>
      <p:ext uri="{BB962C8B-B14F-4D97-AF65-F5344CB8AC3E}">
        <p14:creationId xmlns:p14="http://schemas.microsoft.com/office/powerpoint/2010/main" val="1690546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822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9BE75F3-36DC-0EEE-12C5-5BBD20874D8B}"/>
            </a:ext>
          </a:extLst>
        </p:cNvPr>
        <p:cNvGrpSpPr/>
        <p:nvPr/>
      </p:nvGrpSpPr>
      <p:grpSpPr>
        <a:xfrm>
          <a:off x="0" y="0"/>
          <a:ext cx="0" cy="0"/>
          <a:chOff x="0" y="0"/>
          <a:chExt cx="0" cy="0"/>
        </a:xfrm>
      </p:grpSpPr>
      <p:pic>
        <p:nvPicPr>
          <p:cNvPr id="30" name="Picture 29">
            <a:extLst>
              <a:ext uri="{FF2B5EF4-FFF2-40B4-BE49-F238E27FC236}">
                <a16:creationId xmlns:a16="http://schemas.microsoft.com/office/drawing/2014/main" id="{4B942A75-B571-3A85-5176-2C28207F41AC}"/>
              </a:ext>
            </a:extLst>
          </p:cNvPr>
          <p:cNvPicPr>
            <a:picLocks noChangeAspect="1"/>
          </p:cNvPicPr>
          <p:nvPr/>
        </p:nvPicPr>
        <p:blipFill>
          <a:blip r:embed="rId2"/>
          <a:stretch>
            <a:fillRect/>
          </a:stretch>
        </p:blipFill>
        <p:spPr>
          <a:xfrm>
            <a:off x="5128142" y="1623675"/>
            <a:ext cx="6494665" cy="4158354"/>
          </a:xfrm>
          <a:prstGeom prst="roundRect">
            <a:avLst>
              <a:gd name="adj" fmla="val 2463"/>
            </a:avLst>
          </a:prstGeom>
          <a:effectLst>
            <a:outerShdw blurRad="50800" dir="2700000" algn="tl" rotWithShape="0">
              <a:prstClr val="black">
                <a:alpha val="40000"/>
              </a:prstClr>
            </a:outerShdw>
          </a:effectLst>
        </p:spPr>
      </p:pic>
      <p:sp>
        <p:nvSpPr>
          <p:cNvPr id="28" name="Rectangle 27">
            <a:extLst>
              <a:ext uri="{FF2B5EF4-FFF2-40B4-BE49-F238E27FC236}">
                <a16:creationId xmlns:a16="http://schemas.microsoft.com/office/drawing/2014/main" id="{1EF962F4-8459-12CE-71F7-4A8028AFAB9C}"/>
              </a:ext>
            </a:extLst>
          </p:cNvPr>
          <p:cNvSpPr/>
          <p:nvPr/>
        </p:nvSpPr>
        <p:spPr>
          <a:xfrm>
            <a:off x="567441" y="2078284"/>
            <a:ext cx="4718211" cy="766734"/>
          </a:xfrm>
          <a:prstGeom prst="rect">
            <a:avLst/>
          </a:prstGeom>
        </p:spPr>
        <p:txBody>
          <a:bodyPr wrap="square" lIns="0">
            <a:spAutoFit/>
          </a:bodyPr>
          <a:lstStyle/>
          <a:p>
            <a:pPr defTabSz="1087361">
              <a:lnSpc>
                <a:spcPct val="107000"/>
              </a:lnSpc>
              <a:spcAft>
                <a:spcPts val="600"/>
              </a:spcAft>
              <a:defRPr/>
            </a:pPr>
            <a:r>
              <a:rPr lang="en-US" sz="1399">
                <a:gradFill>
                  <a:gsLst>
                    <a:gs pos="100000">
                      <a:srgbClr val="000000"/>
                    </a:gs>
                    <a:gs pos="0">
                      <a:srgbClr val="000000"/>
                    </a:gs>
                  </a:gsLst>
                  <a:lin ang="2700000" scaled="1"/>
                </a:gradFill>
                <a:latin typeface="72 Brand"/>
                <a:ea typeface="Calibri" panose="020F0502020204030204" pitchFamily="34" charset="0"/>
                <a:cs typeface="Times New Roman" panose="02020603050405020304" pitchFamily="18" charset="0"/>
              </a:rPr>
              <a:t>Enabling companies to effectively make use of current assets and maintain sufficient cash flow to meet </a:t>
            </a:r>
            <a:br>
              <a:rPr lang="en-US" sz="1399">
                <a:gradFill>
                  <a:gsLst>
                    <a:gs pos="100000">
                      <a:srgbClr val="000000"/>
                    </a:gs>
                    <a:gs pos="0">
                      <a:srgbClr val="000000"/>
                    </a:gs>
                  </a:gsLst>
                  <a:lin ang="2700000" scaled="1"/>
                </a:gradFill>
                <a:latin typeface="72 Brand"/>
                <a:ea typeface="Calibri" panose="020F0502020204030204" pitchFamily="34" charset="0"/>
                <a:cs typeface="Times New Roman" panose="02020603050405020304" pitchFamily="18" charset="0"/>
              </a:rPr>
            </a:br>
            <a:r>
              <a:rPr lang="en-US" sz="1399">
                <a:gradFill>
                  <a:gsLst>
                    <a:gs pos="100000">
                      <a:srgbClr val="000000"/>
                    </a:gs>
                    <a:gs pos="0">
                      <a:srgbClr val="000000"/>
                    </a:gs>
                  </a:gsLst>
                  <a:lin ang="2700000" scaled="1"/>
                </a:gradFill>
                <a:latin typeface="72 Brand"/>
                <a:ea typeface="Calibri" panose="020F0502020204030204" pitchFamily="34" charset="0"/>
                <a:cs typeface="Times New Roman" panose="02020603050405020304" pitchFamily="18" charset="0"/>
              </a:rPr>
              <a:t>short-term goals and obligations.</a:t>
            </a:r>
          </a:p>
        </p:txBody>
      </p:sp>
      <p:sp>
        <p:nvSpPr>
          <p:cNvPr id="29" name="Text Placeholder 14">
            <a:extLst>
              <a:ext uri="{FF2B5EF4-FFF2-40B4-BE49-F238E27FC236}">
                <a16:creationId xmlns:a16="http://schemas.microsoft.com/office/drawing/2014/main" id="{1596386A-70C1-37E9-C37F-A95C21862FC0}"/>
              </a:ext>
            </a:extLst>
          </p:cNvPr>
          <p:cNvSpPr txBox="1">
            <a:spLocks/>
          </p:cNvSpPr>
          <p:nvPr/>
        </p:nvSpPr>
        <p:spPr>
          <a:xfrm>
            <a:off x="567443" y="3132779"/>
            <a:ext cx="4352412" cy="2102269"/>
          </a:xfrm>
          <a:prstGeom prst="rect">
            <a:avLst/>
          </a:prstGeom>
        </p:spPr>
        <p:txBody>
          <a:bodyPr lIns="0"/>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defTabSz="1087143" fontAlgn="base">
              <a:lnSpc>
                <a:spcPct val="107000"/>
              </a:lnSpc>
              <a:spcBef>
                <a:spcPts val="1599"/>
              </a:spcBef>
              <a:spcAft>
                <a:spcPts val="400"/>
              </a:spcAft>
              <a:buClr>
                <a:srgbClr val="002A86"/>
              </a:buClr>
              <a:buSzPct val="100000"/>
              <a:defRPr/>
            </a:pPr>
            <a:r>
              <a:rPr lang="en-US" sz="1599" b="1">
                <a:gradFill>
                  <a:gsLst>
                    <a:gs pos="100000">
                      <a:srgbClr val="000000"/>
                    </a:gs>
                    <a:gs pos="0">
                      <a:srgbClr val="000000"/>
                    </a:gs>
                  </a:gsLst>
                  <a:lin ang="2700000" scaled="1"/>
                </a:gradFill>
                <a:cs typeface="Times New Roman" panose="02020603050405020304" pitchFamily="18" charset="0"/>
              </a:rPr>
              <a:t>The insight app helps to answer:</a:t>
            </a:r>
          </a:p>
          <a:p>
            <a:pPr marL="171364" lvl="1" indent="-171364" defTabSz="1087143" fontAlgn="base">
              <a:lnSpc>
                <a:spcPct val="107000"/>
              </a:lnSpc>
              <a:spcBef>
                <a:spcPts val="0"/>
              </a:spcBef>
              <a:spcAft>
                <a:spcPct val="0"/>
              </a:spcAft>
              <a:buClr>
                <a:srgbClr val="89D1FF"/>
              </a:buClr>
              <a:buFont typeface="Arial" panose="020B0604020202020204" pitchFamily="34" charset="0"/>
              <a:buChar char="•"/>
              <a:defRPr/>
            </a:pPr>
            <a:r>
              <a:rPr lang="en-US" sz="1399">
                <a:gradFill>
                  <a:gsLst>
                    <a:gs pos="100000">
                      <a:srgbClr val="000000"/>
                    </a:gs>
                    <a:gs pos="0">
                      <a:srgbClr val="000000"/>
                    </a:gs>
                  </a:gsLst>
                  <a:lin ang="2700000" scaled="1"/>
                </a:gradFill>
                <a:cs typeface="Times New Roman" panose="02020603050405020304" pitchFamily="18" charset="0"/>
              </a:rPr>
              <a:t>How has the working capital trended </a:t>
            </a:r>
            <a:br>
              <a:rPr lang="en-US" sz="1399">
                <a:gradFill>
                  <a:gsLst>
                    <a:gs pos="100000">
                      <a:srgbClr val="000000"/>
                    </a:gs>
                    <a:gs pos="0">
                      <a:srgbClr val="000000"/>
                    </a:gs>
                  </a:gsLst>
                  <a:lin ang="2700000" scaled="1"/>
                </a:gradFill>
                <a:cs typeface="Times New Roman" panose="02020603050405020304" pitchFamily="18" charset="0"/>
              </a:rPr>
            </a:br>
            <a:r>
              <a:rPr lang="en-US" sz="1399">
                <a:gradFill>
                  <a:gsLst>
                    <a:gs pos="100000">
                      <a:srgbClr val="000000"/>
                    </a:gs>
                    <a:gs pos="0">
                      <a:srgbClr val="000000"/>
                    </a:gs>
                  </a:gsLst>
                  <a:lin ang="2700000" scaled="1"/>
                </a:gradFill>
                <a:cs typeface="Times New Roman" panose="02020603050405020304" pitchFamily="18" charset="0"/>
              </a:rPr>
              <a:t>over the past few periods?</a:t>
            </a:r>
          </a:p>
          <a:p>
            <a:pPr marL="171364" lvl="1" indent="-171364" defTabSz="1087143" fontAlgn="base">
              <a:lnSpc>
                <a:spcPct val="107000"/>
              </a:lnSpc>
              <a:spcBef>
                <a:spcPts val="450"/>
              </a:spcBef>
              <a:spcAft>
                <a:spcPct val="0"/>
              </a:spcAft>
              <a:buClr>
                <a:srgbClr val="89D1FF"/>
              </a:buClr>
              <a:buFont typeface="Arial" panose="020B0604020202020204" pitchFamily="34" charset="0"/>
              <a:buChar char="•"/>
              <a:defRPr/>
            </a:pPr>
            <a:r>
              <a:rPr lang="en-US" sz="1399">
                <a:gradFill>
                  <a:gsLst>
                    <a:gs pos="100000">
                      <a:srgbClr val="000000"/>
                    </a:gs>
                    <a:gs pos="0">
                      <a:srgbClr val="000000"/>
                    </a:gs>
                  </a:gsLst>
                  <a:lin ang="2700000" scaled="1"/>
                </a:gradFill>
                <a:cs typeface="Times New Roman" panose="02020603050405020304" pitchFamily="18" charset="0"/>
              </a:rPr>
              <a:t>What is the average payment period </a:t>
            </a:r>
            <a:br>
              <a:rPr lang="en-US" sz="1399">
                <a:gradFill>
                  <a:gsLst>
                    <a:gs pos="100000">
                      <a:srgbClr val="000000"/>
                    </a:gs>
                    <a:gs pos="0">
                      <a:srgbClr val="000000"/>
                    </a:gs>
                  </a:gsLst>
                  <a:lin ang="2700000" scaled="1"/>
                </a:gradFill>
                <a:cs typeface="Times New Roman" panose="02020603050405020304" pitchFamily="18" charset="0"/>
              </a:rPr>
            </a:br>
            <a:r>
              <a:rPr lang="en-US" sz="1399">
                <a:gradFill>
                  <a:gsLst>
                    <a:gs pos="100000">
                      <a:srgbClr val="000000"/>
                    </a:gs>
                    <a:gs pos="0">
                      <a:srgbClr val="000000"/>
                    </a:gs>
                  </a:gsLst>
                  <a:lin ang="2700000" scaled="1"/>
                </a:gradFill>
                <a:cs typeface="Times New Roman" panose="02020603050405020304" pitchFamily="18" charset="0"/>
              </a:rPr>
              <a:t>for accounts payable?</a:t>
            </a:r>
          </a:p>
          <a:p>
            <a:pPr marL="171364" lvl="1" indent="-171364" defTabSz="1087143" fontAlgn="base">
              <a:lnSpc>
                <a:spcPct val="107000"/>
              </a:lnSpc>
              <a:spcBef>
                <a:spcPts val="450"/>
              </a:spcBef>
              <a:spcAft>
                <a:spcPct val="0"/>
              </a:spcAft>
              <a:buClr>
                <a:srgbClr val="89D1FF"/>
              </a:buClr>
              <a:buFont typeface="Arial" panose="020B0604020202020204" pitchFamily="34" charset="0"/>
              <a:buChar char="•"/>
              <a:defRPr/>
            </a:pPr>
            <a:r>
              <a:rPr lang="en-US" sz="1399">
                <a:gradFill>
                  <a:gsLst>
                    <a:gs pos="100000">
                      <a:srgbClr val="000000"/>
                    </a:gs>
                    <a:gs pos="0">
                      <a:srgbClr val="000000"/>
                    </a:gs>
                  </a:gsLst>
                  <a:lin ang="2700000" scaled="1"/>
                </a:gradFill>
                <a:cs typeface="Times New Roman" panose="02020603050405020304" pitchFamily="18" charset="0"/>
              </a:rPr>
              <a:t>Are there opportunities to negotiate better </a:t>
            </a:r>
            <a:br>
              <a:rPr lang="en-US" sz="1399">
                <a:gradFill>
                  <a:gsLst>
                    <a:gs pos="100000">
                      <a:srgbClr val="000000"/>
                    </a:gs>
                    <a:gs pos="0">
                      <a:srgbClr val="000000"/>
                    </a:gs>
                  </a:gsLst>
                  <a:lin ang="2700000" scaled="1"/>
                </a:gradFill>
                <a:cs typeface="Times New Roman" panose="02020603050405020304" pitchFamily="18" charset="0"/>
              </a:rPr>
            </a:br>
            <a:r>
              <a:rPr lang="en-US" sz="1399">
                <a:gradFill>
                  <a:gsLst>
                    <a:gs pos="100000">
                      <a:srgbClr val="000000"/>
                    </a:gs>
                    <a:gs pos="0">
                      <a:srgbClr val="000000"/>
                    </a:gs>
                  </a:gsLst>
                  <a:lin ang="2700000" scaled="1"/>
                </a:gradFill>
                <a:cs typeface="Times New Roman" panose="02020603050405020304" pitchFamily="18" charset="0"/>
              </a:rPr>
              <a:t>payment terms with suppliers?</a:t>
            </a:r>
          </a:p>
          <a:p>
            <a:pPr marL="171364" lvl="1" indent="-171364" defTabSz="1087143" fontAlgn="base">
              <a:lnSpc>
                <a:spcPct val="107000"/>
              </a:lnSpc>
              <a:spcBef>
                <a:spcPts val="450"/>
              </a:spcBef>
              <a:spcAft>
                <a:spcPct val="0"/>
              </a:spcAft>
              <a:buClr>
                <a:srgbClr val="89D1FF"/>
              </a:buClr>
              <a:buFont typeface="Arial" panose="020B0604020202020204" pitchFamily="34" charset="0"/>
              <a:buChar char="•"/>
              <a:defRPr/>
            </a:pPr>
            <a:r>
              <a:rPr lang="en-US" sz="1399">
                <a:gradFill>
                  <a:gsLst>
                    <a:gs pos="100000">
                      <a:srgbClr val="000000"/>
                    </a:gs>
                    <a:gs pos="0">
                      <a:srgbClr val="000000"/>
                    </a:gs>
                  </a:gsLst>
                  <a:lin ang="2700000" scaled="1"/>
                </a:gradFill>
                <a:cs typeface="Times New Roman" panose="02020603050405020304" pitchFamily="18" charset="0"/>
              </a:rPr>
              <a:t>What is my days sales outstanding?</a:t>
            </a:r>
          </a:p>
        </p:txBody>
      </p:sp>
      <p:sp>
        <p:nvSpPr>
          <p:cNvPr id="31" name="Rectangle: Rounded Corners 30">
            <a:extLst>
              <a:ext uri="{FF2B5EF4-FFF2-40B4-BE49-F238E27FC236}">
                <a16:creationId xmlns:a16="http://schemas.microsoft.com/office/drawing/2014/main" id="{F8A73244-35CF-2899-492D-3B6D49E98896}"/>
              </a:ext>
            </a:extLst>
          </p:cNvPr>
          <p:cNvSpPr/>
          <p:nvPr/>
        </p:nvSpPr>
        <p:spPr bwMode="gray">
          <a:xfrm>
            <a:off x="575963" y="1623676"/>
            <a:ext cx="4335743" cy="339238"/>
          </a:xfrm>
          <a:prstGeom prst="roundRect">
            <a:avLst>
              <a:gd name="adj" fmla="val 17787"/>
            </a:avLst>
          </a:prstGeom>
          <a:solidFill>
            <a:srgbClr val="D1EFFF"/>
          </a:solidFill>
          <a:ln w="25400" algn="ctr">
            <a:noFill/>
            <a:miter lim="800000"/>
            <a:headEnd/>
            <a:tailEnd/>
          </a:ln>
        </p:spPr>
        <p:txBody>
          <a:bodyPr lIns="182785" tIns="146228" rIns="182785" bIns="146228" rtlCol="0" anchor="ctr"/>
          <a:lstStyle/>
          <a:p>
            <a:pPr defTabSz="932006" fontAlgn="base">
              <a:lnSpc>
                <a:spcPct val="90000"/>
              </a:lnSpc>
              <a:spcBef>
                <a:spcPct val="0"/>
              </a:spcBef>
              <a:spcAft>
                <a:spcPts val="300"/>
              </a:spcAft>
              <a:buClr>
                <a:srgbClr val="F0AB00"/>
              </a:buClr>
              <a:buSzPct val="80000"/>
              <a:defRPr/>
            </a:pPr>
            <a:r>
              <a:rPr lang="en-US" sz="1199">
                <a:gradFill>
                  <a:gsLst>
                    <a:gs pos="100000">
                      <a:srgbClr val="002A86"/>
                    </a:gs>
                    <a:gs pos="0">
                      <a:srgbClr val="002A86"/>
                    </a:gs>
                  </a:gsLst>
                  <a:lin ang="2700000" scaled="1"/>
                </a:gradFill>
                <a:latin typeface="72 Brand Medium"/>
                <a:cs typeface="72" panose="020B0503030000000003" pitchFamily="34" charset="0"/>
              </a:rPr>
              <a:t>Core Enterprise Analytics</a:t>
            </a:r>
          </a:p>
        </p:txBody>
      </p:sp>
      <p:sp>
        <p:nvSpPr>
          <p:cNvPr id="4" name="Title 3">
            <a:extLst>
              <a:ext uri="{FF2B5EF4-FFF2-40B4-BE49-F238E27FC236}">
                <a16:creationId xmlns:a16="http://schemas.microsoft.com/office/drawing/2014/main" id="{84B1BD75-984C-53A5-0628-4BD6BDFCEA9A}"/>
              </a:ext>
            </a:extLst>
          </p:cNvPr>
          <p:cNvSpPr>
            <a:spLocks noGrp="1"/>
          </p:cNvSpPr>
          <p:nvPr>
            <p:ph type="title"/>
          </p:nvPr>
        </p:nvSpPr>
        <p:spPr>
          <a:xfrm>
            <a:off x="502976" y="504762"/>
            <a:ext cx="11181287" cy="584775"/>
          </a:xfrm>
        </p:spPr>
        <p:txBody>
          <a:bodyPr/>
          <a:lstStyle/>
          <a:p>
            <a:r>
              <a:rPr lang="en-US" sz="2400" b="1" dirty="0">
                <a:gradFill>
                  <a:gsLst>
                    <a:gs pos="0">
                      <a:srgbClr val="000000"/>
                    </a:gs>
                    <a:gs pos="100000">
                      <a:srgbClr val="000000"/>
                    </a:gs>
                  </a:gsLst>
                  <a:lin ang="18900000" scaled="1"/>
                </a:gradFill>
                <a:latin typeface="+mj-lt"/>
              </a:rPr>
              <a:t>Working Capital – Gain a deep understanding of your operations </a:t>
            </a:r>
            <a:br>
              <a:rPr lang="en-US" sz="2400" b="1" dirty="0">
                <a:gradFill>
                  <a:gsLst>
                    <a:gs pos="0">
                      <a:srgbClr val="000000"/>
                    </a:gs>
                    <a:gs pos="100000">
                      <a:srgbClr val="000000"/>
                    </a:gs>
                  </a:gsLst>
                  <a:lin ang="18900000" scaled="1"/>
                </a:gradFill>
                <a:latin typeface="+mj-lt"/>
              </a:rPr>
            </a:br>
            <a:r>
              <a:rPr lang="en-US" sz="1400" dirty="0">
                <a:gradFill>
                  <a:gsLst>
                    <a:gs pos="0">
                      <a:srgbClr val="000000"/>
                    </a:gs>
                    <a:gs pos="100000">
                      <a:srgbClr val="000000"/>
                    </a:gs>
                  </a:gsLst>
                  <a:lin ang="18900000" scaled="1"/>
                </a:gradFill>
                <a:latin typeface="+mn-lt"/>
              </a:rPr>
              <a:t>Insight Apps for Core Enterprise Analytics</a:t>
            </a:r>
          </a:p>
        </p:txBody>
      </p:sp>
    </p:spTree>
    <p:extLst>
      <p:ext uri="{BB962C8B-B14F-4D97-AF65-F5344CB8AC3E}">
        <p14:creationId xmlns:p14="http://schemas.microsoft.com/office/powerpoint/2010/main" val="29207379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usiness Unleased HCM scenario.mp4">
            <a:hlinkClick r:id="" action="ppaction://media"/>
            <a:extLst>
              <a:ext uri="{FF2B5EF4-FFF2-40B4-BE49-F238E27FC236}">
                <a16:creationId xmlns:a16="http://schemas.microsoft.com/office/drawing/2014/main" id="{05FB221A-3EF7-386E-790B-1FA4CC9595C8}"/>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5"/>
          <a:stretch>
            <a:fillRect/>
          </a:stretch>
        </p:blipFill>
        <p:spPr>
          <a:xfrm>
            <a:off x="1325880" y="290513"/>
            <a:ext cx="8996045" cy="6094412"/>
          </a:xfrm>
          <a:prstGeom prst="roundRect">
            <a:avLst>
              <a:gd name="adj" fmla="val 2867"/>
            </a:avLst>
          </a:prstGeom>
          <a:effectLst>
            <a:outerShdw blurRad="50800" dir="2700000" algn="ctr" rotWithShape="0">
              <a:prstClr val="black">
                <a:alpha val="20000"/>
              </a:prstClr>
            </a:outerShdw>
          </a:effectLst>
        </p:spPr>
      </p:pic>
      <p:sp>
        <p:nvSpPr>
          <p:cNvPr id="10" name="Rectangle: Rounded Corners 22">
            <a:extLst>
              <a:ext uri="{FF2B5EF4-FFF2-40B4-BE49-F238E27FC236}">
                <a16:creationId xmlns:a16="http://schemas.microsoft.com/office/drawing/2014/main" id="{43FDC2FD-F49B-BDF9-9111-C91387D5252A}"/>
              </a:ext>
            </a:extLst>
          </p:cNvPr>
          <p:cNvSpPr/>
          <p:nvPr/>
        </p:nvSpPr>
        <p:spPr bwMode="gray">
          <a:xfrm>
            <a:off x="10817939" y="16393"/>
            <a:ext cx="1370886" cy="274177"/>
          </a:xfrm>
          <a:prstGeom prst="roundRect">
            <a:avLst/>
          </a:prstGeom>
          <a:solidFill>
            <a:srgbClr val="92D050"/>
          </a:solidFill>
          <a:ln w="25400" algn="ctr">
            <a:noFill/>
            <a:miter lim="800000"/>
            <a:headEnd/>
            <a:tailEnd/>
          </a:ln>
        </p:spPr>
        <p:txBody>
          <a:bodyPr lIns="91392" tIns="91392" rIns="91392" bIns="91392" rtlCol="0" anchor="ctr"/>
          <a:lstStyle/>
          <a:p>
            <a:pPr algn="ctr" defTabSz="913943" fontAlgn="base">
              <a:spcBef>
                <a:spcPct val="50000"/>
              </a:spcBef>
              <a:spcAft>
                <a:spcPct val="0"/>
              </a:spcAft>
              <a:buClr>
                <a:srgbClr val="F0AB00"/>
              </a:buClr>
              <a:buSzPct val="80000"/>
            </a:pPr>
            <a:r>
              <a:rPr lang="en-US" sz="1199" b="1" kern="0" dirty="0">
                <a:solidFill>
                  <a:schemeClr val="bg1"/>
                </a:solidFill>
                <a:latin typeface="+mn-lt"/>
                <a:ea typeface="72 Brand" pitchFamily="34" charset="-128"/>
                <a:cs typeface="72 Brand" pitchFamily="34" charset="-128"/>
              </a:rPr>
              <a:t>CONCEPTUAL</a:t>
            </a:r>
          </a:p>
        </p:txBody>
      </p:sp>
    </p:spTree>
    <p:extLst>
      <p:ext uri="{BB962C8B-B14F-4D97-AF65-F5344CB8AC3E}">
        <p14:creationId xmlns:p14="http://schemas.microsoft.com/office/powerpoint/2010/main" val="1820121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6725"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4FBDD-5C20-67F9-1772-BD1CBFBD69E6}"/>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093879A3-21BF-5585-AFE7-E265F791AFEC}"/>
              </a:ext>
            </a:extLst>
          </p:cNvPr>
          <p:cNvSpPr>
            <a:spLocks noGrp="1"/>
          </p:cNvSpPr>
          <p:nvPr>
            <p:ph type="title"/>
          </p:nvPr>
        </p:nvSpPr>
        <p:spPr/>
        <p:txBody>
          <a:bodyPr/>
          <a:lstStyle/>
          <a:p>
            <a:r>
              <a:rPr lang="en-US" sz="2400" b="1" dirty="0">
                <a:gradFill>
                  <a:gsLst>
                    <a:gs pos="0">
                      <a:srgbClr val="000000"/>
                    </a:gs>
                    <a:gs pos="100000">
                      <a:srgbClr val="000000"/>
                    </a:gs>
                  </a:gsLst>
                  <a:lin ang="18900000" scaled="1"/>
                </a:gradFill>
                <a:latin typeface="+mj-lt"/>
              </a:rPr>
              <a:t>SAP Business Suite</a:t>
            </a:r>
          </a:p>
        </p:txBody>
      </p:sp>
      <p:sp>
        <p:nvSpPr>
          <p:cNvPr id="1435" name="TextBox 1434">
            <a:extLst>
              <a:ext uri="{FF2B5EF4-FFF2-40B4-BE49-F238E27FC236}">
                <a16:creationId xmlns:a16="http://schemas.microsoft.com/office/drawing/2014/main" id="{8C067F9A-6166-EB5A-DC38-323E1EAE8CDD}"/>
              </a:ext>
            </a:extLst>
          </p:cNvPr>
          <p:cNvSpPr txBox="1"/>
          <p:nvPr/>
        </p:nvSpPr>
        <p:spPr>
          <a:xfrm>
            <a:off x="573088" y="886841"/>
            <a:ext cx="2949525" cy="215444"/>
          </a:xfrm>
          <a:prstGeom prst="rect">
            <a:avLst/>
          </a:prstGeom>
          <a:noFill/>
        </p:spPr>
        <p:txBody>
          <a:bodyPr wrap="none" lIns="0" tIns="0" rIns="0" bIns="0" anchor="t">
            <a:spAutoFit/>
          </a:bodyPr>
          <a:lstStyle/>
          <a:p>
            <a:pPr defTabSz="914126">
              <a:defRPr/>
            </a:pPr>
            <a:r>
              <a:rPr lang="en-US" sz="1400" dirty="0">
                <a:solidFill>
                  <a:srgbClr val="000000"/>
                </a:solidFill>
                <a:latin typeface="72 Brand" panose="020B0504030603020204" pitchFamily="34" charset="0"/>
                <a:ea typeface="Calibri" panose="020F0502020204030204" pitchFamily="34" charset="0"/>
                <a:cs typeface="Calibri" panose="020F0502020204030204" pitchFamily="34" charset="0"/>
              </a:rPr>
              <a:t>The future of enterprise management</a:t>
            </a:r>
            <a:endParaRPr lang="en-US" sz="1400" dirty="0">
              <a:gradFill>
                <a:gsLst>
                  <a:gs pos="0">
                    <a:srgbClr val="000000"/>
                  </a:gs>
                  <a:gs pos="100000">
                    <a:srgbClr val="000000"/>
                  </a:gs>
                </a:gsLst>
                <a:lin ang="2700000" scaled="1"/>
              </a:gradFill>
              <a:latin typeface="72 Brand"/>
              <a:ea typeface="+mn-lt"/>
              <a:cs typeface="+mn-lt"/>
            </a:endParaRPr>
          </a:p>
        </p:txBody>
      </p:sp>
      <p:grpSp>
        <p:nvGrpSpPr>
          <p:cNvPr id="3" name="Group 2">
            <a:extLst>
              <a:ext uri="{FF2B5EF4-FFF2-40B4-BE49-F238E27FC236}">
                <a16:creationId xmlns:a16="http://schemas.microsoft.com/office/drawing/2014/main" id="{79C88CBE-5D8F-3976-B60C-EF0C0CD39F03}"/>
              </a:ext>
            </a:extLst>
          </p:cNvPr>
          <p:cNvGrpSpPr/>
          <p:nvPr/>
        </p:nvGrpSpPr>
        <p:grpSpPr>
          <a:xfrm>
            <a:off x="1685729" y="1446450"/>
            <a:ext cx="8888501" cy="4388909"/>
            <a:chOff x="1685729" y="1446450"/>
            <a:chExt cx="8888501" cy="4388909"/>
          </a:xfrm>
        </p:grpSpPr>
        <p:sp>
          <p:nvSpPr>
            <p:cNvPr id="5" name="Freeform 4">
              <a:extLst>
                <a:ext uri="{FF2B5EF4-FFF2-40B4-BE49-F238E27FC236}">
                  <a16:creationId xmlns:a16="http://schemas.microsoft.com/office/drawing/2014/main" id="{6BBBD6B1-A7C1-A880-1562-0937529CC6E2}"/>
                </a:ext>
              </a:extLst>
            </p:cNvPr>
            <p:cNvSpPr/>
            <p:nvPr/>
          </p:nvSpPr>
          <p:spPr>
            <a:xfrm>
              <a:off x="2346262" y="1446450"/>
              <a:ext cx="7567449" cy="3766859"/>
            </a:xfrm>
            <a:custGeom>
              <a:avLst/>
              <a:gdLst>
                <a:gd name="connsiteX0" fmla="*/ 7569421 w 7569420"/>
                <a:gd name="connsiteY0" fmla="*/ 3767840 h 3767840"/>
                <a:gd name="connsiteX1" fmla="*/ 3784674 w 7569420"/>
                <a:gd name="connsiteY1" fmla="*/ 0 h 3767840"/>
                <a:gd name="connsiteX2" fmla="*/ 0 w 7569420"/>
                <a:gd name="connsiteY2" fmla="*/ 3767840 h 3767840"/>
                <a:gd name="connsiteX3" fmla="*/ 7569421 w 7569420"/>
                <a:gd name="connsiteY3" fmla="*/ 3767840 h 3767840"/>
              </a:gdLst>
              <a:ahLst/>
              <a:cxnLst>
                <a:cxn ang="0">
                  <a:pos x="connsiteX0" y="connsiteY0"/>
                </a:cxn>
                <a:cxn ang="0">
                  <a:pos x="connsiteX1" y="connsiteY1"/>
                </a:cxn>
                <a:cxn ang="0">
                  <a:pos x="connsiteX2" y="connsiteY2"/>
                </a:cxn>
                <a:cxn ang="0">
                  <a:pos x="connsiteX3" y="connsiteY3"/>
                </a:cxn>
              </a:cxnLst>
              <a:rect l="l" t="t" r="r" b="b"/>
              <a:pathLst>
                <a:path w="7569420" h="3767840">
                  <a:moveTo>
                    <a:pt x="7569421" y="3767840"/>
                  </a:moveTo>
                  <a:cubicBezTo>
                    <a:pt x="7569421" y="1686911"/>
                    <a:pt x="5874931" y="0"/>
                    <a:pt x="3784674" y="0"/>
                  </a:cubicBezTo>
                  <a:cubicBezTo>
                    <a:pt x="1694417" y="0"/>
                    <a:pt x="0" y="1686911"/>
                    <a:pt x="0" y="3767840"/>
                  </a:cubicBezTo>
                  <a:lnTo>
                    <a:pt x="7569421" y="3767840"/>
                  </a:lnTo>
                  <a:close/>
                </a:path>
              </a:pathLst>
            </a:custGeom>
            <a:solidFill>
              <a:srgbClr val="7858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6" name="Freeform 5">
              <a:extLst>
                <a:ext uri="{FF2B5EF4-FFF2-40B4-BE49-F238E27FC236}">
                  <a16:creationId xmlns:a16="http://schemas.microsoft.com/office/drawing/2014/main" id="{530D4A1A-F626-5A89-DCCA-56B7099F220B}"/>
                </a:ext>
              </a:extLst>
            </p:cNvPr>
            <p:cNvSpPr/>
            <p:nvPr/>
          </p:nvSpPr>
          <p:spPr>
            <a:xfrm>
              <a:off x="2733184" y="1809913"/>
              <a:ext cx="6806791" cy="3403396"/>
            </a:xfrm>
            <a:custGeom>
              <a:avLst/>
              <a:gdLst>
                <a:gd name="connsiteX0" fmla="*/ 6808565 w 6808564"/>
                <a:gd name="connsiteY0" fmla="*/ 3404282 h 3404282"/>
                <a:gd name="connsiteX1" fmla="*/ 3404283 w 6808564"/>
                <a:gd name="connsiteY1" fmla="*/ 0 h 3404282"/>
                <a:gd name="connsiteX2" fmla="*/ 0 w 6808564"/>
                <a:gd name="connsiteY2" fmla="*/ 3404282 h 3404282"/>
                <a:gd name="connsiteX3" fmla="*/ 6808565 w 6808564"/>
                <a:gd name="connsiteY3" fmla="*/ 3404282 h 3404282"/>
              </a:gdLst>
              <a:ahLst/>
              <a:cxnLst>
                <a:cxn ang="0">
                  <a:pos x="connsiteX0" y="connsiteY0"/>
                </a:cxn>
                <a:cxn ang="0">
                  <a:pos x="connsiteX1" y="connsiteY1"/>
                </a:cxn>
                <a:cxn ang="0">
                  <a:pos x="connsiteX2" y="connsiteY2"/>
                </a:cxn>
                <a:cxn ang="0">
                  <a:pos x="connsiteX3" y="connsiteY3"/>
                </a:cxn>
              </a:cxnLst>
              <a:rect l="l" t="t" r="r" b="b"/>
              <a:pathLst>
                <a:path w="6808564" h="3404282">
                  <a:moveTo>
                    <a:pt x="6808565" y="3404282"/>
                  </a:moveTo>
                  <a:cubicBezTo>
                    <a:pt x="6808565" y="1524115"/>
                    <a:pt x="5284377" y="0"/>
                    <a:pt x="3404283" y="0"/>
                  </a:cubicBezTo>
                  <a:cubicBezTo>
                    <a:pt x="1524188" y="0"/>
                    <a:pt x="0" y="1524188"/>
                    <a:pt x="0" y="3404282"/>
                  </a:cubicBezTo>
                  <a:lnTo>
                    <a:pt x="6808565" y="3404282"/>
                  </a:lnTo>
                  <a:close/>
                </a:path>
              </a:pathLst>
            </a:custGeom>
            <a:solidFill>
              <a:srgbClr val="9B76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7" name="Freeform 6">
              <a:extLst>
                <a:ext uri="{FF2B5EF4-FFF2-40B4-BE49-F238E27FC236}">
                  <a16:creationId xmlns:a16="http://schemas.microsoft.com/office/drawing/2014/main" id="{43B03337-A62E-37C8-A7FD-030E3A5AD99D}"/>
                </a:ext>
              </a:extLst>
            </p:cNvPr>
            <p:cNvSpPr/>
            <p:nvPr/>
          </p:nvSpPr>
          <p:spPr>
            <a:xfrm>
              <a:off x="3111655" y="2191735"/>
              <a:ext cx="6043147" cy="3021573"/>
            </a:xfrm>
            <a:custGeom>
              <a:avLst/>
              <a:gdLst>
                <a:gd name="connsiteX0" fmla="*/ 0 w 6044721"/>
                <a:gd name="connsiteY0" fmla="*/ 3022361 h 3022360"/>
                <a:gd name="connsiteX1" fmla="*/ 3022361 w 6044721"/>
                <a:gd name="connsiteY1" fmla="*/ 0 h 3022360"/>
                <a:gd name="connsiteX2" fmla="*/ 6044722 w 6044721"/>
                <a:gd name="connsiteY2" fmla="*/ 3022361 h 3022360"/>
              </a:gdLst>
              <a:ahLst/>
              <a:cxnLst>
                <a:cxn ang="0">
                  <a:pos x="connsiteX0" y="connsiteY0"/>
                </a:cxn>
                <a:cxn ang="0">
                  <a:pos x="connsiteX1" y="connsiteY1"/>
                </a:cxn>
                <a:cxn ang="0">
                  <a:pos x="connsiteX2" y="connsiteY2"/>
                </a:cxn>
              </a:cxnLst>
              <a:rect l="l" t="t" r="r" b="b"/>
              <a:pathLst>
                <a:path w="6044721" h="3022360">
                  <a:moveTo>
                    <a:pt x="0" y="3022361"/>
                  </a:moveTo>
                  <a:cubicBezTo>
                    <a:pt x="0" y="1353158"/>
                    <a:pt x="1353158" y="0"/>
                    <a:pt x="3022361" y="0"/>
                  </a:cubicBezTo>
                  <a:cubicBezTo>
                    <a:pt x="4691564" y="0"/>
                    <a:pt x="6044722" y="1353158"/>
                    <a:pt x="6044722" y="3022361"/>
                  </a:cubicBezTo>
                </a:path>
              </a:pathLst>
            </a:custGeom>
            <a:solidFill>
              <a:srgbClr val="4DB1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8" name="Freeform 7">
              <a:extLst>
                <a:ext uri="{FF2B5EF4-FFF2-40B4-BE49-F238E27FC236}">
                  <a16:creationId xmlns:a16="http://schemas.microsoft.com/office/drawing/2014/main" id="{975D8C62-42A8-69C0-4981-2E543C37E57E}"/>
                </a:ext>
              </a:extLst>
            </p:cNvPr>
            <p:cNvSpPr/>
            <p:nvPr/>
          </p:nvSpPr>
          <p:spPr>
            <a:xfrm>
              <a:off x="1685729" y="5080791"/>
              <a:ext cx="8888501" cy="754568"/>
            </a:xfrm>
            <a:custGeom>
              <a:avLst/>
              <a:gdLst>
                <a:gd name="connsiteX0" fmla="*/ 8872709 w 8890816"/>
                <a:gd name="connsiteY0" fmla="*/ 681279 h 754765"/>
                <a:gd name="connsiteX1" fmla="*/ 8408880 w 8890816"/>
                <a:gd name="connsiteY1" fmla="*/ 45836 h 754765"/>
                <a:gd name="connsiteX2" fmla="*/ 8313637 w 8890816"/>
                <a:gd name="connsiteY2" fmla="*/ 0 h 754765"/>
                <a:gd name="connsiteX3" fmla="*/ 561089 w 8890816"/>
                <a:gd name="connsiteY3" fmla="*/ 0 h 754765"/>
                <a:gd name="connsiteX4" fmla="*/ 457757 w 8890816"/>
                <a:gd name="connsiteY4" fmla="*/ 58953 h 754765"/>
                <a:gd name="connsiteX5" fmla="*/ 8939 w 8890816"/>
                <a:gd name="connsiteY5" fmla="*/ 695708 h 754765"/>
                <a:gd name="connsiteX6" fmla="*/ 8939 w 8890816"/>
                <a:gd name="connsiteY6" fmla="*/ 742856 h 754765"/>
                <a:gd name="connsiteX7" fmla="*/ 52443 w 8890816"/>
                <a:gd name="connsiteY7" fmla="*/ 754661 h 754765"/>
                <a:gd name="connsiteX8" fmla="*/ 8848224 w 8890816"/>
                <a:gd name="connsiteY8" fmla="*/ 754661 h 754765"/>
                <a:gd name="connsiteX9" fmla="*/ 8887648 w 8890816"/>
                <a:gd name="connsiteY9" fmla="*/ 736297 h 754765"/>
                <a:gd name="connsiteX10" fmla="*/ 8872709 w 8890816"/>
                <a:gd name="connsiteY10" fmla="*/ 681279 h 75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90816" h="754765">
                  <a:moveTo>
                    <a:pt x="8872709" y="681279"/>
                  </a:moveTo>
                  <a:lnTo>
                    <a:pt x="8408880" y="45836"/>
                  </a:lnTo>
                  <a:cubicBezTo>
                    <a:pt x="8408880" y="45836"/>
                    <a:pt x="8391172" y="0"/>
                    <a:pt x="8313637" y="0"/>
                  </a:cubicBezTo>
                  <a:lnTo>
                    <a:pt x="561089" y="0"/>
                  </a:lnTo>
                  <a:cubicBezTo>
                    <a:pt x="561089" y="0"/>
                    <a:pt x="498492" y="1312"/>
                    <a:pt x="457757" y="58953"/>
                  </a:cubicBezTo>
                  <a:cubicBezTo>
                    <a:pt x="416949" y="116595"/>
                    <a:pt x="8939" y="695708"/>
                    <a:pt x="8939" y="695708"/>
                  </a:cubicBezTo>
                  <a:cubicBezTo>
                    <a:pt x="8939" y="695708"/>
                    <a:pt x="-11174" y="720484"/>
                    <a:pt x="8939" y="742856"/>
                  </a:cubicBezTo>
                  <a:cubicBezTo>
                    <a:pt x="21109" y="756337"/>
                    <a:pt x="52443" y="754661"/>
                    <a:pt x="52443" y="754661"/>
                  </a:cubicBezTo>
                  <a:lnTo>
                    <a:pt x="8848224" y="754661"/>
                  </a:lnTo>
                  <a:cubicBezTo>
                    <a:pt x="8848224" y="754661"/>
                    <a:pt x="8875405" y="757284"/>
                    <a:pt x="8887648" y="736297"/>
                  </a:cubicBezTo>
                  <a:cubicBezTo>
                    <a:pt x="8899890" y="715310"/>
                    <a:pt x="8872709" y="681279"/>
                    <a:pt x="8872709" y="681279"/>
                  </a:cubicBezTo>
                  <a:close/>
                </a:path>
              </a:pathLst>
            </a:custGeom>
            <a:gradFill>
              <a:gsLst>
                <a:gs pos="0">
                  <a:srgbClr val="0070F2"/>
                </a:gs>
                <a:gs pos="7000">
                  <a:srgbClr val="0070F2"/>
                </a:gs>
                <a:gs pos="14000">
                  <a:srgbClr val="0070F2"/>
                </a:gs>
                <a:gs pos="100000">
                  <a:srgbClr val="0070F2"/>
                </a:gs>
              </a:gsLst>
              <a:lin ang="0" scaled="1"/>
            </a:gra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nvGrpSpPr>
            <p:cNvPr id="9" name="Graphic 2">
              <a:extLst>
                <a:ext uri="{FF2B5EF4-FFF2-40B4-BE49-F238E27FC236}">
                  <a16:creationId xmlns:a16="http://schemas.microsoft.com/office/drawing/2014/main" id="{F26F2712-5278-B916-DE52-1CAF26681C4F}"/>
                </a:ext>
              </a:extLst>
            </p:cNvPr>
            <p:cNvGrpSpPr/>
            <p:nvPr/>
          </p:nvGrpSpPr>
          <p:grpSpPr>
            <a:xfrm>
              <a:off x="4054347" y="2162157"/>
              <a:ext cx="168143" cy="166178"/>
              <a:chOff x="4055426" y="2161827"/>
              <a:chExt cx="168188" cy="166221"/>
            </a:xfrm>
            <a:solidFill>
              <a:srgbClr val="FFFFFF"/>
            </a:solidFill>
          </p:grpSpPr>
          <p:sp>
            <p:nvSpPr>
              <p:cNvPr id="11" name="Freeform 9">
                <a:extLst>
                  <a:ext uri="{FF2B5EF4-FFF2-40B4-BE49-F238E27FC236}">
                    <a16:creationId xmlns:a16="http://schemas.microsoft.com/office/drawing/2014/main" id="{44301600-FB8F-C7B8-D1EA-566E82223272}"/>
                  </a:ext>
                </a:extLst>
              </p:cNvPr>
              <p:cNvSpPr/>
              <p:nvPr/>
            </p:nvSpPr>
            <p:spPr>
              <a:xfrm>
                <a:off x="4152273" y="2161827"/>
                <a:ext cx="71341" cy="70102"/>
              </a:xfrm>
              <a:custGeom>
                <a:avLst/>
                <a:gdLst>
                  <a:gd name="connsiteX0" fmla="*/ 0 w 71341"/>
                  <a:gd name="connsiteY0" fmla="*/ 35051 h 70102"/>
                  <a:gd name="connsiteX1" fmla="*/ 35562 w 71341"/>
                  <a:gd name="connsiteY1" fmla="*/ 69593 h 70102"/>
                  <a:gd name="connsiteX2" fmla="*/ 35707 w 71341"/>
                  <a:gd name="connsiteY2" fmla="*/ 70103 h 70102"/>
                  <a:gd name="connsiteX3" fmla="*/ 70831 w 71341"/>
                  <a:gd name="connsiteY3" fmla="*/ 35197 h 70102"/>
                  <a:gd name="connsiteX4" fmla="*/ 71342 w 71341"/>
                  <a:gd name="connsiteY4" fmla="*/ 35051 h 70102"/>
                  <a:gd name="connsiteX5" fmla="*/ 35780 w 71341"/>
                  <a:gd name="connsiteY5" fmla="*/ 364 h 70102"/>
                  <a:gd name="connsiteX6" fmla="*/ 35780 w 71341"/>
                  <a:gd name="connsiteY6" fmla="*/ 0 h 70102"/>
                  <a:gd name="connsiteX7" fmla="*/ 583 w 71341"/>
                  <a:gd name="connsiteY7" fmla="*/ 34906 h 70102"/>
                  <a:gd name="connsiteX8" fmla="*/ 0 w 71341"/>
                  <a:gd name="connsiteY8" fmla="*/ 34906 h 7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41" h="70102">
                    <a:moveTo>
                      <a:pt x="0" y="35051"/>
                    </a:moveTo>
                    <a:cubicBezTo>
                      <a:pt x="17416" y="38841"/>
                      <a:pt x="31262" y="52322"/>
                      <a:pt x="35562" y="69593"/>
                    </a:cubicBezTo>
                    <a:lnTo>
                      <a:pt x="35707" y="70103"/>
                    </a:lnTo>
                    <a:cubicBezTo>
                      <a:pt x="39788" y="52759"/>
                      <a:pt x="53488" y="39205"/>
                      <a:pt x="70831" y="35197"/>
                    </a:cubicBezTo>
                    <a:lnTo>
                      <a:pt x="71342" y="35051"/>
                    </a:lnTo>
                    <a:cubicBezTo>
                      <a:pt x="53852" y="31262"/>
                      <a:pt x="40007" y="17708"/>
                      <a:pt x="35780" y="364"/>
                    </a:cubicBezTo>
                    <a:lnTo>
                      <a:pt x="35780" y="0"/>
                    </a:lnTo>
                    <a:cubicBezTo>
                      <a:pt x="31627" y="17271"/>
                      <a:pt x="17927" y="30898"/>
                      <a:pt x="583" y="34906"/>
                    </a:cubicBezTo>
                    <a:lnTo>
                      <a:pt x="0" y="34906"/>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2" name="Freeform 10">
                <a:extLst>
                  <a:ext uri="{FF2B5EF4-FFF2-40B4-BE49-F238E27FC236}">
                    <a16:creationId xmlns:a16="http://schemas.microsoft.com/office/drawing/2014/main" id="{083C7D88-35EC-DE13-3B22-9A5BD1C57F6B}"/>
                  </a:ext>
                </a:extLst>
              </p:cNvPr>
              <p:cNvSpPr/>
              <p:nvPr/>
            </p:nvSpPr>
            <p:spPr>
              <a:xfrm>
                <a:off x="4055426" y="2213348"/>
                <a:ext cx="116813" cy="114700"/>
              </a:xfrm>
              <a:custGeom>
                <a:avLst/>
                <a:gdLst>
                  <a:gd name="connsiteX0" fmla="*/ 0 w 116813"/>
                  <a:gd name="connsiteY0" fmla="*/ 57277 h 114700"/>
                  <a:gd name="connsiteX1" fmla="*/ 58225 w 116813"/>
                  <a:gd name="connsiteY1" fmla="*/ 113826 h 114700"/>
                  <a:gd name="connsiteX2" fmla="*/ 58443 w 116813"/>
                  <a:gd name="connsiteY2" fmla="*/ 114700 h 114700"/>
                  <a:gd name="connsiteX3" fmla="*/ 115939 w 116813"/>
                  <a:gd name="connsiteY3" fmla="*/ 57569 h 114700"/>
                  <a:gd name="connsiteX4" fmla="*/ 116814 w 116813"/>
                  <a:gd name="connsiteY4" fmla="*/ 57350 h 114700"/>
                  <a:gd name="connsiteX5" fmla="*/ 58662 w 116813"/>
                  <a:gd name="connsiteY5" fmla="*/ 583 h 114700"/>
                  <a:gd name="connsiteX6" fmla="*/ 58516 w 116813"/>
                  <a:gd name="connsiteY6" fmla="*/ 0 h 114700"/>
                  <a:gd name="connsiteX7" fmla="*/ 1093 w 116813"/>
                  <a:gd name="connsiteY7" fmla="*/ 57132 h 114700"/>
                  <a:gd name="connsiteX8" fmla="*/ 146 w 116813"/>
                  <a:gd name="connsiteY8" fmla="*/ 57277 h 11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813" h="114700">
                    <a:moveTo>
                      <a:pt x="0" y="57277"/>
                    </a:moveTo>
                    <a:cubicBezTo>
                      <a:pt x="28566" y="63471"/>
                      <a:pt x="51156" y="85552"/>
                      <a:pt x="58225" y="113826"/>
                    </a:cubicBezTo>
                    <a:lnTo>
                      <a:pt x="58443" y="114700"/>
                    </a:lnTo>
                    <a:cubicBezTo>
                      <a:pt x="65147" y="86353"/>
                      <a:pt x="87519" y="64127"/>
                      <a:pt x="115939" y="57569"/>
                    </a:cubicBezTo>
                    <a:lnTo>
                      <a:pt x="116814" y="57350"/>
                    </a:lnTo>
                    <a:cubicBezTo>
                      <a:pt x="88248" y="51083"/>
                      <a:pt x="65585" y="28930"/>
                      <a:pt x="58662" y="583"/>
                    </a:cubicBezTo>
                    <a:lnTo>
                      <a:pt x="58516" y="0"/>
                    </a:lnTo>
                    <a:cubicBezTo>
                      <a:pt x="51812" y="28347"/>
                      <a:pt x="29440" y="50573"/>
                      <a:pt x="1093" y="57132"/>
                    </a:cubicBezTo>
                    <a:lnTo>
                      <a:pt x="146" y="57277"/>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grpSp>
          <p:nvGrpSpPr>
            <p:cNvPr id="13" name="Graphic 2">
              <a:extLst>
                <a:ext uri="{FF2B5EF4-FFF2-40B4-BE49-F238E27FC236}">
                  <a16:creationId xmlns:a16="http://schemas.microsoft.com/office/drawing/2014/main" id="{AE796495-212E-5964-96CF-1D94D52D080C}"/>
                </a:ext>
              </a:extLst>
            </p:cNvPr>
            <p:cNvGrpSpPr/>
            <p:nvPr/>
          </p:nvGrpSpPr>
          <p:grpSpPr>
            <a:xfrm>
              <a:off x="4290166" y="1583480"/>
              <a:ext cx="3700016" cy="606031"/>
              <a:chOff x="4291239" y="1583006"/>
              <a:chExt cx="3700943" cy="606190"/>
            </a:xfrm>
            <a:solidFill>
              <a:srgbClr val="FFFFFF"/>
            </a:solidFill>
          </p:grpSpPr>
          <p:sp>
            <p:nvSpPr>
              <p:cNvPr id="14" name="Freeform 12">
                <a:extLst>
                  <a:ext uri="{FF2B5EF4-FFF2-40B4-BE49-F238E27FC236}">
                    <a16:creationId xmlns:a16="http://schemas.microsoft.com/office/drawing/2014/main" id="{05DE56D1-BD57-0B12-8A58-62EBF42ABD15}"/>
                  </a:ext>
                </a:extLst>
              </p:cNvPr>
              <p:cNvSpPr/>
              <p:nvPr/>
            </p:nvSpPr>
            <p:spPr>
              <a:xfrm>
                <a:off x="4291239" y="2083126"/>
                <a:ext cx="54979" cy="106070"/>
              </a:xfrm>
              <a:custGeom>
                <a:avLst/>
                <a:gdLst>
                  <a:gd name="connsiteX0" fmla="*/ 6194 w 54979"/>
                  <a:gd name="connsiteY0" fmla="*/ 104717 h 106070"/>
                  <a:gd name="connsiteX1" fmla="*/ 10494 w 54979"/>
                  <a:gd name="connsiteY1" fmla="*/ 87300 h 106070"/>
                  <a:gd name="connsiteX2" fmla="*/ 28784 w 54979"/>
                  <a:gd name="connsiteY2" fmla="*/ 86134 h 106070"/>
                  <a:gd name="connsiteX3" fmla="*/ 33084 w 54979"/>
                  <a:gd name="connsiteY3" fmla="*/ 64637 h 106070"/>
                  <a:gd name="connsiteX4" fmla="*/ 0 w 54979"/>
                  <a:gd name="connsiteY4" fmla="*/ 9255 h 106070"/>
                  <a:gd name="connsiteX5" fmla="*/ 15449 w 54979"/>
                  <a:gd name="connsiteY5" fmla="*/ 0 h 106070"/>
                  <a:gd name="connsiteX6" fmla="*/ 49407 w 54979"/>
                  <a:gd name="connsiteY6" fmla="*/ 56767 h 106070"/>
                  <a:gd name="connsiteX7" fmla="*/ 37748 w 54979"/>
                  <a:gd name="connsiteY7" fmla="*/ 99251 h 106070"/>
                  <a:gd name="connsiteX8" fmla="*/ 6194 w 54979"/>
                  <a:gd name="connsiteY8" fmla="*/ 104644 h 10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979" h="106070">
                    <a:moveTo>
                      <a:pt x="6194" y="104717"/>
                    </a:moveTo>
                    <a:lnTo>
                      <a:pt x="10494" y="87300"/>
                    </a:lnTo>
                    <a:cubicBezTo>
                      <a:pt x="16833" y="90070"/>
                      <a:pt x="22736" y="89778"/>
                      <a:pt x="28784" y="86134"/>
                    </a:cubicBezTo>
                    <a:cubicBezTo>
                      <a:pt x="37238" y="81033"/>
                      <a:pt x="38695" y="73965"/>
                      <a:pt x="33084" y="64637"/>
                    </a:cubicBezTo>
                    <a:lnTo>
                      <a:pt x="0" y="9255"/>
                    </a:lnTo>
                    <a:lnTo>
                      <a:pt x="15449" y="0"/>
                    </a:lnTo>
                    <a:lnTo>
                      <a:pt x="49407" y="56767"/>
                    </a:lnTo>
                    <a:cubicBezTo>
                      <a:pt x="59245" y="73163"/>
                      <a:pt x="56476" y="88102"/>
                      <a:pt x="37748" y="99251"/>
                    </a:cubicBezTo>
                    <a:cubicBezTo>
                      <a:pt x="26817" y="105810"/>
                      <a:pt x="16396" y="107705"/>
                      <a:pt x="6194" y="104644"/>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 name="Freeform 13">
                <a:extLst>
                  <a:ext uri="{FF2B5EF4-FFF2-40B4-BE49-F238E27FC236}">
                    <a16:creationId xmlns:a16="http://schemas.microsoft.com/office/drawing/2014/main" id="{5DAEB269-5EC5-114C-BBA0-6F001CA5AA04}"/>
                  </a:ext>
                </a:extLst>
              </p:cNvPr>
              <p:cNvSpPr/>
              <p:nvPr/>
            </p:nvSpPr>
            <p:spPr>
              <a:xfrm>
                <a:off x="4345407" y="2067109"/>
                <a:ext cx="77196" cy="77889"/>
              </a:xfrm>
              <a:custGeom>
                <a:avLst/>
                <a:gdLst>
                  <a:gd name="connsiteX0" fmla="*/ 5806 w 77196"/>
                  <a:gd name="connsiteY0" fmla="*/ 57481 h 77889"/>
                  <a:gd name="connsiteX1" fmla="*/ 19652 w 77196"/>
                  <a:gd name="connsiteY1" fmla="*/ 5523 h 77889"/>
                  <a:gd name="connsiteX2" fmla="*/ 71391 w 77196"/>
                  <a:gd name="connsiteY2" fmla="*/ 20389 h 77889"/>
                  <a:gd name="connsiteX3" fmla="*/ 57545 w 77196"/>
                  <a:gd name="connsiteY3" fmla="*/ 72347 h 77889"/>
                  <a:gd name="connsiteX4" fmla="*/ 5879 w 77196"/>
                  <a:gd name="connsiteY4" fmla="*/ 57554 h 77889"/>
                  <a:gd name="connsiteX5" fmla="*/ 50622 w 77196"/>
                  <a:gd name="connsiteY5" fmla="*/ 60177 h 77889"/>
                  <a:gd name="connsiteX6" fmla="*/ 55723 w 77196"/>
                  <a:gd name="connsiteY6" fmla="*/ 29134 h 77889"/>
                  <a:gd name="connsiteX7" fmla="*/ 26502 w 77196"/>
                  <a:gd name="connsiteY7" fmla="*/ 17547 h 77889"/>
                  <a:gd name="connsiteX8" fmla="*/ 21400 w 77196"/>
                  <a:gd name="connsiteY8" fmla="*/ 48591 h 77889"/>
                  <a:gd name="connsiteX9" fmla="*/ 50622 w 77196"/>
                  <a:gd name="connsiteY9" fmla="*/ 60104 h 77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196" h="77889">
                    <a:moveTo>
                      <a:pt x="5806" y="57481"/>
                    </a:moveTo>
                    <a:cubicBezTo>
                      <a:pt x="-5708" y="37150"/>
                      <a:pt x="413" y="16381"/>
                      <a:pt x="19652" y="5523"/>
                    </a:cubicBezTo>
                    <a:cubicBezTo>
                      <a:pt x="38890" y="-5407"/>
                      <a:pt x="59877" y="58"/>
                      <a:pt x="71391" y="20389"/>
                    </a:cubicBezTo>
                    <a:cubicBezTo>
                      <a:pt x="82904" y="40720"/>
                      <a:pt x="76783" y="61416"/>
                      <a:pt x="57545" y="72347"/>
                    </a:cubicBezTo>
                    <a:cubicBezTo>
                      <a:pt x="38307" y="83278"/>
                      <a:pt x="17393" y="77885"/>
                      <a:pt x="5879" y="57554"/>
                    </a:cubicBezTo>
                    <a:close/>
                    <a:moveTo>
                      <a:pt x="50622" y="60177"/>
                    </a:moveTo>
                    <a:cubicBezTo>
                      <a:pt x="60606" y="54493"/>
                      <a:pt x="63593" y="42979"/>
                      <a:pt x="55723" y="29134"/>
                    </a:cubicBezTo>
                    <a:cubicBezTo>
                      <a:pt x="47853" y="15288"/>
                      <a:pt x="36485" y="11936"/>
                      <a:pt x="26502" y="17547"/>
                    </a:cubicBezTo>
                    <a:cubicBezTo>
                      <a:pt x="16518" y="23231"/>
                      <a:pt x="13530" y="34672"/>
                      <a:pt x="21400" y="48591"/>
                    </a:cubicBezTo>
                    <a:cubicBezTo>
                      <a:pt x="29271" y="62436"/>
                      <a:pt x="40639" y="65788"/>
                      <a:pt x="50622" y="60104"/>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 name="Freeform 14">
                <a:extLst>
                  <a:ext uri="{FF2B5EF4-FFF2-40B4-BE49-F238E27FC236}">
                    <a16:creationId xmlns:a16="http://schemas.microsoft.com/office/drawing/2014/main" id="{DA55145F-0773-8064-D1D0-D964CC1E5346}"/>
                  </a:ext>
                </a:extLst>
              </p:cNvPr>
              <p:cNvSpPr/>
              <p:nvPr/>
            </p:nvSpPr>
            <p:spPr>
              <a:xfrm>
                <a:off x="4413081" y="2017031"/>
                <a:ext cx="91381" cy="88991"/>
              </a:xfrm>
              <a:custGeom>
                <a:avLst/>
                <a:gdLst>
                  <a:gd name="connsiteX0" fmla="*/ 23028 w 91381"/>
                  <a:gd name="connsiteY0" fmla="*/ 73163 h 88991"/>
                  <a:gd name="connsiteX1" fmla="*/ 0 w 91381"/>
                  <a:gd name="connsiteY1" fmla="*/ 30169 h 88991"/>
                  <a:gd name="connsiteX2" fmla="*/ 15157 w 91381"/>
                  <a:gd name="connsiteY2" fmla="*/ 22080 h 88991"/>
                  <a:gd name="connsiteX3" fmla="*/ 36217 w 91381"/>
                  <a:gd name="connsiteY3" fmla="*/ 61504 h 88991"/>
                  <a:gd name="connsiteX4" fmla="*/ 55456 w 91381"/>
                  <a:gd name="connsiteY4" fmla="*/ 69301 h 88991"/>
                  <a:gd name="connsiteX5" fmla="*/ 60994 w 91381"/>
                  <a:gd name="connsiteY5" fmla="*/ 44525 h 88991"/>
                  <a:gd name="connsiteX6" fmla="*/ 41464 w 91381"/>
                  <a:gd name="connsiteY6" fmla="*/ 8016 h 88991"/>
                  <a:gd name="connsiteX7" fmla="*/ 56476 w 91381"/>
                  <a:gd name="connsiteY7" fmla="*/ 0 h 88991"/>
                  <a:gd name="connsiteX8" fmla="*/ 91381 w 91381"/>
                  <a:gd name="connsiteY8" fmla="*/ 65220 h 88991"/>
                  <a:gd name="connsiteX9" fmla="*/ 76807 w 91381"/>
                  <a:gd name="connsiteY9" fmla="*/ 73018 h 88991"/>
                  <a:gd name="connsiteX10" fmla="*/ 69447 w 91381"/>
                  <a:gd name="connsiteY10" fmla="*/ 59245 h 88991"/>
                  <a:gd name="connsiteX11" fmla="*/ 69155 w 91381"/>
                  <a:gd name="connsiteY11" fmla="*/ 59391 h 88991"/>
                  <a:gd name="connsiteX12" fmla="*/ 55747 w 91381"/>
                  <a:gd name="connsiteY12" fmla="*/ 85770 h 88991"/>
                  <a:gd name="connsiteX13" fmla="*/ 22955 w 91381"/>
                  <a:gd name="connsiteY13" fmla="*/ 73236 h 88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381" h="88991">
                    <a:moveTo>
                      <a:pt x="23028" y="73163"/>
                    </a:moveTo>
                    <a:lnTo>
                      <a:pt x="0" y="30169"/>
                    </a:lnTo>
                    <a:lnTo>
                      <a:pt x="15157" y="22080"/>
                    </a:lnTo>
                    <a:lnTo>
                      <a:pt x="36217" y="61504"/>
                    </a:lnTo>
                    <a:cubicBezTo>
                      <a:pt x="40881" y="70248"/>
                      <a:pt x="46711" y="73965"/>
                      <a:pt x="55456" y="69301"/>
                    </a:cubicBezTo>
                    <a:cubicBezTo>
                      <a:pt x="64492" y="64492"/>
                      <a:pt x="66824" y="55455"/>
                      <a:pt x="60994" y="44525"/>
                    </a:cubicBezTo>
                    <a:lnTo>
                      <a:pt x="41464" y="8016"/>
                    </a:lnTo>
                    <a:lnTo>
                      <a:pt x="56476" y="0"/>
                    </a:lnTo>
                    <a:lnTo>
                      <a:pt x="91381" y="65220"/>
                    </a:lnTo>
                    <a:lnTo>
                      <a:pt x="76807" y="73018"/>
                    </a:lnTo>
                    <a:lnTo>
                      <a:pt x="69447" y="59245"/>
                    </a:lnTo>
                    <a:lnTo>
                      <a:pt x="69155" y="59391"/>
                    </a:lnTo>
                    <a:cubicBezTo>
                      <a:pt x="70176" y="68500"/>
                      <a:pt x="68281" y="79139"/>
                      <a:pt x="55747" y="85770"/>
                    </a:cubicBezTo>
                    <a:cubicBezTo>
                      <a:pt x="41828" y="93276"/>
                      <a:pt x="30388" y="87082"/>
                      <a:pt x="22955" y="73236"/>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 name="Freeform 15">
                <a:extLst>
                  <a:ext uri="{FF2B5EF4-FFF2-40B4-BE49-F238E27FC236}">
                    <a16:creationId xmlns:a16="http://schemas.microsoft.com/office/drawing/2014/main" id="{A305DAC3-B3CC-49B7-204D-AFD0BF52BCEF}"/>
                  </a:ext>
                </a:extLst>
              </p:cNvPr>
              <p:cNvSpPr/>
              <p:nvPr/>
            </p:nvSpPr>
            <p:spPr>
              <a:xfrm>
                <a:off x="4475897" y="1975567"/>
                <a:ext cx="72216" cy="92930"/>
              </a:xfrm>
              <a:custGeom>
                <a:avLst/>
                <a:gdLst>
                  <a:gd name="connsiteX0" fmla="*/ 37748 w 72216"/>
                  <a:gd name="connsiteY0" fmla="*/ 81398 h 92930"/>
                  <a:gd name="connsiteX1" fmla="*/ 0 w 72216"/>
                  <a:gd name="connsiteY1" fmla="*/ 7870 h 92930"/>
                  <a:gd name="connsiteX2" fmla="*/ 15303 w 72216"/>
                  <a:gd name="connsiteY2" fmla="*/ 0 h 92930"/>
                  <a:gd name="connsiteX3" fmla="*/ 51739 w 72216"/>
                  <a:gd name="connsiteY3" fmla="*/ 70831 h 92930"/>
                  <a:gd name="connsiteX4" fmla="*/ 60848 w 72216"/>
                  <a:gd name="connsiteY4" fmla="*/ 74912 h 92930"/>
                  <a:gd name="connsiteX5" fmla="*/ 65731 w 72216"/>
                  <a:gd name="connsiteY5" fmla="*/ 71560 h 92930"/>
                  <a:gd name="connsiteX6" fmla="*/ 72216 w 72216"/>
                  <a:gd name="connsiteY6" fmla="*/ 84094 h 92930"/>
                  <a:gd name="connsiteX7" fmla="*/ 63836 w 72216"/>
                  <a:gd name="connsiteY7" fmla="*/ 89778 h 92930"/>
                  <a:gd name="connsiteX8" fmla="*/ 37821 w 72216"/>
                  <a:gd name="connsiteY8" fmla="*/ 81325 h 9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216" h="92930">
                    <a:moveTo>
                      <a:pt x="37748" y="81398"/>
                    </a:moveTo>
                    <a:lnTo>
                      <a:pt x="0" y="7870"/>
                    </a:lnTo>
                    <a:lnTo>
                      <a:pt x="15303" y="0"/>
                    </a:lnTo>
                    <a:lnTo>
                      <a:pt x="51739" y="70831"/>
                    </a:lnTo>
                    <a:cubicBezTo>
                      <a:pt x="54363" y="75932"/>
                      <a:pt x="56476" y="77171"/>
                      <a:pt x="60848" y="74912"/>
                    </a:cubicBezTo>
                    <a:cubicBezTo>
                      <a:pt x="62743" y="73965"/>
                      <a:pt x="64200" y="72799"/>
                      <a:pt x="65731" y="71560"/>
                    </a:cubicBezTo>
                    <a:lnTo>
                      <a:pt x="72216" y="84094"/>
                    </a:lnTo>
                    <a:cubicBezTo>
                      <a:pt x="70103" y="85916"/>
                      <a:pt x="67115" y="88102"/>
                      <a:pt x="63836" y="89778"/>
                    </a:cubicBezTo>
                    <a:cubicBezTo>
                      <a:pt x="51448" y="96118"/>
                      <a:pt x="43650" y="92693"/>
                      <a:pt x="37821" y="81325"/>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8" name="Freeform 16">
                <a:extLst>
                  <a:ext uri="{FF2B5EF4-FFF2-40B4-BE49-F238E27FC236}">
                    <a16:creationId xmlns:a16="http://schemas.microsoft.com/office/drawing/2014/main" id="{951904A1-142E-8247-7A7A-899671A42B8B}"/>
                  </a:ext>
                </a:extLst>
              </p:cNvPr>
              <p:cNvSpPr/>
              <p:nvPr/>
            </p:nvSpPr>
            <p:spPr>
              <a:xfrm>
                <a:off x="4534844" y="1967429"/>
                <a:ext cx="77978" cy="77503"/>
              </a:xfrm>
              <a:custGeom>
                <a:avLst/>
                <a:gdLst>
                  <a:gd name="connsiteX0" fmla="*/ 4888 w 77978"/>
                  <a:gd name="connsiteY0" fmla="*/ 54994 h 77503"/>
                  <a:gd name="connsiteX1" fmla="*/ 21284 w 77978"/>
                  <a:gd name="connsiteY1" fmla="*/ 4130 h 77503"/>
                  <a:gd name="connsiteX2" fmla="*/ 67339 w 77978"/>
                  <a:gd name="connsiteY2" fmla="*/ 21765 h 77503"/>
                  <a:gd name="connsiteX3" fmla="*/ 69963 w 77978"/>
                  <a:gd name="connsiteY3" fmla="*/ 27740 h 77503"/>
                  <a:gd name="connsiteX4" fmla="*/ 22960 w 77978"/>
                  <a:gd name="connsiteY4" fmla="*/ 50840 h 77503"/>
                  <a:gd name="connsiteX5" fmla="*/ 51307 w 77978"/>
                  <a:gd name="connsiteY5" fmla="*/ 60095 h 77503"/>
                  <a:gd name="connsiteX6" fmla="*/ 64643 w 77978"/>
                  <a:gd name="connsiteY6" fmla="*/ 44355 h 77503"/>
                  <a:gd name="connsiteX7" fmla="*/ 77979 w 77978"/>
                  <a:gd name="connsiteY7" fmla="*/ 48873 h 77503"/>
                  <a:gd name="connsiteX8" fmla="*/ 56554 w 77978"/>
                  <a:gd name="connsiteY8" fmla="*/ 72411 h 77503"/>
                  <a:gd name="connsiteX9" fmla="*/ 4961 w 77978"/>
                  <a:gd name="connsiteY9" fmla="*/ 54994 h 77503"/>
                  <a:gd name="connsiteX10" fmla="*/ 50141 w 77978"/>
                  <a:gd name="connsiteY10" fmla="*/ 25554 h 77503"/>
                  <a:gd name="connsiteX11" fmla="*/ 26677 w 77978"/>
                  <a:gd name="connsiteY11" fmla="*/ 16153 h 77503"/>
                  <a:gd name="connsiteX12" fmla="*/ 18442 w 77978"/>
                  <a:gd name="connsiteY12" fmla="*/ 41149 h 77503"/>
                  <a:gd name="connsiteX13" fmla="*/ 50141 w 77978"/>
                  <a:gd name="connsiteY13" fmla="*/ 25627 h 77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978" h="77503">
                    <a:moveTo>
                      <a:pt x="4888" y="54994"/>
                    </a:moveTo>
                    <a:cubicBezTo>
                      <a:pt x="-6480" y="31894"/>
                      <a:pt x="3212" y="13020"/>
                      <a:pt x="21284" y="4130"/>
                    </a:cubicBezTo>
                    <a:cubicBezTo>
                      <a:pt x="43510" y="-6801"/>
                      <a:pt x="59396" y="5660"/>
                      <a:pt x="67339" y="21765"/>
                    </a:cubicBezTo>
                    <a:cubicBezTo>
                      <a:pt x="68287" y="23732"/>
                      <a:pt x="69161" y="25772"/>
                      <a:pt x="69963" y="27740"/>
                    </a:cubicBezTo>
                    <a:lnTo>
                      <a:pt x="22960" y="50840"/>
                    </a:lnTo>
                    <a:cubicBezTo>
                      <a:pt x="30248" y="62937"/>
                      <a:pt x="39721" y="65706"/>
                      <a:pt x="51307" y="60095"/>
                    </a:cubicBezTo>
                    <a:cubicBezTo>
                      <a:pt x="58813" y="56452"/>
                      <a:pt x="62675" y="51788"/>
                      <a:pt x="64643" y="44355"/>
                    </a:cubicBezTo>
                    <a:lnTo>
                      <a:pt x="77979" y="48873"/>
                    </a:lnTo>
                    <a:cubicBezTo>
                      <a:pt x="75209" y="58929"/>
                      <a:pt x="69380" y="66144"/>
                      <a:pt x="56554" y="72411"/>
                    </a:cubicBezTo>
                    <a:cubicBezTo>
                      <a:pt x="35276" y="82904"/>
                      <a:pt x="15892" y="77220"/>
                      <a:pt x="4961" y="54994"/>
                    </a:cubicBezTo>
                    <a:close/>
                    <a:moveTo>
                      <a:pt x="50141" y="25554"/>
                    </a:moveTo>
                    <a:cubicBezTo>
                      <a:pt x="43510" y="14259"/>
                      <a:pt x="35276" y="11927"/>
                      <a:pt x="26677" y="16153"/>
                    </a:cubicBezTo>
                    <a:cubicBezTo>
                      <a:pt x="18151" y="20307"/>
                      <a:pt x="14216" y="28688"/>
                      <a:pt x="18442" y="41149"/>
                    </a:cubicBezTo>
                    <a:lnTo>
                      <a:pt x="50141" y="25627"/>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9" name="Freeform 17">
                <a:extLst>
                  <a:ext uri="{FF2B5EF4-FFF2-40B4-BE49-F238E27FC236}">
                    <a16:creationId xmlns:a16="http://schemas.microsoft.com/office/drawing/2014/main" id="{9E955C3E-7F8A-8094-0CB6-2025A1FD4D1F}"/>
                  </a:ext>
                </a:extLst>
              </p:cNvPr>
              <p:cNvSpPr/>
              <p:nvPr/>
            </p:nvSpPr>
            <p:spPr>
              <a:xfrm>
                <a:off x="4643283" y="1899780"/>
                <a:ext cx="90215" cy="109745"/>
              </a:xfrm>
              <a:custGeom>
                <a:avLst/>
                <a:gdLst>
                  <a:gd name="connsiteX0" fmla="*/ 0 w 90215"/>
                  <a:gd name="connsiteY0" fmla="*/ 8672 h 109745"/>
                  <a:gd name="connsiteX1" fmla="*/ 19165 w 90215"/>
                  <a:gd name="connsiteY1" fmla="*/ 0 h 109745"/>
                  <a:gd name="connsiteX2" fmla="*/ 90215 w 90215"/>
                  <a:gd name="connsiteY2" fmla="*/ 72435 h 109745"/>
                  <a:gd name="connsiteX3" fmla="*/ 73382 w 90215"/>
                  <a:gd name="connsiteY3" fmla="*/ 80013 h 109745"/>
                  <a:gd name="connsiteX4" fmla="*/ 56767 w 90215"/>
                  <a:gd name="connsiteY4" fmla="*/ 62087 h 109745"/>
                  <a:gd name="connsiteX5" fmla="*/ 21351 w 90215"/>
                  <a:gd name="connsiteY5" fmla="*/ 78046 h 109745"/>
                  <a:gd name="connsiteX6" fmla="*/ 23829 w 90215"/>
                  <a:gd name="connsiteY6" fmla="*/ 102385 h 109745"/>
                  <a:gd name="connsiteX7" fmla="*/ 7433 w 90215"/>
                  <a:gd name="connsiteY7" fmla="*/ 109745 h 109745"/>
                  <a:gd name="connsiteX8" fmla="*/ 73 w 90215"/>
                  <a:gd name="connsiteY8" fmla="*/ 8599 h 109745"/>
                  <a:gd name="connsiteX9" fmla="*/ 46347 w 90215"/>
                  <a:gd name="connsiteY9" fmla="*/ 50865 h 109745"/>
                  <a:gd name="connsiteX10" fmla="*/ 25505 w 90215"/>
                  <a:gd name="connsiteY10" fmla="*/ 28347 h 109745"/>
                  <a:gd name="connsiteX11" fmla="*/ 15012 w 90215"/>
                  <a:gd name="connsiteY11" fmla="*/ 16979 h 109745"/>
                  <a:gd name="connsiteX12" fmla="*/ 16761 w 90215"/>
                  <a:gd name="connsiteY12" fmla="*/ 32282 h 109745"/>
                  <a:gd name="connsiteX13" fmla="*/ 19821 w 90215"/>
                  <a:gd name="connsiteY13" fmla="*/ 62816 h 109745"/>
                  <a:gd name="connsiteX14" fmla="*/ 46274 w 90215"/>
                  <a:gd name="connsiteY14" fmla="*/ 50865 h 109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0215" h="109745">
                    <a:moveTo>
                      <a:pt x="0" y="8672"/>
                    </a:moveTo>
                    <a:lnTo>
                      <a:pt x="19165" y="0"/>
                    </a:lnTo>
                    <a:lnTo>
                      <a:pt x="90215" y="72435"/>
                    </a:lnTo>
                    <a:lnTo>
                      <a:pt x="73382" y="80013"/>
                    </a:lnTo>
                    <a:lnTo>
                      <a:pt x="56767" y="62087"/>
                    </a:lnTo>
                    <a:lnTo>
                      <a:pt x="21351" y="78046"/>
                    </a:lnTo>
                    <a:lnTo>
                      <a:pt x="23829" y="102385"/>
                    </a:lnTo>
                    <a:lnTo>
                      <a:pt x="7433" y="109745"/>
                    </a:lnTo>
                    <a:lnTo>
                      <a:pt x="73" y="8599"/>
                    </a:lnTo>
                    <a:close/>
                    <a:moveTo>
                      <a:pt x="46347" y="50865"/>
                    </a:moveTo>
                    <a:lnTo>
                      <a:pt x="25505" y="28347"/>
                    </a:lnTo>
                    <a:cubicBezTo>
                      <a:pt x="22080" y="24704"/>
                      <a:pt x="17416" y="19748"/>
                      <a:pt x="15012" y="16979"/>
                    </a:cubicBezTo>
                    <a:cubicBezTo>
                      <a:pt x="15522" y="20623"/>
                      <a:pt x="16251" y="27327"/>
                      <a:pt x="16761" y="32282"/>
                    </a:cubicBezTo>
                    <a:lnTo>
                      <a:pt x="19821" y="62816"/>
                    </a:lnTo>
                    <a:lnTo>
                      <a:pt x="46274" y="50865"/>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20" name="Freeform 18">
                <a:extLst>
                  <a:ext uri="{FF2B5EF4-FFF2-40B4-BE49-F238E27FC236}">
                    <a16:creationId xmlns:a16="http://schemas.microsoft.com/office/drawing/2014/main" id="{28B948D9-31C8-4462-E78B-D77D1FD1BE76}"/>
                  </a:ext>
                </a:extLst>
              </p:cNvPr>
              <p:cNvSpPr/>
              <p:nvPr/>
            </p:nvSpPr>
            <p:spPr>
              <a:xfrm>
                <a:off x="4719294" y="1864437"/>
                <a:ext cx="88357" cy="126481"/>
              </a:xfrm>
              <a:custGeom>
                <a:avLst/>
                <a:gdLst>
                  <a:gd name="connsiteX0" fmla="*/ 22658 w 88357"/>
                  <a:gd name="connsiteY0" fmla="*/ 117105 h 126481"/>
                  <a:gd name="connsiteX1" fmla="*/ 29216 w 88357"/>
                  <a:gd name="connsiteY1" fmla="*/ 97575 h 126481"/>
                  <a:gd name="connsiteX2" fmla="*/ 17119 w 88357"/>
                  <a:gd name="connsiteY2" fmla="*/ 90944 h 126481"/>
                  <a:gd name="connsiteX3" fmla="*/ 21929 w 88357"/>
                  <a:gd name="connsiteY3" fmla="*/ 74402 h 126481"/>
                  <a:gd name="connsiteX4" fmla="*/ 2254 w 88357"/>
                  <a:gd name="connsiteY4" fmla="*/ 59318 h 126481"/>
                  <a:gd name="connsiteX5" fmla="*/ 20034 w 88357"/>
                  <a:gd name="connsiteY5" fmla="*/ 23756 h 126481"/>
                  <a:gd name="connsiteX6" fmla="*/ 38544 w 88357"/>
                  <a:gd name="connsiteY6" fmla="*/ 20404 h 126481"/>
                  <a:gd name="connsiteX7" fmla="*/ 48309 w 88357"/>
                  <a:gd name="connsiteY7" fmla="*/ 947 h 126481"/>
                  <a:gd name="connsiteX8" fmla="*/ 50495 w 88357"/>
                  <a:gd name="connsiteY8" fmla="*/ 0 h 126481"/>
                  <a:gd name="connsiteX9" fmla="*/ 56252 w 88357"/>
                  <a:gd name="connsiteY9" fmla="*/ 13700 h 126481"/>
                  <a:gd name="connsiteX10" fmla="*/ 53920 w 88357"/>
                  <a:gd name="connsiteY10" fmla="*/ 14647 h 126481"/>
                  <a:gd name="connsiteX11" fmla="*/ 43790 w 88357"/>
                  <a:gd name="connsiteY11" fmla="*/ 21643 h 126481"/>
                  <a:gd name="connsiteX12" fmla="*/ 57782 w 88357"/>
                  <a:gd name="connsiteY12" fmla="*/ 35853 h 126481"/>
                  <a:gd name="connsiteX13" fmla="*/ 39710 w 88357"/>
                  <a:gd name="connsiteY13" fmla="*/ 71123 h 126481"/>
                  <a:gd name="connsiteX14" fmla="*/ 27249 w 88357"/>
                  <a:gd name="connsiteY14" fmla="*/ 74402 h 126481"/>
                  <a:gd name="connsiteX15" fmla="*/ 27249 w 88357"/>
                  <a:gd name="connsiteY15" fmla="*/ 78774 h 126481"/>
                  <a:gd name="connsiteX16" fmla="*/ 46997 w 88357"/>
                  <a:gd name="connsiteY16" fmla="*/ 77463 h 126481"/>
                  <a:gd name="connsiteX17" fmla="*/ 86275 w 88357"/>
                  <a:gd name="connsiteY17" fmla="*/ 83803 h 126481"/>
                  <a:gd name="connsiteX18" fmla="*/ 60988 w 88357"/>
                  <a:gd name="connsiteY18" fmla="*/ 120822 h 126481"/>
                  <a:gd name="connsiteX19" fmla="*/ 22585 w 88357"/>
                  <a:gd name="connsiteY19" fmla="*/ 117032 h 126481"/>
                  <a:gd name="connsiteX20" fmla="*/ 35119 w 88357"/>
                  <a:gd name="connsiteY20" fmla="*/ 60119 h 126481"/>
                  <a:gd name="connsiteX21" fmla="*/ 42625 w 88357"/>
                  <a:gd name="connsiteY21" fmla="*/ 42266 h 126481"/>
                  <a:gd name="connsiteX22" fmla="*/ 24917 w 88357"/>
                  <a:gd name="connsiteY22" fmla="*/ 34614 h 126481"/>
                  <a:gd name="connsiteX23" fmla="*/ 17630 w 88357"/>
                  <a:gd name="connsiteY23" fmla="*/ 52759 h 126481"/>
                  <a:gd name="connsiteX24" fmla="*/ 35119 w 88357"/>
                  <a:gd name="connsiteY24" fmla="*/ 60046 h 126481"/>
                  <a:gd name="connsiteX25" fmla="*/ 57126 w 88357"/>
                  <a:gd name="connsiteY25" fmla="*/ 109162 h 126481"/>
                  <a:gd name="connsiteX26" fmla="*/ 71336 w 88357"/>
                  <a:gd name="connsiteY26" fmla="*/ 92110 h 126481"/>
                  <a:gd name="connsiteX27" fmla="*/ 50568 w 88357"/>
                  <a:gd name="connsiteY27" fmla="*/ 91964 h 126481"/>
                  <a:gd name="connsiteX28" fmla="*/ 35483 w 88357"/>
                  <a:gd name="connsiteY28" fmla="*/ 96628 h 126481"/>
                  <a:gd name="connsiteX29" fmla="*/ 35046 w 88357"/>
                  <a:gd name="connsiteY29" fmla="*/ 106611 h 126481"/>
                  <a:gd name="connsiteX30" fmla="*/ 57053 w 88357"/>
                  <a:gd name="connsiteY30" fmla="*/ 109162 h 126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8357" h="126481">
                    <a:moveTo>
                      <a:pt x="22658" y="117105"/>
                    </a:moveTo>
                    <a:cubicBezTo>
                      <a:pt x="19670" y="109964"/>
                      <a:pt x="22658" y="102676"/>
                      <a:pt x="29216" y="97575"/>
                    </a:cubicBezTo>
                    <a:cubicBezTo>
                      <a:pt x="23605" y="97794"/>
                      <a:pt x="19306" y="96118"/>
                      <a:pt x="17119" y="90944"/>
                    </a:cubicBezTo>
                    <a:cubicBezTo>
                      <a:pt x="14788" y="85333"/>
                      <a:pt x="16536" y="79576"/>
                      <a:pt x="21929" y="74402"/>
                    </a:cubicBezTo>
                    <a:cubicBezTo>
                      <a:pt x="12893" y="73601"/>
                      <a:pt x="6043" y="68281"/>
                      <a:pt x="2254" y="59318"/>
                    </a:cubicBezTo>
                    <a:cubicBezTo>
                      <a:pt x="-3212" y="46347"/>
                      <a:pt x="723" y="31845"/>
                      <a:pt x="20034" y="23756"/>
                    </a:cubicBezTo>
                    <a:cubicBezTo>
                      <a:pt x="27103" y="20768"/>
                      <a:pt x="33297" y="19821"/>
                      <a:pt x="38544" y="20404"/>
                    </a:cubicBezTo>
                    <a:cubicBezTo>
                      <a:pt x="37378" y="11587"/>
                      <a:pt x="39637" y="4591"/>
                      <a:pt x="48309" y="947"/>
                    </a:cubicBezTo>
                    <a:lnTo>
                      <a:pt x="50495" y="0"/>
                    </a:lnTo>
                    <a:lnTo>
                      <a:pt x="56252" y="13700"/>
                    </a:lnTo>
                    <a:lnTo>
                      <a:pt x="53920" y="14647"/>
                    </a:lnTo>
                    <a:cubicBezTo>
                      <a:pt x="47871" y="17198"/>
                      <a:pt x="45394" y="19092"/>
                      <a:pt x="43790" y="21643"/>
                    </a:cubicBezTo>
                    <a:cubicBezTo>
                      <a:pt x="50276" y="24048"/>
                      <a:pt x="55013" y="29222"/>
                      <a:pt x="57782" y="35853"/>
                    </a:cubicBezTo>
                    <a:cubicBezTo>
                      <a:pt x="63101" y="48460"/>
                      <a:pt x="58802" y="63107"/>
                      <a:pt x="39710" y="71123"/>
                    </a:cubicBezTo>
                    <a:cubicBezTo>
                      <a:pt x="35265" y="73018"/>
                      <a:pt x="31111" y="74111"/>
                      <a:pt x="27249" y="74402"/>
                    </a:cubicBezTo>
                    <a:cubicBezTo>
                      <a:pt x="26738" y="75860"/>
                      <a:pt x="26666" y="77390"/>
                      <a:pt x="27249" y="78774"/>
                    </a:cubicBezTo>
                    <a:cubicBezTo>
                      <a:pt x="29216" y="83438"/>
                      <a:pt x="34827" y="81908"/>
                      <a:pt x="46997" y="77463"/>
                    </a:cubicBezTo>
                    <a:cubicBezTo>
                      <a:pt x="64486" y="71050"/>
                      <a:pt x="79498" y="67698"/>
                      <a:pt x="86275" y="83803"/>
                    </a:cubicBezTo>
                    <a:cubicBezTo>
                      <a:pt x="92542" y="98596"/>
                      <a:pt x="84817" y="110838"/>
                      <a:pt x="60988" y="120822"/>
                    </a:cubicBezTo>
                    <a:cubicBezTo>
                      <a:pt x="38544" y="130295"/>
                      <a:pt x="26811" y="127089"/>
                      <a:pt x="22585" y="117032"/>
                    </a:cubicBezTo>
                    <a:close/>
                    <a:moveTo>
                      <a:pt x="35119" y="60119"/>
                    </a:moveTo>
                    <a:cubicBezTo>
                      <a:pt x="42989" y="56840"/>
                      <a:pt x="45758" y="49771"/>
                      <a:pt x="42625" y="42266"/>
                    </a:cubicBezTo>
                    <a:cubicBezTo>
                      <a:pt x="39272" y="34323"/>
                      <a:pt x="32641" y="31408"/>
                      <a:pt x="24917" y="34614"/>
                    </a:cubicBezTo>
                    <a:cubicBezTo>
                      <a:pt x="17047" y="37966"/>
                      <a:pt x="14277" y="44889"/>
                      <a:pt x="17630" y="52759"/>
                    </a:cubicBezTo>
                    <a:cubicBezTo>
                      <a:pt x="21127" y="61067"/>
                      <a:pt x="27904" y="63107"/>
                      <a:pt x="35119" y="60046"/>
                    </a:cubicBezTo>
                    <a:close/>
                    <a:moveTo>
                      <a:pt x="57126" y="109162"/>
                    </a:moveTo>
                    <a:cubicBezTo>
                      <a:pt x="69369" y="103988"/>
                      <a:pt x="74251" y="98960"/>
                      <a:pt x="71336" y="92110"/>
                    </a:cubicBezTo>
                    <a:cubicBezTo>
                      <a:pt x="68931" y="86353"/>
                      <a:pt x="63393" y="87228"/>
                      <a:pt x="50568" y="91964"/>
                    </a:cubicBezTo>
                    <a:cubicBezTo>
                      <a:pt x="45175" y="93859"/>
                      <a:pt x="40074" y="95608"/>
                      <a:pt x="35483" y="96628"/>
                    </a:cubicBezTo>
                    <a:cubicBezTo>
                      <a:pt x="33953" y="99616"/>
                      <a:pt x="33516" y="102968"/>
                      <a:pt x="35046" y="106611"/>
                    </a:cubicBezTo>
                    <a:cubicBezTo>
                      <a:pt x="37961" y="113534"/>
                      <a:pt x="43863" y="114700"/>
                      <a:pt x="57053" y="109162"/>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21" name="Freeform 19">
                <a:extLst>
                  <a:ext uri="{FF2B5EF4-FFF2-40B4-BE49-F238E27FC236}">
                    <a16:creationId xmlns:a16="http://schemas.microsoft.com/office/drawing/2014/main" id="{79D31958-CD26-082C-4397-B8C8D47E8B0D}"/>
                  </a:ext>
                </a:extLst>
              </p:cNvPr>
              <p:cNvSpPr/>
              <p:nvPr/>
            </p:nvSpPr>
            <p:spPr>
              <a:xfrm>
                <a:off x="4790529" y="1854521"/>
                <a:ext cx="76616" cy="77361"/>
              </a:xfrm>
              <a:custGeom>
                <a:avLst/>
                <a:gdLst>
                  <a:gd name="connsiteX0" fmla="*/ 3453 w 76616"/>
                  <a:gd name="connsiteY0" fmla="*/ 52255 h 77361"/>
                  <a:gd name="connsiteX1" fmla="*/ 23785 w 76616"/>
                  <a:gd name="connsiteY1" fmla="*/ 2920 h 77361"/>
                  <a:gd name="connsiteX2" fmla="*/ 68237 w 76616"/>
                  <a:gd name="connsiteY2" fmla="*/ 24126 h 77361"/>
                  <a:gd name="connsiteX3" fmla="*/ 70350 w 76616"/>
                  <a:gd name="connsiteY3" fmla="*/ 30247 h 77361"/>
                  <a:gd name="connsiteX4" fmla="*/ 21744 w 76616"/>
                  <a:gd name="connsiteY4" fmla="*/ 49558 h 77361"/>
                  <a:gd name="connsiteX5" fmla="*/ 49217 w 76616"/>
                  <a:gd name="connsiteY5" fmla="*/ 60999 h 77361"/>
                  <a:gd name="connsiteX6" fmla="*/ 63719 w 76616"/>
                  <a:gd name="connsiteY6" fmla="*/ 46425 h 77361"/>
                  <a:gd name="connsiteX7" fmla="*/ 76617 w 76616"/>
                  <a:gd name="connsiteY7" fmla="*/ 51963 h 77361"/>
                  <a:gd name="connsiteX8" fmla="*/ 53444 w 76616"/>
                  <a:gd name="connsiteY8" fmla="*/ 73752 h 77361"/>
                  <a:gd name="connsiteX9" fmla="*/ 3453 w 76616"/>
                  <a:gd name="connsiteY9" fmla="*/ 52327 h 77361"/>
                  <a:gd name="connsiteX10" fmla="*/ 50893 w 76616"/>
                  <a:gd name="connsiteY10" fmla="*/ 26531 h 77361"/>
                  <a:gd name="connsiteX11" fmla="*/ 28230 w 76616"/>
                  <a:gd name="connsiteY11" fmla="*/ 15308 h 77361"/>
                  <a:gd name="connsiteX12" fmla="*/ 18028 w 76616"/>
                  <a:gd name="connsiteY12" fmla="*/ 39575 h 77361"/>
                  <a:gd name="connsiteX13" fmla="*/ 50820 w 76616"/>
                  <a:gd name="connsiteY13" fmla="*/ 26604 h 7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16" h="77361">
                    <a:moveTo>
                      <a:pt x="3453" y="52255"/>
                    </a:moveTo>
                    <a:cubicBezTo>
                      <a:pt x="-6020" y="28280"/>
                      <a:pt x="5057" y="10353"/>
                      <a:pt x="23785" y="2920"/>
                    </a:cubicBezTo>
                    <a:cubicBezTo>
                      <a:pt x="46812" y="-6189"/>
                      <a:pt x="61605" y="7438"/>
                      <a:pt x="68237" y="24126"/>
                    </a:cubicBezTo>
                    <a:cubicBezTo>
                      <a:pt x="69038" y="26166"/>
                      <a:pt x="69767" y="28280"/>
                      <a:pt x="70350" y="30247"/>
                    </a:cubicBezTo>
                    <a:lnTo>
                      <a:pt x="21744" y="49558"/>
                    </a:lnTo>
                    <a:cubicBezTo>
                      <a:pt x="28084" y="62165"/>
                      <a:pt x="37266" y="65736"/>
                      <a:pt x="49217" y="60999"/>
                    </a:cubicBezTo>
                    <a:cubicBezTo>
                      <a:pt x="56942" y="57939"/>
                      <a:pt x="61168" y="53639"/>
                      <a:pt x="63719" y="46425"/>
                    </a:cubicBezTo>
                    <a:lnTo>
                      <a:pt x="76617" y="51963"/>
                    </a:lnTo>
                    <a:cubicBezTo>
                      <a:pt x="73046" y="61728"/>
                      <a:pt x="66633" y="68505"/>
                      <a:pt x="53444" y="73752"/>
                    </a:cubicBezTo>
                    <a:cubicBezTo>
                      <a:pt x="31363" y="82496"/>
                      <a:pt x="12562" y="75355"/>
                      <a:pt x="3453" y="52327"/>
                    </a:cubicBezTo>
                    <a:close/>
                    <a:moveTo>
                      <a:pt x="50893" y="26531"/>
                    </a:moveTo>
                    <a:cubicBezTo>
                      <a:pt x="45209" y="14726"/>
                      <a:pt x="37193" y="11738"/>
                      <a:pt x="28230" y="15308"/>
                    </a:cubicBezTo>
                    <a:cubicBezTo>
                      <a:pt x="19412" y="18806"/>
                      <a:pt x="14822" y="26822"/>
                      <a:pt x="18028" y="39575"/>
                    </a:cubicBezTo>
                    <a:lnTo>
                      <a:pt x="50820" y="26604"/>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22" name="Freeform 20">
                <a:extLst>
                  <a:ext uri="{FF2B5EF4-FFF2-40B4-BE49-F238E27FC236}">
                    <a16:creationId xmlns:a16="http://schemas.microsoft.com/office/drawing/2014/main" id="{6D104C91-BB39-C809-974C-02AF1B88000B}"/>
                  </a:ext>
                </a:extLst>
              </p:cNvPr>
              <p:cNvSpPr/>
              <p:nvPr/>
            </p:nvSpPr>
            <p:spPr>
              <a:xfrm>
                <a:off x="4862118" y="1822956"/>
                <a:ext cx="85697" cy="86589"/>
              </a:xfrm>
              <a:custGeom>
                <a:avLst/>
                <a:gdLst>
                  <a:gd name="connsiteX0" fmla="*/ 73 w 85697"/>
                  <a:gd name="connsiteY0" fmla="*/ 17361 h 86589"/>
                  <a:gd name="connsiteX1" fmla="*/ 15595 w 85697"/>
                  <a:gd name="connsiteY1" fmla="*/ 11604 h 86589"/>
                  <a:gd name="connsiteX2" fmla="*/ 20987 w 85697"/>
                  <a:gd name="connsiteY2" fmla="*/ 26178 h 86589"/>
                  <a:gd name="connsiteX3" fmla="*/ 21206 w 85697"/>
                  <a:gd name="connsiteY3" fmla="*/ 26178 h 86589"/>
                  <a:gd name="connsiteX4" fmla="*/ 38112 w 85697"/>
                  <a:gd name="connsiteY4" fmla="*/ 1766 h 86589"/>
                  <a:gd name="connsiteX5" fmla="*/ 68864 w 85697"/>
                  <a:gd name="connsiteY5" fmla="*/ 18745 h 86589"/>
                  <a:gd name="connsiteX6" fmla="*/ 85697 w 85697"/>
                  <a:gd name="connsiteY6" fmla="*/ 64509 h 86589"/>
                  <a:gd name="connsiteX7" fmla="*/ 69665 w 85697"/>
                  <a:gd name="connsiteY7" fmla="*/ 70412 h 86589"/>
                  <a:gd name="connsiteX8" fmla="*/ 54217 w 85697"/>
                  <a:gd name="connsiteY8" fmla="*/ 28510 h 86589"/>
                  <a:gd name="connsiteX9" fmla="*/ 36145 w 85697"/>
                  <a:gd name="connsiteY9" fmla="*/ 18162 h 86589"/>
                  <a:gd name="connsiteX10" fmla="*/ 27327 w 85697"/>
                  <a:gd name="connsiteY10" fmla="*/ 41846 h 86589"/>
                  <a:gd name="connsiteX11" fmla="*/ 41610 w 85697"/>
                  <a:gd name="connsiteY11" fmla="*/ 80686 h 86589"/>
                  <a:gd name="connsiteX12" fmla="*/ 25578 w 85697"/>
                  <a:gd name="connsiteY12" fmla="*/ 86589 h 86589"/>
                  <a:gd name="connsiteX13" fmla="*/ 0 w 85697"/>
                  <a:gd name="connsiteY13" fmla="*/ 17288 h 8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697" h="86589">
                    <a:moveTo>
                      <a:pt x="73" y="17361"/>
                    </a:moveTo>
                    <a:lnTo>
                      <a:pt x="15595" y="11604"/>
                    </a:lnTo>
                    <a:lnTo>
                      <a:pt x="20987" y="26178"/>
                    </a:lnTo>
                    <a:lnTo>
                      <a:pt x="21206" y="26178"/>
                    </a:lnTo>
                    <a:cubicBezTo>
                      <a:pt x="21424" y="16996"/>
                      <a:pt x="24849" y="6649"/>
                      <a:pt x="38112" y="1766"/>
                    </a:cubicBezTo>
                    <a:cubicBezTo>
                      <a:pt x="52978" y="-3699"/>
                      <a:pt x="63399" y="3952"/>
                      <a:pt x="68864" y="18745"/>
                    </a:cubicBezTo>
                    <a:lnTo>
                      <a:pt x="85697" y="64509"/>
                    </a:lnTo>
                    <a:lnTo>
                      <a:pt x="69665" y="70412"/>
                    </a:lnTo>
                    <a:lnTo>
                      <a:pt x="54217" y="28510"/>
                    </a:lnTo>
                    <a:cubicBezTo>
                      <a:pt x="50792" y="19183"/>
                      <a:pt x="45472" y="14737"/>
                      <a:pt x="36145" y="18162"/>
                    </a:cubicBezTo>
                    <a:cubicBezTo>
                      <a:pt x="26598" y="21660"/>
                      <a:pt x="23028" y="30186"/>
                      <a:pt x="27327" y="41846"/>
                    </a:cubicBezTo>
                    <a:lnTo>
                      <a:pt x="41610" y="80686"/>
                    </a:lnTo>
                    <a:lnTo>
                      <a:pt x="25578" y="86589"/>
                    </a:lnTo>
                    <a:lnTo>
                      <a:pt x="0" y="17288"/>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23" name="Freeform 21">
                <a:extLst>
                  <a:ext uri="{FF2B5EF4-FFF2-40B4-BE49-F238E27FC236}">
                    <a16:creationId xmlns:a16="http://schemas.microsoft.com/office/drawing/2014/main" id="{CDD237B3-A019-C49F-92B6-2B688B3EF86A}"/>
                  </a:ext>
                </a:extLst>
              </p:cNvPr>
              <p:cNvSpPr/>
              <p:nvPr/>
            </p:nvSpPr>
            <p:spPr>
              <a:xfrm>
                <a:off x="4935354" y="1786902"/>
                <a:ext cx="63981" cy="89850"/>
              </a:xfrm>
              <a:custGeom>
                <a:avLst/>
                <a:gdLst>
                  <a:gd name="connsiteX0" fmla="*/ 26598 w 63981"/>
                  <a:gd name="connsiteY0" fmla="*/ 76151 h 89850"/>
                  <a:gd name="connsiteX1" fmla="*/ 12753 w 63981"/>
                  <a:gd name="connsiteY1" fmla="*/ 36290 h 89850"/>
                  <a:gd name="connsiteX2" fmla="*/ 2550 w 63981"/>
                  <a:gd name="connsiteY2" fmla="*/ 39861 h 89850"/>
                  <a:gd name="connsiteX3" fmla="*/ 0 w 63981"/>
                  <a:gd name="connsiteY3" fmla="*/ 32428 h 89850"/>
                  <a:gd name="connsiteX4" fmla="*/ 15230 w 63981"/>
                  <a:gd name="connsiteY4" fmla="*/ 1093 h 89850"/>
                  <a:gd name="connsiteX5" fmla="*/ 18291 w 63981"/>
                  <a:gd name="connsiteY5" fmla="*/ 0 h 89850"/>
                  <a:gd name="connsiteX6" fmla="*/ 24558 w 63981"/>
                  <a:gd name="connsiteY6" fmla="*/ 18145 h 89850"/>
                  <a:gd name="connsiteX7" fmla="*/ 39715 w 63981"/>
                  <a:gd name="connsiteY7" fmla="*/ 12898 h 89850"/>
                  <a:gd name="connsiteX8" fmla="*/ 44087 w 63981"/>
                  <a:gd name="connsiteY8" fmla="*/ 25432 h 89850"/>
                  <a:gd name="connsiteX9" fmla="*/ 28930 w 63981"/>
                  <a:gd name="connsiteY9" fmla="*/ 30679 h 89850"/>
                  <a:gd name="connsiteX10" fmla="*/ 41683 w 63981"/>
                  <a:gd name="connsiteY10" fmla="*/ 67406 h 89850"/>
                  <a:gd name="connsiteX11" fmla="*/ 51885 w 63981"/>
                  <a:gd name="connsiteY11" fmla="*/ 72580 h 89850"/>
                  <a:gd name="connsiteX12" fmla="*/ 59172 w 63981"/>
                  <a:gd name="connsiteY12" fmla="*/ 68864 h 89850"/>
                  <a:gd name="connsiteX13" fmla="*/ 63981 w 63981"/>
                  <a:gd name="connsiteY13" fmla="*/ 82710 h 89850"/>
                  <a:gd name="connsiteX14" fmla="*/ 53342 w 63981"/>
                  <a:gd name="connsiteY14" fmla="*/ 87665 h 89850"/>
                  <a:gd name="connsiteX15" fmla="*/ 26671 w 63981"/>
                  <a:gd name="connsiteY15" fmla="*/ 76078 h 8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81" h="89850">
                    <a:moveTo>
                      <a:pt x="26598" y="76151"/>
                    </a:moveTo>
                    <a:lnTo>
                      <a:pt x="12753" y="36290"/>
                    </a:lnTo>
                    <a:lnTo>
                      <a:pt x="2550" y="39861"/>
                    </a:lnTo>
                    <a:lnTo>
                      <a:pt x="0" y="32428"/>
                    </a:lnTo>
                    <a:lnTo>
                      <a:pt x="15230" y="1093"/>
                    </a:lnTo>
                    <a:lnTo>
                      <a:pt x="18291" y="0"/>
                    </a:lnTo>
                    <a:lnTo>
                      <a:pt x="24558" y="18145"/>
                    </a:lnTo>
                    <a:lnTo>
                      <a:pt x="39715" y="12898"/>
                    </a:lnTo>
                    <a:lnTo>
                      <a:pt x="44087" y="25432"/>
                    </a:lnTo>
                    <a:lnTo>
                      <a:pt x="28930" y="30679"/>
                    </a:lnTo>
                    <a:lnTo>
                      <a:pt x="41683" y="67406"/>
                    </a:lnTo>
                    <a:cubicBezTo>
                      <a:pt x="43796" y="73528"/>
                      <a:pt x="46346" y="74475"/>
                      <a:pt x="51885" y="72580"/>
                    </a:cubicBezTo>
                    <a:cubicBezTo>
                      <a:pt x="54654" y="71633"/>
                      <a:pt x="57059" y="70248"/>
                      <a:pt x="59172" y="68864"/>
                    </a:cubicBezTo>
                    <a:lnTo>
                      <a:pt x="63981" y="82710"/>
                    </a:lnTo>
                    <a:cubicBezTo>
                      <a:pt x="61431" y="84386"/>
                      <a:pt x="57423" y="86280"/>
                      <a:pt x="53342" y="87665"/>
                    </a:cubicBezTo>
                    <a:cubicBezTo>
                      <a:pt x="39278" y="92547"/>
                      <a:pt x="31335" y="89487"/>
                      <a:pt x="26671" y="76078"/>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24" name="Freeform 22">
                <a:extLst>
                  <a:ext uri="{FF2B5EF4-FFF2-40B4-BE49-F238E27FC236}">
                    <a16:creationId xmlns:a16="http://schemas.microsoft.com/office/drawing/2014/main" id="{7056B687-0C2B-8827-FF85-6574397536D1}"/>
                  </a:ext>
                </a:extLst>
              </p:cNvPr>
              <p:cNvSpPr/>
              <p:nvPr/>
            </p:nvSpPr>
            <p:spPr>
              <a:xfrm>
                <a:off x="4992686" y="1782813"/>
                <a:ext cx="66488" cy="78457"/>
              </a:xfrm>
              <a:custGeom>
                <a:avLst/>
                <a:gdLst>
                  <a:gd name="connsiteX0" fmla="*/ 11532 w 66488"/>
                  <a:gd name="connsiteY0" fmla="*/ 74410 h 78457"/>
                  <a:gd name="connsiteX1" fmla="*/ 18091 w 66488"/>
                  <a:gd name="connsiteY1" fmla="*/ 61439 h 78457"/>
                  <a:gd name="connsiteX2" fmla="*/ 39807 w 66488"/>
                  <a:gd name="connsiteY2" fmla="*/ 63260 h 78457"/>
                  <a:gd name="connsiteX3" fmla="*/ 49936 w 66488"/>
                  <a:gd name="connsiteY3" fmla="*/ 51236 h 78457"/>
                  <a:gd name="connsiteX4" fmla="*/ 30333 w 66488"/>
                  <a:gd name="connsiteY4" fmla="*/ 45771 h 78457"/>
                  <a:gd name="connsiteX5" fmla="*/ 1185 w 66488"/>
                  <a:gd name="connsiteY5" fmla="*/ 31780 h 78457"/>
                  <a:gd name="connsiteX6" fmla="*/ 21078 w 66488"/>
                  <a:gd name="connsiteY6" fmla="*/ 2412 h 78457"/>
                  <a:gd name="connsiteX7" fmla="*/ 50300 w 66488"/>
                  <a:gd name="connsiteY7" fmla="*/ 3432 h 78457"/>
                  <a:gd name="connsiteX8" fmla="*/ 43887 w 66488"/>
                  <a:gd name="connsiteY8" fmla="*/ 16039 h 78457"/>
                  <a:gd name="connsiteX9" fmla="*/ 25378 w 66488"/>
                  <a:gd name="connsiteY9" fmla="*/ 14728 h 78457"/>
                  <a:gd name="connsiteX10" fmla="*/ 16633 w 66488"/>
                  <a:gd name="connsiteY10" fmla="*/ 25877 h 78457"/>
                  <a:gd name="connsiteX11" fmla="*/ 34924 w 66488"/>
                  <a:gd name="connsiteY11" fmla="*/ 30249 h 78457"/>
                  <a:gd name="connsiteX12" fmla="*/ 65312 w 66488"/>
                  <a:gd name="connsiteY12" fmla="*/ 44824 h 78457"/>
                  <a:gd name="connsiteX13" fmla="*/ 44106 w 66488"/>
                  <a:gd name="connsiteY13" fmla="*/ 75649 h 78457"/>
                  <a:gd name="connsiteX14" fmla="*/ 11460 w 66488"/>
                  <a:gd name="connsiteY14" fmla="*/ 74337 h 78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488" h="78457">
                    <a:moveTo>
                      <a:pt x="11532" y="74410"/>
                    </a:moveTo>
                    <a:lnTo>
                      <a:pt x="18091" y="61439"/>
                    </a:lnTo>
                    <a:cubicBezTo>
                      <a:pt x="25742" y="65738"/>
                      <a:pt x="32374" y="65738"/>
                      <a:pt x="39807" y="63260"/>
                    </a:cubicBezTo>
                    <a:cubicBezTo>
                      <a:pt x="46948" y="60928"/>
                      <a:pt x="51830" y="56993"/>
                      <a:pt x="49936" y="51236"/>
                    </a:cubicBezTo>
                    <a:cubicBezTo>
                      <a:pt x="47823" y="44897"/>
                      <a:pt x="41264" y="45115"/>
                      <a:pt x="30333" y="45771"/>
                    </a:cubicBezTo>
                    <a:cubicBezTo>
                      <a:pt x="18528" y="46500"/>
                      <a:pt x="5703" y="45698"/>
                      <a:pt x="1185" y="31780"/>
                    </a:cubicBezTo>
                    <a:cubicBezTo>
                      <a:pt x="-3115" y="18736"/>
                      <a:pt x="4464" y="7951"/>
                      <a:pt x="21078" y="2412"/>
                    </a:cubicBezTo>
                    <a:cubicBezTo>
                      <a:pt x="31937" y="-1158"/>
                      <a:pt x="41993" y="-721"/>
                      <a:pt x="50300" y="3432"/>
                    </a:cubicBezTo>
                    <a:lnTo>
                      <a:pt x="43887" y="16039"/>
                    </a:lnTo>
                    <a:cubicBezTo>
                      <a:pt x="37548" y="12687"/>
                      <a:pt x="31062" y="12833"/>
                      <a:pt x="25378" y="14728"/>
                    </a:cubicBezTo>
                    <a:cubicBezTo>
                      <a:pt x="18601" y="16914"/>
                      <a:pt x="14957" y="20703"/>
                      <a:pt x="16633" y="25877"/>
                    </a:cubicBezTo>
                    <a:cubicBezTo>
                      <a:pt x="18382" y="31051"/>
                      <a:pt x="24649" y="30905"/>
                      <a:pt x="34924" y="30249"/>
                    </a:cubicBezTo>
                    <a:cubicBezTo>
                      <a:pt x="46948" y="29448"/>
                      <a:pt x="60211" y="29375"/>
                      <a:pt x="65312" y="44824"/>
                    </a:cubicBezTo>
                    <a:cubicBezTo>
                      <a:pt x="69757" y="58451"/>
                      <a:pt x="61377" y="69965"/>
                      <a:pt x="44106" y="75649"/>
                    </a:cubicBezTo>
                    <a:cubicBezTo>
                      <a:pt x="31864" y="79656"/>
                      <a:pt x="20714" y="79511"/>
                      <a:pt x="11460" y="74337"/>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25" name="Freeform 23">
                <a:extLst>
                  <a:ext uri="{FF2B5EF4-FFF2-40B4-BE49-F238E27FC236}">
                    <a16:creationId xmlns:a16="http://schemas.microsoft.com/office/drawing/2014/main" id="{9D2C9642-7013-259E-798F-E4080CFDA3C5}"/>
                  </a:ext>
                </a:extLst>
              </p:cNvPr>
              <p:cNvSpPr/>
              <p:nvPr/>
            </p:nvSpPr>
            <p:spPr>
              <a:xfrm>
                <a:off x="5094768" y="1749905"/>
                <a:ext cx="76057" cy="77205"/>
              </a:xfrm>
              <a:custGeom>
                <a:avLst/>
                <a:gdLst>
                  <a:gd name="connsiteX0" fmla="*/ 1925 w 76057"/>
                  <a:gd name="connsiteY0" fmla="*/ 49239 h 77205"/>
                  <a:gd name="connsiteX1" fmla="*/ 27211 w 76057"/>
                  <a:gd name="connsiteY1" fmla="*/ 1799 h 77205"/>
                  <a:gd name="connsiteX2" fmla="*/ 74141 w 76057"/>
                  <a:gd name="connsiteY2" fmla="*/ 28033 h 77205"/>
                  <a:gd name="connsiteX3" fmla="*/ 48781 w 76057"/>
                  <a:gd name="connsiteY3" fmla="*/ 75400 h 77205"/>
                  <a:gd name="connsiteX4" fmla="*/ 1925 w 76057"/>
                  <a:gd name="connsiteY4" fmla="*/ 49239 h 77205"/>
                  <a:gd name="connsiteX5" fmla="*/ 44919 w 76057"/>
                  <a:gd name="connsiteY5" fmla="*/ 62137 h 77205"/>
                  <a:gd name="connsiteX6" fmla="*/ 56943 w 76057"/>
                  <a:gd name="connsiteY6" fmla="*/ 33134 h 77205"/>
                  <a:gd name="connsiteX7" fmla="*/ 31146 w 76057"/>
                  <a:gd name="connsiteY7" fmla="*/ 15207 h 77205"/>
                  <a:gd name="connsiteX8" fmla="*/ 19122 w 76057"/>
                  <a:gd name="connsiteY8" fmla="*/ 44210 h 77205"/>
                  <a:gd name="connsiteX9" fmla="*/ 44919 w 76057"/>
                  <a:gd name="connsiteY9" fmla="*/ 62137 h 7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057" h="77205">
                    <a:moveTo>
                      <a:pt x="1925" y="49239"/>
                    </a:moveTo>
                    <a:cubicBezTo>
                      <a:pt x="-4634" y="26867"/>
                      <a:pt x="6005" y="8066"/>
                      <a:pt x="27211" y="1799"/>
                    </a:cubicBezTo>
                    <a:cubicBezTo>
                      <a:pt x="48417" y="-4395"/>
                      <a:pt x="67582" y="5661"/>
                      <a:pt x="74141" y="28033"/>
                    </a:cubicBezTo>
                    <a:cubicBezTo>
                      <a:pt x="80699" y="50405"/>
                      <a:pt x="69987" y="69133"/>
                      <a:pt x="48781" y="75400"/>
                    </a:cubicBezTo>
                    <a:cubicBezTo>
                      <a:pt x="27576" y="81594"/>
                      <a:pt x="8483" y="71610"/>
                      <a:pt x="1925" y="49239"/>
                    </a:cubicBezTo>
                    <a:close/>
                    <a:moveTo>
                      <a:pt x="44919" y="62137"/>
                    </a:moveTo>
                    <a:cubicBezTo>
                      <a:pt x="55923" y="58931"/>
                      <a:pt x="61461" y="48364"/>
                      <a:pt x="56943" y="33134"/>
                    </a:cubicBezTo>
                    <a:cubicBezTo>
                      <a:pt x="52425" y="17831"/>
                      <a:pt x="42150" y="12001"/>
                      <a:pt x="31146" y="15207"/>
                    </a:cubicBezTo>
                    <a:cubicBezTo>
                      <a:pt x="20142" y="18414"/>
                      <a:pt x="14604" y="28907"/>
                      <a:pt x="19122" y="44210"/>
                    </a:cubicBezTo>
                    <a:cubicBezTo>
                      <a:pt x="23567" y="59441"/>
                      <a:pt x="33915" y="65343"/>
                      <a:pt x="44919" y="62137"/>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26" name="Freeform 24">
                <a:extLst>
                  <a:ext uri="{FF2B5EF4-FFF2-40B4-BE49-F238E27FC236}">
                    <a16:creationId xmlns:a16="http://schemas.microsoft.com/office/drawing/2014/main" id="{E61D96F6-FE7D-C22B-BA8C-1D7187F5C3F3}"/>
                  </a:ext>
                </a:extLst>
              </p:cNvPr>
              <p:cNvSpPr/>
              <p:nvPr/>
            </p:nvSpPr>
            <p:spPr>
              <a:xfrm>
                <a:off x="5174957" y="1727023"/>
                <a:ext cx="43212" cy="82468"/>
              </a:xfrm>
              <a:custGeom>
                <a:avLst/>
                <a:gdLst>
                  <a:gd name="connsiteX0" fmla="*/ 73 w 43212"/>
                  <a:gd name="connsiteY0" fmla="*/ 10982 h 82468"/>
                  <a:gd name="connsiteX1" fmla="*/ 16032 w 43212"/>
                  <a:gd name="connsiteY1" fmla="*/ 6682 h 82468"/>
                  <a:gd name="connsiteX2" fmla="*/ 20185 w 43212"/>
                  <a:gd name="connsiteY2" fmla="*/ 22058 h 82468"/>
                  <a:gd name="connsiteX3" fmla="*/ 20477 w 43212"/>
                  <a:gd name="connsiteY3" fmla="*/ 22058 h 82468"/>
                  <a:gd name="connsiteX4" fmla="*/ 32646 w 43212"/>
                  <a:gd name="connsiteY4" fmla="*/ 780 h 82468"/>
                  <a:gd name="connsiteX5" fmla="*/ 39059 w 43212"/>
                  <a:gd name="connsiteY5" fmla="*/ 51 h 82468"/>
                  <a:gd name="connsiteX6" fmla="*/ 43213 w 43212"/>
                  <a:gd name="connsiteY6" fmla="*/ 15500 h 82468"/>
                  <a:gd name="connsiteX7" fmla="*/ 36144 w 43212"/>
                  <a:gd name="connsiteY7" fmla="*/ 16520 h 82468"/>
                  <a:gd name="connsiteX8" fmla="*/ 26161 w 43212"/>
                  <a:gd name="connsiteY8" fmla="*/ 42098 h 82468"/>
                  <a:gd name="connsiteX9" fmla="*/ 35853 w 43212"/>
                  <a:gd name="connsiteY9" fmla="*/ 78024 h 82468"/>
                  <a:gd name="connsiteX10" fmla="*/ 19311 w 43212"/>
                  <a:gd name="connsiteY10" fmla="*/ 82469 h 82468"/>
                  <a:gd name="connsiteX11" fmla="*/ 0 w 43212"/>
                  <a:gd name="connsiteY11" fmla="*/ 11055 h 82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12" h="82468">
                    <a:moveTo>
                      <a:pt x="73" y="10982"/>
                    </a:moveTo>
                    <a:lnTo>
                      <a:pt x="16032" y="6682"/>
                    </a:lnTo>
                    <a:lnTo>
                      <a:pt x="20185" y="22058"/>
                    </a:lnTo>
                    <a:lnTo>
                      <a:pt x="20477" y="22058"/>
                    </a:lnTo>
                    <a:cubicBezTo>
                      <a:pt x="19821" y="9889"/>
                      <a:pt x="23683" y="3184"/>
                      <a:pt x="32646" y="780"/>
                    </a:cubicBezTo>
                    <a:cubicBezTo>
                      <a:pt x="35270" y="51"/>
                      <a:pt x="37602" y="-95"/>
                      <a:pt x="39059" y="51"/>
                    </a:cubicBezTo>
                    <a:lnTo>
                      <a:pt x="43213" y="15500"/>
                    </a:lnTo>
                    <a:cubicBezTo>
                      <a:pt x="41318" y="15500"/>
                      <a:pt x="38622" y="15864"/>
                      <a:pt x="36144" y="16520"/>
                    </a:cubicBezTo>
                    <a:cubicBezTo>
                      <a:pt x="24412" y="19726"/>
                      <a:pt x="22590" y="28908"/>
                      <a:pt x="26161" y="42098"/>
                    </a:cubicBezTo>
                    <a:lnTo>
                      <a:pt x="35853" y="78024"/>
                    </a:lnTo>
                    <a:lnTo>
                      <a:pt x="19311" y="82469"/>
                    </a:lnTo>
                    <a:lnTo>
                      <a:pt x="0" y="11055"/>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27" name="Freeform 25">
                <a:extLst>
                  <a:ext uri="{FF2B5EF4-FFF2-40B4-BE49-F238E27FC236}">
                    <a16:creationId xmlns:a16="http://schemas.microsoft.com/office/drawing/2014/main" id="{E0F54AAE-7B21-5011-7D3F-498B440520F9}"/>
                  </a:ext>
                </a:extLst>
              </p:cNvPr>
              <p:cNvSpPr/>
              <p:nvPr/>
            </p:nvSpPr>
            <p:spPr>
              <a:xfrm>
                <a:off x="5228813" y="1713539"/>
                <a:ext cx="72358" cy="77199"/>
              </a:xfrm>
              <a:custGeom>
                <a:avLst/>
                <a:gdLst>
                  <a:gd name="connsiteX0" fmla="*/ 1599 w 72358"/>
                  <a:gd name="connsiteY0" fmla="*/ 47785 h 77199"/>
                  <a:gd name="connsiteX1" fmla="*/ 28270 w 72358"/>
                  <a:gd name="connsiteY1" fmla="*/ 1438 h 77199"/>
                  <a:gd name="connsiteX2" fmla="*/ 60188 w 72358"/>
                  <a:gd name="connsiteY2" fmla="*/ 7268 h 77199"/>
                  <a:gd name="connsiteX3" fmla="*/ 51954 w 72358"/>
                  <a:gd name="connsiteY3" fmla="*/ 19292 h 77199"/>
                  <a:gd name="connsiteX4" fmla="*/ 32424 w 72358"/>
                  <a:gd name="connsiteY4" fmla="*/ 14701 h 77199"/>
                  <a:gd name="connsiteX5" fmla="*/ 18943 w 72358"/>
                  <a:gd name="connsiteY5" fmla="*/ 43340 h 77199"/>
                  <a:gd name="connsiteX6" fmla="*/ 44375 w 72358"/>
                  <a:gd name="connsiteY6" fmla="*/ 62141 h 77199"/>
                  <a:gd name="connsiteX7" fmla="*/ 59387 w 72358"/>
                  <a:gd name="connsiteY7" fmla="*/ 48732 h 77199"/>
                  <a:gd name="connsiteX8" fmla="*/ 72358 w 72358"/>
                  <a:gd name="connsiteY8" fmla="*/ 55509 h 77199"/>
                  <a:gd name="connsiteX9" fmla="*/ 46998 w 72358"/>
                  <a:gd name="connsiteY9" fmla="*/ 75768 h 77199"/>
                  <a:gd name="connsiteX10" fmla="*/ 1526 w 72358"/>
                  <a:gd name="connsiteY10" fmla="*/ 47785 h 7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58" h="77199">
                    <a:moveTo>
                      <a:pt x="1599" y="47785"/>
                    </a:moveTo>
                    <a:cubicBezTo>
                      <a:pt x="-4449" y="23956"/>
                      <a:pt x="7138" y="6831"/>
                      <a:pt x="28270" y="1438"/>
                    </a:cubicBezTo>
                    <a:cubicBezTo>
                      <a:pt x="41825" y="-1987"/>
                      <a:pt x="52537" y="1001"/>
                      <a:pt x="60188" y="7268"/>
                    </a:cubicBezTo>
                    <a:lnTo>
                      <a:pt x="51954" y="19292"/>
                    </a:lnTo>
                    <a:cubicBezTo>
                      <a:pt x="46343" y="14555"/>
                      <a:pt x="40076" y="12734"/>
                      <a:pt x="32424" y="14701"/>
                    </a:cubicBezTo>
                    <a:cubicBezTo>
                      <a:pt x="20838" y="17616"/>
                      <a:pt x="14935" y="27454"/>
                      <a:pt x="18943" y="43340"/>
                    </a:cubicBezTo>
                    <a:cubicBezTo>
                      <a:pt x="22951" y="59153"/>
                      <a:pt x="32789" y="65056"/>
                      <a:pt x="44375" y="62141"/>
                    </a:cubicBezTo>
                    <a:cubicBezTo>
                      <a:pt x="51954" y="60246"/>
                      <a:pt x="56617" y="55582"/>
                      <a:pt x="59387" y="48732"/>
                    </a:cubicBezTo>
                    <a:lnTo>
                      <a:pt x="72358" y="55509"/>
                    </a:lnTo>
                    <a:cubicBezTo>
                      <a:pt x="68641" y="64691"/>
                      <a:pt x="60625" y="72343"/>
                      <a:pt x="46998" y="75768"/>
                    </a:cubicBezTo>
                    <a:cubicBezTo>
                      <a:pt x="25866" y="81087"/>
                      <a:pt x="7502" y="71541"/>
                      <a:pt x="1526" y="47785"/>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28" name="Freeform 26">
                <a:extLst>
                  <a:ext uri="{FF2B5EF4-FFF2-40B4-BE49-F238E27FC236}">
                    <a16:creationId xmlns:a16="http://schemas.microsoft.com/office/drawing/2014/main" id="{3B50E60A-1A81-5578-5590-E310B9C0C275}"/>
                  </a:ext>
                </a:extLst>
              </p:cNvPr>
              <p:cNvSpPr/>
              <p:nvPr/>
            </p:nvSpPr>
            <p:spPr>
              <a:xfrm>
                <a:off x="5293519" y="1675772"/>
                <a:ext cx="85041" cy="102166"/>
              </a:xfrm>
              <a:custGeom>
                <a:avLst/>
                <a:gdLst>
                  <a:gd name="connsiteX0" fmla="*/ 0 w 85041"/>
                  <a:gd name="connsiteY0" fmla="*/ 3862 h 102166"/>
                  <a:gd name="connsiteX1" fmla="*/ 16688 w 85041"/>
                  <a:gd name="connsiteY1" fmla="*/ 0 h 102166"/>
                  <a:gd name="connsiteX2" fmla="*/ 26161 w 85041"/>
                  <a:gd name="connsiteY2" fmla="*/ 41318 h 102166"/>
                  <a:gd name="connsiteX3" fmla="*/ 26453 w 85041"/>
                  <a:gd name="connsiteY3" fmla="*/ 41318 h 102166"/>
                  <a:gd name="connsiteX4" fmla="*/ 45764 w 85041"/>
                  <a:gd name="connsiteY4" fmla="*/ 19384 h 102166"/>
                  <a:gd name="connsiteX5" fmla="*/ 74111 w 85041"/>
                  <a:gd name="connsiteY5" fmla="*/ 40152 h 102166"/>
                  <a:gd name="connsiteX6" fmla="*/ 85042 w 85041"/>
                  <a:gd name="connsiteY6" fmla="*/ 87738 h 102166"/>
                  <a:gd name="connsiteX7" fmla="*/ 68354 w 85041"/>
                  <a:gd name="connsiteY7" fmla="*/ 91600 h 102166"/>
                  <a:gd name="connsiteX8" fmla="*/ 58370 w 85041"/>
                  <a:gd name="connsiteY8" fmla="*/ 48023 h 102166"/>
                  <a:gd name="connsiteX9" fmla="*/ 41756 w 85041"/>
                  <a:gd name="connsiteY9" fmla="*/ 35489 h 102166"/>
                  <a:gd name="connsiteX10" fmla="*/ 29951 w 85041"/>
                  <a:gd name="connsiteY10" fmla="*/ 57933 h 102166"/>
                  <a:gd name="connsiteX11" fmla="*/ 39205 w 85041"/>
                  <a:gd name="connsiteY11" fmla="*/ 98377 h 102166"/>
                  <a:gd name="connsiteX12" fmla="*/ 22518 w 85041"/>
                  <a:gd name="connsiteY12" fmla="*/ 102166 h 102166"/>
                  <a:gd name="connsiteX13" fmla="*/ 0 w 85041"/>
                  <a:gd name="connsiteY13" fmla="*/ 3862 h 102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041" h="102166">
                    <a:moveTo>
                      <a:pt x="0" y="3862"/>
                    </a:moveTo>
                    <a:lnTo>
                      <a:pt x="16688" y="0"/>
                    </a:lnTo>
                    <a:lnTo>
                      <a:pt x="26161" y="41318"/>
                    </a:lnTo>
                    <a:lnTo>
                      <a:pt x="26453" y="41318"/>
                    </a:lnTo>
                    <a:cubicBezTo>
                      <a:pt x="27254" y="31772"/>
                      <a:pt x="32428" y="22445"/>
                      <a:pt x="45764" y="19384"/>
                    </a:cubicBezTo>
                    <a:cubicBezTo>
                      <a:pt x="61285" y="15813"/>
                      <a:pt x="70613" y="24776"/>
                      <a:pt x="74111" y="40152"/>
                    </a:cubicBezTo>
                    <a:lnTo>
                      <a:pt x="85042" y="87738"/>
                    </a:lnTo>
                    <a:lnTo>
                      <a:pt x="68354" y="91600"/>
                    </a:lnTo>
                    <a:lnTo>
                      <a:pt x="58370" y="48023"/>
                    </a:lnTo>
                    <a:cubicBezTo>
                      <a:pt x="56184" y="38331"/>
                      <a:pt x="51448" y="33230"/>
                      <a:pt x="41756" y="35489"/>
                    </a:cubicBezTo>
                    <a:cubicBezTo>
                      <a:pt x="31772" y="37748"/>
                      <a:pt x="27182" y="45764"/>
                      <a:pt x="29951" y="57933"/>
                    </a:cubicBezTo>
                    <a:lnTo>
                      <a:pt x="39205" y="98377"/>
                    </a:lnTo>
                    <a:lnTo>
                      <a:pt x="22518" y="102166"/>
                    </a:lnTo>
                    <a:lnTo>
                      <a:pt x="0" y="3862"/>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29" name="Freeform 27">
                <a:extLst>
                  <a:ext uri="{FF2B5EF4-FFF2-40B4-BE49-F238E27FC236}">
                    <a16:creationId xmlns:a16="http://schemas.microsoft.com/office/drawing/2014/main" id="{D507D6A4-8E99-38F1-A958-F125CD369087}"/>
                  </a:ext>
                </a:extLst>
              </p:cNvPr>
              <p:cNvSpPr/>
              <p:nvPr/>
            </p:nvSpPr>
            <p:spPr>
              <a:xfrm>
                <a:off x="5384795" y="1678285"/>
                <a:ext cx="73195" cy="77017"/>
              </a:xfrm>
              <a:custGeom>
                <a:avLst/>
                <a:gdLst>
                  <a:gd name="connsiteX0" fmla="*/ 1053 w 73195"/>
                  <a:gd name="connsiteY0" fmla="*/ 45947 h 77017"/>
                  <a:gd name="connsiteX1" fmla="*/ 29764 w 73195"/>
                  <a:gd name="connsiteY1" fmla="*/ 912 h 77017"/>
                  <a:gd name="connsiteX2" fmla="*/ 69844 w 73195"/>
                  <a:gd name="connsiteY2" fmla="*/ 29624 h 77017"/>
                  <a:gd name="connsiteX3" fmla="*/ 70863 w 73195"/>
                  <a:gd name="connsiteY3" fmla="*/ 36037 h 77017"/>
                  <a:gd name="connsiteX4" fmla="*/ 19562 w 73195"/>
                  <a:gd name="connsiteY4" fmla="*/ 46457 h 77017"/>
                  <a:gd name="connsiteX5" fmla="*/ 44630 w 73195"/>
                  <a:gd name="connsiteY5" fmla="*/ 62562 h 77017"/>
                  <a:gd name="connsiteX6" fmla="*/ 61463 w 73195"/>
                  <a:gd name="connsiteY6" fmla="*/ 50757 h 77017"/>
                  <a:gd name="connsiteX7" fmla="*/ 73195 w 73195"/>
                  <a:gd name="connsiteY7" fmla="*/ 58554 h 77017"/>
                  <a:gd name="connsiteX8" fmla="*/ 46525 w 73195"/>
                  <a:gd name="connsiteY8" fmla="*/ 75897 h 77017"/>
                  <a:gd name="connsiteX9" fmla="*/ 1053 w 73195"/>
                  <a:gd name="connsiteY9" fmla="*/ 46020 h 77017"/>
                  <a:gd name="connsiteX10" fmla="*/ 52354 w 73195"/>
                  <a:gd name="connsiteY10" fmla="*/ 28968 h 77017"/>
                  <a:gd name="connsiteX11" fmla="*/ 32023 w 73195"/>
                  <a:gd name="connsiteY11" fmla="*/ 13884 h 77017"/>
                  <a:gd name="connsiteX12" fmla="*/ 17740 w 73195"/>
                  <a:gd name="connsiteY12" fmla="*/ 35964 h 77017"/>
                  <a:gd name="connsiteX13" fmla="*/ 52354 w 73195"/>
                  <a:gd name="connsiteY13" fmla="*/ 28968 h 77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195" h="77017">
                    <a:moveTo>
                      <a:pt x="1053" y="45947"/>
                    </a:moveTo>
                    <a:cubicBezTo>
                      <a:pt x="-4049" y="20734"/>
                      <a:pt x="10016" y="4920"/>
                      <a:pt x="29764" y="912"/>
                    </a:cubicBezTo>
                    <a:cubicBezTo>
                      <a:pt x="54030" y="-4043"/>
                      <a:pt x="66200" y="11989"/>
                      <a:pt x="69844" y="29624"/>
                    </a:cubicBezTo>
                    <a:cubicBezTo>
                      <a:pt x="70281" y="31737"/>
                      <a:pt x="70572" y="33923"/>
                      <a:pt x="70863" y="36037"/>
                    </a:cubicBezTo>
                    <a:lnTo>
                      <a:pt x="19562" y="46457"/>
                    </a:lnTo>
                    <a:cubicBezTo>
                      <a:pt x="23570" y="60011"/>
                      <a:pt x="32023" y="65112"/>
                      <a:pt x="44630" y="62562"/>
                    </a:cubicBezTo>
                    <a:cubicBezTo>
                      <a:pt x="52791" y="60886"/>
                      <a:pt x="57747" y="57388"/>
                      <a:pt x="61463" y="50757"/>
                    </a:cubicBezTo>
                    <a:lnTo>
                      <a:pt x="73195" y="58554"/>
                    </a:lnTo>
                    <a:cubicBezTo>
                      <a:pt x="68022" y="67517"/>
                      <a:pt x="60443" y="73055"/>
                      <a:pt x="46525" y="75897"/>
                    </a:cubicBezTo>
                    <a:cubicBezTo>
                      <a:pt x="23278" y="80634"/>
                      <a:pt x="6008" y="70286"/>
                      <a:pt x="1053" y="46020"/>
                    </a:cubicBezTo>
                    <a:close/>
                    <a:moveTo>
                      <a:pt x="52354" y="28968"/>
                    </a:moveTo>
                    <a:cubicBezTo>
                      <a:pt x="48856" y="16361"/>
                      <a:pt x="41423" y="11989"/>
                      <a:pt x="32023" y="13884"/>
                    </a:cubicBezTo>
                    <a:cubicBezTo>
                      <a:pt x="22768" y="15778"/>
                      <a:pt x="16793" y="22847"/>
                      <a:pt x="17740" y="35964"/>
                    </a:cubicBezTo>
                    <a:lnTo>
                      <a:pt x="52354" y="28968"/>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30" name="Freeform 28">
                <a:extLst>
                  <a:ext uri="{FF2B5EF4-FFF2-40B4-BE49-F238E27FC236}">
                    <a16:creationId xmlns:a16="http://schemas.microsoft.com/office/drawing/2014/main" id="{CC451C88-C602-42DC-C5D1-7955C4A2802D}"/>
                  </a:ext>
                </a:extLst>
              </p:cNvPr>
              <p:cNvSpPr/>
              <p:nvPr/>
            </p:nvSpPr>
            <p:spPr>
              <a:xfrm>
                <a:off x="5464143" y="1664157"/>
                <a:ext cx="62600" cy="77458"/>
              </a:xfrm>
              <a:custGeom>
                <a:avLst/>
                <a:gdLst>
                  <a:gd name="connsiteX0" fmla="*/ 4925 w 62600"/>
                  <a:gd name="connsiteY0" fmla="*/ 70714 h 77458"/>
                  <a:gd name="connsiteX1" fmla="*/ 13159 w 62600"/>
                  <a:gd name="connsiteY1" fmla="*/ 58763 h 77458"/>
                  <a:gd name="connsiteX2" fmla="*/ 34365 w 62600"/>
                  <a:gd name="connsiteY2" fmla="*/ 63572 h 77458"/>
                  <a:gd name="connsiteX3" fmla="*/ 46025 w 62600"/>
                  <a:gd name="connsiteY3" fmla="*/ 53079 h 77458"/>
                  <a:gd name="connsiteX4" fmla="*/ 27369 w 62600"/>
                  <a:gd name="connsiteY4" fmla="*/ 44990 h 77458"/>
                  <a:gd name="connsiteX5" fmla="*/ 407 w 62600"/>
                  <a:gd name="connsiteY5" fmla="*/ 27137 h 77458"/>
                  <a:gd name="connsiteX6" fmla="*/ 24090 w 62600"/>
                  <a:gd name="connsiteY6" fmla="*/ 830 h 77458"/>
                  <a:gd name="connsiteX7" fmla="*/ 52874 w 62600"/>
                  <a:gd name="connsiteY7" fmla="*/ 5785 h 77458"/>
                  <a:gd name="connsiteX8" fmla="*/ 44858 w 62600"/>
                  <a:gd name="connsiteY8" fmla="*/ 17445 h 77458"/>
                  <a:gd name="connsiteX9" fmla="*/ 26713 w 62600"/>
                  <a:gd name="connsiteY9" fmla="*/ 13582 h 77458"/>
                  <a:gd name="connsiteX10" fmla="*/ 16584 w 62600"/>
                  <a:gd name="connsiteY10" fmla="*/ 23420 h 77458"/>
                  <a:gd name="connsiteX11" fmla="*/ 34146 w 62600"/>
                  <a:gd name="connsiteY11" fmla="*/ 30270 h 77458"/>
                  <a:gd name="connsiteX12" fmla="*/ 62202 w 62600"/>
                  <a:gd name="connsiteY12" fmla="*/ 48852 h 77458"/>
                  <a:gd name="connsiteX13" fmla="*/ 36988 w 62600"/>
                  <a:gd name="connsiteY13" fmla="*/ 76471 h 77458"/>
                  <a:gd name="connsiteX14" fmla="*/ 4852 w 62600"/>
                  <a:gd name="connsiteY14" fmla="*/ 70714 h 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00" h="77458">
                    <a:moveTo>
                      <a:pt x="4925" y="70714"/>
                    </a:moveTo>
                    <a:lnTo>
                      <a:pt x="13159" y="58763"/>
                    </a:lnTo>
                    <a:cubicBezTo>
                      <a:pt x="20082" y="64083"/>
                      <a:pt x="26713" y="64957"/>
                      <a:pt x="34365" y="63572"/>
                    </a:cubicBezTo>
                    <a:cubicBezTo>
                      <a:pt x="41725" y="62261"/>
                      <a:pt x="47117" y="59054"/>
                      <a:pt x="46025" y="53079"/>
                    </a:cubicBezTo>
                    <a:cubicBezTo>
                      <a:pt x="44785" y="46520"/>
                      <a:pt x="38300" y="45792"/>
                      <a:pt x="27369" y="44990"/>
                    </a:cubicBezTo>
                    <a:cubicBezTo>
                      <a:pt x="15564" y="44116"/>
                      <a:pt x="3030" y="41492"/>
                      <a:pt x="407" y="27137"/>
                    </a:cubicBezTo>
                    <a:cubicBezTo>
                      <a:pt x="-2071" y="13655"/>
                      <a:pt x="6892" y="3963"/>
                      <a:pt x="24090" y="830"/>
                    </a:cubicBezTo>
                    <a:cubicBezTo>
                      <a:pt x="35312" y="-1211"/>
                      <a:pt x="45223" y="538"/>
                      <a:pt x="52874" y="5785"/>
                    </a:cubicBezTo>
                    <a:lnTo>
                      <a:pt x="44858" y="17445"/>
                    </a:lnTo>
                    <a:cubicBezTo>
                      <a:pt x="39029" y="13291"/>
                      <a:pt x="32616" y="12562"/>
                      <a:pt x="26713" y="13582"/>
                    </a:cubicBezTo>
                    <a:cubicBezTo>
                      <a:pt x="19718" y="14821"/>
                      <a:pt x="15564" y="18100"/>
                      <a:pt x="16584" y="23420"/>
                    </a:cubicBezTo>
                    <a:cubicBezTo>
                      <a:pt x="17531" y="28813"/>
                      <a:pt x="23799" y="29468"/>
                      <a:pt x="34146" y="30270"/>
                    </a:cubicBezTo>
                    <a:cubicBezTo>
                      <a:pt x="46170" y="31072"/>
                      <a:pt x="59287" y="32821"/>
                      <a:pt x="62202" y="48852"/>
                    </a:cubicBezTo>
                    <a:cubicBezTo>
                      <a:pt x="64753" y="62917"/>
                      <a:pt x="54915" y="73192"/>
                      <a:pt x="36988" y="76471"/>
                    </a:cubicBezTo>
                    <a:cubicBezTo>
                      <a:pt x="24308" y="78803"/>
                      <a:pt x="13305" y="77054"/>
                      <a:pt x="4852" y="70714"/>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31" name="Freeform 29">
                <a:extLst>
                  <a:ext uri="{FF2B5EF4-FFF2-40B4-BE49-F238E27FC236}">
                    <a16:creationId xmlns:a16="http://schemas.microsoft.com/office/drawing/2014/main" id="{6ADCE4B9-B09E-339B-EFB6-1EA08EA992DD}"/>
                  </a:ext>
                </a:extLst>
              </p:cNvPr>
              <p:cNvSpPr/>
              <p:nvPr/>
            </p:nvSpPr>
            <p:spPr>
              <a:xfrm>
                <a:off x="5525543" y="1636567"/>
                <a:ext cx="54362" cy="93099"/>
              </a:xfrm>
              <a:custGeom>
                <a:avLst/>
                <a:gdLst>
                  <a:gd name="connsiteX0" fmla="*/ 18655 w 54362"/>
                  <a:gd name="connsiteY0" fmla="*/ 76443 h 93099"/>
                  <a:gd name="connsiteX1" fmla="*/ 11878 w 54362"/>
                  <a:gd name="connsiteY1" fmla="*/ 34760 h 93099"/>
                  <a:gd name="connsiteX2" fmla="*/ 1239 w 54362"/>
                  <a:gd name="connsiteY2" fmla="*/ 36509 h 93099"/>
                  <a:gd name="connsiteX3" fmla="*/ 0 w 54362"/>
                  <a:gd name="connsiteY3" fmla="*/ 28784 h 93099"/>
                  <a:gd name="connsiteX4" fmla="*/ 20404 w 54362"/>
                  <a:gd name="connsiteY4" fmla="*/ 510 h 93099"/>
                  <a:gd name="connsiteX5" fmla="*/ 23610 w 54362"/>
                  <a:gd name="connsiteY5" fmla="*/ 0 h 93099"/>
                  <a:gd name="connsiteX6" fmla="*/ 26671 w 54362"/>
                  <a:gd name="connsiteY6" fmla="*/ 18947 h 93099"/>
                  <a:gd name="connsiteX7" fmla="*/ 42484 w 54362"/>
                  <a:gd name="connsiteY7" fmla="*/ 16396 h 93099"/>
                  <a:gd name="connsiteX8" fmla="*/ 44598 w 54362"/>
                  <a:gd name="connsiteY8" fmla="*/ 29440 h 93099"/>
                  <a:gd name="connsiteX9" fmla="*/ 28784 w 54362"/>
                  <a:gd name="connsiteY9" fmla="*/ 32064 h 93099"/>
                  <a:gd name="connsiteX10" fmla="*/ 35051 w 54362"/>
                  <a:gd name="connsiteY10" fmla="*/ 70467 h 93099"/>
                  <a:gd name="connsiteX11" fmla="*/ 44160 w 54362"/>
                  <a:gd name="connsiteY11" fmla="*/ 77317 h 93099"/>
                  <a:gd name="connsiteX12" fmla="*/ 51958 w 54362"/>
                  <a:gd name="connsiteY12" fmla="*/ 74912 h 93099"/>
                  <a:gd name="connsiteX13" fmla="*/ 54363 w 54362"/>
                  <a:gd name="connsiteY13" fmla="*/ 89414 h 93099"/>
                  <a:gd name="connsiteX14" fmla="*/ 42995 w 54362"/>
                  <a:gd name="connsiteY14" fmla="*/ 92474 h 93099"/>
                  <a:gd name="connsiteX15" fmla="*/ 18655 w 54362"/>
                  <a:gd name="connsiteY15" fmla="*/ 76515 h 93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362" h="93099">
                    <a:moveTo>
                      <a:pt x="18655" y="76443"/>
                    </a:moveTo>
                    <a:lnTo>
                      <a:pt x="11878" y="34760"/>
                    </a:lnTo>
                    <a:lnTo>
                      <a:pt x="1239" y="36509"/>
                    </a:lnTo>
                    <a:lnTo>
                      <a:pt x="0" y="28784"/>
                    </a:lnTo>
                    <a:lnTo>
                      <a:pt x="20404" y="510"/>
                    </a:lnTo>
                    <a:lnTo>
                      <a:pt x="23610" y="0"/>
                    </a:lnTo>
                    <a:lnTo>
                      <a:pt x="26671" y="18947"/>
                    </a:lnTo>
                    <a:lnTo>
                      <a:pt x="42484" y="16396"/>
                    </a:lnTo>
                    <a:lnTo>
                      <a:pt x="44598" y="29440"/>
                    </a:lnTo>
                    <a:lnTo>
                      <a:pt x="28784" y="32064"/>
                    </a:lnTo>
                    <a:lnTo>
                      <a:pt x="35051" y="70467"/>
                    </a:lnTo>
                    <a:cubicBezTo>
                      <a:pt x="36072" y="76880"/>
                      <a:pt x="38477" y="78264"/>
                      <a:pt x="44160" y="77317"/>
                    </a:cubicBezTo>
                    <a:cubicBezTo>
                      <a:pt x="47002" y="76880"/>
                      <a:pt x="49699" y="75932"/>
                      <a:pt x="51958" y="74912"/>
                    </a:cubicBezTo>
                    <a:lnTo>
                      <a:pt x="54363" y="89414"/>
                    </a:lnTo>
                    <a:cubicBezTo>
                      <a:pt x="51520" y="90653"/>
                      <a:pt x="47294" y="91819"/>
                      <a:pt x="42995" y="92474"/>
                    </a:cubicBezTo>
                    <a:cubicBezTo>
                      <a:pt x="28347" y="94879"/>
                      <a:pt x="20987" y="90507"/>
                      <a:pt x="18655" y="76515"/>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32" name="Freeform 30">
                <a:extLst>
                  <a:ext uri="{FF2B5EF4-FFF2-40B4-BE49-F238E27FC236}">
                    <a16:creationId xmlns:a16="http://schemas.microsoft.com/office/drawing/2014/main" id="{F2775CE0-7EF5-71CD-BE8E-8F31B3DEC1E8}"/>
                  </a:ext>
                </a:extLst>
              </p:cNvPr>
              <p:cNvSpPr/>
              <p:nvPr/>
            </p:nvSpPr>
            <p:spPr>
              <a:xfrm>
                <a:off x="5585590" y="1643607"/>
                <a:ext cx="42338" cy="79676"/>
              </a:xfrm>
              <a:custGeom>
                <a:avLst/>
                <a:gdLst>
                  <a:gd name="connsiteX0" fmla="*/ 0 w 42338"/>
                  <a:gd name="connsiteY0" fmla="*/ 6587 h 79676"/>
                  <a:gd name="connsiteX1" fmla="*/ 16396 w 42338"/>
                  <a:gd name="connsiteY1" fmla="*/ 4182 h 79676"/>
                  <a:gd name="connsiteX2" fmla="*/ 18728 w 42338"/>
                  <a:gd name="connsiteY2" fmla="*/ 19922 h 79676"/>
                  <a:gd name="connsiteX3" fmla="*/ 19019 w 42338"/>
                  <a:gd name="connsiteY3" fmla="*/ 19922 h 79676"/>
                  <a:gd name="connsiteX4" fmla="*/ 33594 w 42338"/>
                  <a:gd name="connsiteY4" fmla="*/ 247 h 79676"/>
                  <a:gd name="connsiteX5" fmla="*/ 40007 w 42338"/>
                  <a:gd name="connsiteY5" fmla="*/ 247 h 79676"/>
                  <a:gd name="connsiteX6" fmla="*/ 42339 w 42338"/>
                  <a:gd name="connsiteY6" fmla="*/ 16060 h 79676"/>
                  <a:gd name="connsiteX7" fmla="*/ 35197 w 42338"/>
                  <a:gd name="connsiteY7" fmla="*/ 16206 h 79676"/>
                  <a:gd name="connsiteX8" fmla="*/ 22299 w 42338"/>
                  <a:gd name="connsiteY8" fmla="*/ 40472 h 79676"/>
                  <a:gd name="connsiteX9" fmla="*/ 27764 w 42338"/>
                  <a:gd name="connsiteY9" fmla="*/ 77199 h 79676"/>
                  <a:gd name="connsiteX10" fmla="*/ 10858 w 42338"/>
                  <a:gd name="connsiteY10" fmla="*/ 79677 h 79676"/>
                  <a:gd name="connsiteX11" fmla="*/ 0 w 42338"/>
                  <a:gd name="connsiteY11" fmla="*/ 6587 h 79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338" h="79676">
                    <a:moveTo>
                      <a:pt x="0" y="6587"/>
                    </a:moveTo>
                    <a:lnTo>
                      <a:pt x="16396" y="4182"/>
                    </a:lnTo>
                    <a:lnTo>
                      <a:pt x="18728" y="19922"/>
                    </a:lnTo>
                    <a:lnTo>
                      <a:pt x="19019" y="19922"/>
                    </a:lnTo>
                    <a:cubicBezTo>
                      <a:pt x="19748" y="7825"/>
                      <a:pt x="24412" y="1558"/>
                      <a:pt x="33594" y="247"/>
                    </a:cubicBezTo>
                    <a:cubicBezTo>
                      <a:pt x="36290" y="-118"/>
                      <a:pt x="38622" y="-45"/>
                      <a:pt x="40007" y="247"/>
                    </a:cubicBezTo>
                    <a:lnTo>
                      <a:pt x="42339" y="16060"/>
                    </a:lnTo>
                    <a:cubicBezTo>
                      <a:pt x="40444" y="15841"/>
                      <a:pt x="37748" y="15841"/>
                      <a:pt x="35197" y="16206"/>
                    </a:cubicBezTo>
                    <a:cubicBezTo>
                      <a:pt x="23173" y="18027"/>
                      <a:pt x="20332" y="26845"/>
                      <a:pt x="22299" y="40472"/>
                    </a:cubicBezTo>
                    <a:lnTo>
                      <a:pt x="27764" y="77199"/>
                    </a:lnTo>
                    <a:lnTo>
                      <a:pt x="10858" y="79677"/>
                    </a:lnTo>
                    <a:lnTo>
                      <a:pt x="0" y="6587"/>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33" name="Freeform 31">
                <a:extLst>
                  <a:ext uri="{FF2B5EF4-FFF2-40B4-BE49-F238E27FC236}">
                    <a16:creationId xmlns:a16="http://schemas.microsoft.com/office/drawing/2014/main" id="{85C297B4-B575-7100-7C10-FFB3A7109731}"/>
                  </a:ext>
                </a:extLst>
              </p:cNvPr>
              <p:cNvSpPr/>
              <p:nvPr/>
            </p:nvSpPr>
            <p:spPr>
              <a:xfrm>
                <a:off x="5637620" y="1636894"/>
                <a:ext cx="66896" cy="78269"/>
              </a:xfrm>
              <a:custGeom>
                <a:avLst/>
                <a:gdLst>
                  <a:gd name="connsiteX0" fmla="*/ 2259 w 66896"/>
                  <a:gd name="connsiteY0" fmla="*/ 59573 h 78269"/>
                  <a:gd name="connsiteX1" fmla="*/ 31189 w 66896"/>
                  <a:gd name="connsiteY1" fmla="*/ 32319 h 78269"/>
                  <a:gd name="connsiteX2" fmla="*/ 44452 w 66896"/>
                  <a:gd name="connsiteY2" fmla="*/ 30571 h 78269"/>
                  <a:gd name="connsiteX3" fmla="*/ 43942 w 66896"/>
                  <a:gd name="connsiteY3" fmla="*/ 26344 h 78269"/>
                  <a:gd name="connsiteX4" fmla="*/ 28930 w 66896"/>
                  <a:gd name="connsiteY4" fmla="*/ 14393 h 78269"/>
                  <a:gd name="connsiteX5" fmla="*/ 11441 w 66896"/>
                  <a:gd name="connsiteY5" fmla="*/ 26125 h 78269"/>
                  <a:gd name="connsiteX6" fmla="*/ 0 w 66896"/>
                  <a:gd name="connsiteY6" fmla="*/ 17381 h 78269"/>
                  <a:gd name="connsiteX7" fmla="*/ 28930 w 66896"/>
                  <a:gd name="connsiteY7" fmla="*/ 402 h 78269"/>
                  <a:gd name="connsiteX8" fmla="*/ 60775 w 66896"/>
                  <a:gd name="connsiteY8" fmla="*/ 24231 h 78269"/>
                  <a:gd name="connsiteX9" fmla="*/ 66896 w 66896"/>
                  <a:gd name="connsiteY9" fmla="*/ 71524 h 78269"/>
                  <a:gd name="connsiteX10" fmla="*/ 50500 w 66896"/>
                  <a:gd name="connsiteY10" fmla="*/ 73638 h 78269"/>
                  <a:gd name="connsiteX11" fmla="*/ 48751 w 66896"/>
                  <a:gd name="connsiteY11" fmla="*/ 60011 h 78269"/>
                  <a:gd name="connsiteX12" fmla="*/ 48314 w 66896"/>
                  <a:gd name="connsiteY12" fmla="*/ 60011 h 78269"/>
                  <a:gd name="connsiteX13" fmla="*/ 26817 w 66896"/>
                  <a:gd name="connsiteY13" fmla="*/ 78010 h 78269"/>
                  <a:gd name="connsiteX14" fmla="*/ 2113 w 66896"/>
                  <a:gd name="connsiteY14" fmla="*/ 59501 h 78269"/>
                  <a:gd name="connsiteX15" fmla="*/ 31262 w 66896"/>
                  <a:gd name="connsiteY15" fmla="*/ 64237 h 78269"/>
                  <a:gd name="connsiteX16" fmla="*/ 46346 w 66896"/>
                  <a:gd name="connsiteY16" fmla="*/ 45145 h 78269"/>
                  <a:gd name="connsiteX17" fmla="*/ 45763 w 66896"/>
                  <a:gd name="connsiteY17" fmla="*/ 40408 h 78269"/>
                  <a:gd name="connsiteX18" fmla="*/ 35343 w 66896"/>
                  <a:gd name="connsiteY18" fmla="*/ 41793 h 78269"/>
                  <a:gd name="connsiteX19" fmla="*/ 18947 w 66896"/>
                  <a:gd name="connsiteY19" fmla="*/ 55930 h 78269"/>
                  <a:gd name="connsiteX20" fmla="*/ 31262 w 66896"/>
                  <a:gd name="connsiteY20" fmla="*/ 64383 h 78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896" h="78269">
                    <a:moveTo>
                      <a:pt x="2259" y="59573"/>
                    </a:moveTo>
                    <a:cubicBezTo>
                      <a:pt x="218" y="43833"/>
                      <a:pt x="12169" y="34797"/>
                      <a:pt x="31189" y="32319"/>
                    </a:cubicBezTo>
                    <a:lnTo>
                      <a:pt x="44452" y="30571"/>
                    </a:lnTo>
                    <a:lnTo>
                      <a:pt x="43942" y="26344"/>
                    </a:lnTo>
                    <a:cubicBezTo>
                      <a:pt x="42776" y="17526"/>
                      <a:pt x="37893" y="13227"/>
                      <a:pt x="28930" y="14393"/>
                    </a:cubicBezTo>
                    <a:cubicBezTo>
                      <a:pt x="20623" y="15486"/>
                      <a:pt x="15230" y="19785"/>
                      <a:pt x="11441" y="26125"/>
                    </a:cubicBezTo>
                    <a:lnTo>
                      <a:pt x="0" y="17381"/>
                    </a:lnTo>
                    <a:cubicBezTo>
                      <a:pt x="5830" y="9146"/>
                      <a:pt x="14283" y="2296"/>
                      <a:pt x="28930" y="402"/>
                    </a:cubicBezTo>
                    <a:cubicBezTo>
                      <a:pt x="47585" y="-2003"/>
                      <a:pt x="58516" y="6450"/>
                      <a:pt x="60775" y="24231"/>
                    </a:cubicBezTo>
                    <a:lnTo>
                      <a:pt x="66896" y="71524"/>
                    </a:lnTo>
                    <a:lnTo>
                      <a:pt x="50500" y="73638"/>
                    </a:lnTo>
                    <a:lnTo>
                      <a:pt x="48751" y="60011"/>
                    </a:lnTo>
                    <a:lnTo>
                      <a:pt x="48314" y="60011"/>
                    </a:lnTo>
                    <a:cubicBezTo>
                      <a:pt x="45181" y="70941"/>
                      <a:pt x="38404" y="76553"/>
                      <a:pt x="26817" y="78010"/>
                    </a:cubicBezTo>
                    <a:cubicBezTo>
                      <a:pt x="13991" y="79686"/>
                      <a:pt x="3935" y="73200"/>
                      <a:pt x="2113" y="59501"/>
                    </a:cubicBezTo>
                    <a:close/>
                    <a:moveTo>
                      <a:pt x="31262" y="64237"/>
                    </a:moveTo>
                    <a:cubicBezTo>
                      <a:pt x="42193" y="62853"/>
                      <a:pt x="47440" y="53744"/>
                      <a:pt x="46346" y="45145"/>
                    </a:cubicBezTo>
                    <a:lnTo>
                      <a:pt x="45763" y="40408"/>
                    </a:lnTo>
                    <a:lnTo>
                      <a:pt x="35343" y="41793"/>
                    </a:lnTo>
                    <a:cubicBezTo>
                      <a:pt x="25651" y="43032"/>
                      <a:pt x="17781" y="46748"/>
                      <a:pt x="18947" y="55930"/>
                    </a:cubicBezTo>
                    <a:cubicBezTo>
                      <a:pt x="19748" y="62051"/>
                      <a:pt x="24412" y="65257"/>
                      <a:pt x="31262" y="64383"/>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34" name="Freeform 32">
                <a:extLst>
                  <a:ext uri="{FF2B5EF4-FFF2-40B4-BE49-F238E27FC236}">
                    <a16:creationId xmlns:a16="http://schemas.microsoft.com/office/drawing/2014/main" id="{D3954013-B441-16AD-E6B5-AC2C08B0C127}"/>
                  </a:ext>
                </a:extLst>
              </p:cNvPr>
              <p:cNvSpPr/>
              <p:nvPr/>
            </p:nvSpPr>
            <p:spPr>
              <a:xfrm>
                <a:off x="5707432" y="1611499"/>
                <a:ext cx="51155" cy="93598"/>
              </a:xfrm>
              <a:custGeom>
                <a:avLst/>
                <a:gdLst>
                  <a:gd name="connsiteX0" fmla="*/ 16250 w 51155"/>
                  <a:gd name="connsiteY0" fmla="*/ 76151 h 93598"/>
                  <a:gd name="connsiteX1" fmla="*/ 11586 w 51155"/>
                  <a:gd name="connsiteY1" fmla="*/ 34177 h 93598"/>
                  <a:gd name="connsiteX2" fmla="*/ 874 w 51155"/>
                  <a:gd name="connsiteY2" fmla="*/ 35343 h 93598"/>
                  <a:gd name="connsiteX3" fmla="*/ 0 w 51155"/>
                  <a:gd name="connsiteY3" fmla="*/ 27546 h 93598"/>
                  <a:gd name="connsiteX4" fmla="*/ 21789 w 51155"/>
                  <a:gd name="connsiteY4" fmla="*/ 364 h 93598"/>
                  <a:gd name="connsiteX5" fmla="*/ 24995 w 51155"/>
                  <a:gd name="connsiteY5" fmla="*/ 0 h 93598"/>
                  <a:gd name="connsiteX6" fmla="*/ 27108 w 51155"/>
                  <a:gd name="connsiteY6" fmla="*/ 19093 h 93598"/>
                  <a:gd name="connsiteX7" fmla="*/ 42994 w 51155"/>
                  <a:gd name="connsiteY7" fmla="*/ 17344 h 93598"/>
                  <a:gd name="connsiteX8" fmla="*/ 44452 w 51155"/>
                  <a:gd name="connsiteY8" fmla="*/ 30533 h 93598"/>
                  <a:gd name="connsiteX9" fmla="*/ 28566 w 51155"/>
                  <a:gd name="connsiteY9" fmla="*/ 32282 h 93598"/>
                  <a:gd name="connsiteX10" fmla="*/ 32865 w 51155"/>
                  <a:gd name="connsiteY10" fmla="*/ 70977 h 93598"/>
                  <a:gd name="connsiteX11" fmla="*/ 41610 w 51155"/>
                  <a:gd name="connsiteY11" fmla="*/ 78264 h 93598"/>
                  <a:gd name="connsiteX12" fmla="*/ 49553 w 51155"/>
                  <a:gd name="connsiteY12" fmla="*/ 76224 h 93598"/>
                  <a:gd name="connsiteX13" fmla="*/ 51156 w 51155"/>
                  <a:gd name="connsiteY13" fmla="*/ 90798 h 93598"/>
                  <a:gd name="connsiteX14" fmla="*/ 39642 w 51155"/>
                  <a:gd name="connsiteY14" fmla="*/ 93276 h 93598"/>
                  <a:gd name="connsiteX15" fmla="*/ 16177 w 51155"/>
                  <a:gd name="connsiteY15" fmla="*/ 76078 h 93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155" h="93598">
                    <a:moveTo>
                      <a:pt x="16250" y="76151"/>
                    </a:moveTo>
                    <a:lnTo>
                      <a:pt x="11586" y="34177"/>
                    </a:lnTo>
                    <a:lnTo>
                      <a:pt x="874" y="35343"/>
                    </a:lnTo>
                    <a:lnTo>
                      <a:pt x="0" y="27546"/>
                    </a:lnTo>
                    <a:lnTo>
                      <a:pt x="21789" y="364"/>
                    </a:lnTo>
                    <a:lnTo>
                      <a:pt x="24995" y="0"/>
                    </a:lnTo>
                    <a:lnTo>
                      <a:pt x="27108" y="19093"/>
                    </a:lnTo>
                    <a:lnTo>
                      <a:pt x="42994" y="17344"/>
                    </a:lnTo>
                    <a:lnTo>
                      <a:pt x="44452" y="30533"/>
                    </a:lnTo>
                    <a:lnTo>
                      <a:pt x="28566" y="32282"/>
                    </a:lnTo>
                    <a:lnTo>
                      <a:pt x="32865" y="70977"/>
                    </a:lnTo>
                    <a:cubicBezTo>
                      <a:pt x="33594" y="77390"/>
                      <a:pt x="35853" y="78920"/>
                      <a:pt x="41610" y="78264"/>
                    </a:cubicBezTo>
                    <a:cubicBezTo>
                      <a:pt x="44525" y="77973"/>
                      <a:pt x="47221" y="77171"/>
                      <a:pt x="49553" y="76224"/>
                    </a:cubicBezTo>
                    <a:lnTo>
                      <a:pt x="51156" y="90798"/>
                    </a:lnTo>
                    <a:cubicBezTo>
                      <a:pt x="48314" y="91891"/>
                      <a:pt x="43942" y="92839"/>
                      <a:pt x="39642" y="93276"/>
                    </a:cubicBezTo>
                    <a:cubicBezTo>
                      <a:pt x="24849" y="94952"/>
                      <a:pt x="17781" y="90215"/>
                      <a:pt x="16177" y="76078"/>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35" name="Freeform 33">
                <a:extLst>
                  <a:ext uri="{FF2B5EF4-FFF2-40B4-BE49-F238E27FC236}">
                    <a16:creationId xmlns:a16="http://schemas.microsoft.com/office/drawing/2014/main" id="{9E30A249-5832-2642-54DC-40D8DD2028CC}"/>
                  </a:ext>
                </a:extLst>
              </p:cNvPr>
              <p:cNvSpPr/>
              <p:nvPr/>
            </p:nvSpPr>
            <p:spPr>
              <a:xfrm>
                <a:off x="5764432" y="1595552"/>
                <a:ext cx="28040" cy="105069"/>
              </a:xfrm>
              <a:custGeom>
                <a:avLst/>
                <a:gdLst>
                  <a:gd name="connsiteX0" fmla="*/ 9240 w 28040"/>
                  <a:gd name="connsiteY0" fmla="*/ 61 h 105069"/>
                  <a:gd name="connsiteX1" fmla="*/ 20462 w 28040"/>
                  <a:gd name="connsiteY1" fmla="*/ 9097 h 105069"/>
                  <a:gd name="connsiteX2" fmla="*/ 11208 w 28040"/>
                  <a:gd name="connsiteY2" fmla="*/ 20028 h 105069"/>
                  <a:gd name="connsiteX3" fmla="*/ 58 w 28040"/>
                  <a:gd name="connsiteY3" fmla="*/ 11065 h 105069"/>
                  <a:gd name="connsiteX4" fmla="*/ 9240 w 28040"/>
                  <a:gd name="connsiteY4" fmla="*/ 61 h 105069"/>
                  <a:gd name="connsiteX5" fmla="*/ 3775 w 28040"/>
                  <a:gd name="connsiteY5" fmla="*/ 31469 h 105069"/>
                  <a:gd name="connsiteX6" fmla="*/ 20754 w 28040"/>
                  <a:gd name="connsiteY6" fmla="*/ 29793 h 105069"/>
                  <a:gd name="connsiteX7" fmla="*/ 28041 w 28040"/>
                  <a:gd name="connsiteY7" fmla="*/ 103393 h 105069"/>
                  <a:gd name="connsiteX8" fmla="*/ 10989 w 28040"/>
                  <a:gd name="connsiteY8" fmla="*/ 105069 h 105069"/>
                  <a:gd name="connsiteX9" fmla="*/ 3702 w 28040"/>
                  <a:gd name="connsiteY9" fmla="*/ 31469 h 105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40" h="105069">
                    <a:moveTo>
                      <a:pt x="9240" y="61"/>
                    </a:moveTo>
                    <a:cubicBezTo>
                      <a:pt x="15143" y="-522"/>
                      <a:pt x="19879" y="3122"/>
                      <a:pt x="20462" y="9097"/>
                    </a:cubicBezTo>
                    <a:cubicBezTo>
                      <a:pt x="21045" y="15000"/>
                      <a:pt x="17110" y="19445"/>
                      <a:pt x="11208" y="20028"/>
                    </a:cubicBezTo>
                    <a:cubicBezTo>
                      <a:pt x="5305" y="20611"/>
                      <a:pt x="641" y="16967"/>
                      <a:pt x="58" y="11065"/>
                    </a:cubicBezTo>
                    <a:cubicBezTo>
                      <a:pt x="-525" y="5162"/>
                      <a:pt x="3337" y="644"/>
                      <a:pt x="9240" y="61"/>
                    </a:cubicBezTo>
                    <a:close/>
                    <a:moveTo>
                      <a:pt x="3775" y="31469"/>
                    </a:moveTo>
                    <a:lnTo>
                      <a:pt x="20754" y="29793"/>
                    </a:lnTo>
                    <a:lnTo>
                      <a:pt x="28041" y="103393"/>
                    </a:lnTo>
                    <a:lnTo>
                      <a:pt x="10989" y="105069"/>
                    </a:lnTo>
                    <a:lnTo>
                      <a:pt x="3702" y="31469"/>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36" name="Freeform 34">
                <a:extLst>
                  <a:ext uri="{FF2B5EF4-FFF2-40B4-BE49-F238E27FC236}">
                    <a16:creationId xmlns:a16="http://schemas.microsoft.com/office/drawing/2014/main" id="{DD7F2C24-2F8D-5F25-9D89-B49466CCF622}"/>
                  </a:ext>
                </a:extLst>
              </p:cNvPr>
              <p:cNvSpPr/>
              <p:nvPr/>
            </p:nvSpPr>
            <p:spPr>
              <a:xfrm>
                <a:off x="5806756" y="1618382"/>
                <a:ext cx="69883" cy="78669"/>
              </a:xfrm>
              <a:custGeom>
                <a:avLst/>
                <a:gdLst>
                  <a:gd name="connsiteX0" fmla="*/ 0 w 69883"/>
                  <a:gd name="connsiteY0" fmla="*/ 4777 h 78669"/>
                  <a:gd name="connsiteX1" fmla="*/ 16542 w 69883"/>
                  <a:gd name="connsiteY1" fmla="*/ 3465 h 78669"/>
                  <a:gd name="connsiteX2" fmla="*/ 17781 w 69883"/>
                  <a:gd name="connsiteY2" fmla="*/ 18987 h 78669"/>
                  <a:gd name="connsiteX3" fmla="*/ 18072 w 69883"/>
                  <a:gd name="connsiteY3" fmla="*/ 18987 h 78669"/>
                  <a:gd name="connsiteX4" fmla="*/ 40881 w 69883"/>
                  <a:gd name="connsiteY4" fmla="*/ 113 h 78669"/>
                  <a:gd name="connsiteX5" fmla="*/ 65949 w 69883"/>
                  <a:gd name="connsiteY5" fmla="*/ 24744 h 78669"/>
                  <a:gd name="connsiteX6" fmla="*/ 69884 w 69883"/>
                  <a:gd name="connsiteY6" fmla="*/ 73422 h 78669"/>
                  <a:gd name="connsiteX7" fmla="*/ 52832 w 69883"/>
                  <a:gd name="connsiteY7" fmla="*/ 74807 h 78669"/>
                  <a:gd name="connsiteX8" fmla="*/ 49261 w 69883"/>
                  <a:gd name="connsiteY8" fmla="*/ 30282 h 78669"/>
                  <a:gd name="connsiteX9" fmla="*/ 34614 w 69883"/>
                  <a:gd name="connsiteY9" fmla="*/ 15489 h 78669"/>
                  <a:gd name="connsiteX10" fmla="*/ 19748 w 69883"/>
                  <a:gd name="connsiteY10" fmla="*/ 35966 h 78669"/>
                  <a:gd name="connsiteX11" fmla="*/ 23100 w 69883"/>
                  <a:gd name="connsiteY11" fmla="*/ 77284 h 78669"/>
                  <a:gd name="connsiteX12" fmla="*/ 6048 w 69883"/>
                  <a:gd name="connsiteY12" fmla="*/ 78669 h 78669"/>
                  <a:gd name="connsiteX13" fmla="*/ 72 w 69883"/>
                  <a:gd name="connsiteY13" fmla="*/ 4923 h 7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883" h="78669">
                    <a:moveTo>
                      <a:pt x="0" y="4777"/>
                    </a:moveTo>
                    <a:lnTo>
                      <a:pt x="16542" y="3465"/>
                    </a:lnTo>
                    <a:lnTo>
                      <a:pt x="17781" y="18987"/>
                    </a:lnTo>
                    <a:lnTo>
                      <a:pt x="18072" y="18987"/>
                    </a:lnTo>
                    <a:cubicBezTo>
                      <a:pt x="20768" y="10242"/>
                      <a:pt x="26817" y="1206"/>
                      <a:pt x="40881" y="113"/>
                    </a:cubicBezTo>
                    <a:cubicBezTo>
                      <a:pt x="56694" y="-1199"/>
                      <a:pt x="64637" y="9004"/>
                      <a:pt x="65949" y="24744"/>
                    </a:cubicBezTo>
                    <a:lnTo>
                      <a:pt x="69884" y="73422"/>
                    </a:lnTo>
                    <a:lnTo>
                      <a:pt x="52832" y="74807"/>
                    </a:lnTo>
                    <a:lnTo>
                      <a:pt x="49261" y="30282"/>
                    </a:lnTo>
                    <a:cubicBezTo>
                      <a:pt x="48460" y="20372"/>
                      <a:pt x="44525" y="14688"/>
                      <a:pt x="34614" y="15489"/>
                    </a:cubicBezTo>
                    <a:cubicBezTo>
                      <a:pt x="24412" y="16291"/>
                      <a:pt x="18728" y="23578"/>
                      <a:pt x="19748" y="35966"/>
                    </a:cubicBezTo>
                    <a:lnTo>
                      <a:pt x="23100" y="77284"/>
                    </a:lnTo>
                    <a:lnTo>
                      <a:pt x="6048" y="78669"/>
                    </a:lnTo>
                    <a:lnTo>
                      <a:pt x="72" y="4923"/>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37" name="Freeform 35">
                <a:extLst>
                  <a:ext uri="{FF2B5EF4-FFF2-40B4-BE49-F238E27FC236}">
                    <a16:creationId xmlns:a16="http://schemas.microsoft.com/office/drawing/2014/main" id="{06DC0E41-BE42-0D25-E977-939175B9DDCB}"/>
                  </a:ext>
                </a:extLst>
              </p:cNvPr>
              <p:cNvSpPr/>
              <p:nvPr/>
            </p:nvSpPr>
            <p:spPr>
              <a:xfrm>
                <a:off x="5890121" y="1601370"/>
                <a:ext cx="71250" cy="117808"/>
              </a:xfrm>
              <a:custGeom>
                <a:avLst/>
                <a:gdLst>
                  <a:gd name="connsiteX0" fmla="*/ 72 w 71250"/>
                  <a:gd name="connsiteY0" fmla="*/ 101146 h 117808"/>
                  <a:gd name="connsiteX1" fmla="*/ 12825 w 71250"/>
                  <a:gd name="connsiteY1" fmla="*/ 84896 h 117808"/>
                  <a:gd name="connsiteX2" fmla="*/ 3644 w 71250"/>
                  <a:gd name="connsiteY2" fmla="*/ 74621 h 117808"/>
                  <a:gd name="connsiteX3" fmla="*/ 13700 w 71250"/>
                  <a:gd name="connsiteY3" fmla="*/ 60629 h 117808"/>
                  <a:gd name="connsiteX4" fmla="*/ 218 w 71250"/>
                  <a:gd name="connsiteY4" fmla="*/ 39788 h 117808"/>
                  <a:gd name="connsiteX5" fmla="*/ 28857 w 71250"/>
                  <a:gd name="connsiteY5" fmla="*/ 12170 h 117808"/>
                  <a:gd name="connsiteX6" fmla="*/ 47367 w 71250"/>
                  <a:gd name="connsiteY6" fmla="*/ 15230 h 117808"/>
                  <a:gd name="connsiteX7" fmla="*/ 63034 w 71250"/>
                  <a:gd name="connsiteY7" fmla="*/ 146 h 117808"/>
                  <a:gd name="connsiteX8" fmla="*/ 65366 w 71250"/>
                  <a:gd name="connsiteY8" fmla="*/ 0 h 117808"/>
                  <a:gd name="connsiteX9" fmla="*/ 66240 w 71250"/>
                  <a:gd name="connsiteY9" fmla="*/ 14866 h 117808"/>
                  <a:gd name="connsiteX10" fmla="*/ 63763 w 71250"/>
                  <a:gd name="connsiteY10" fmla="*/ 15012 h 117808"/>
                  <a:gd name="connsiteX11" fmla="*/ 51885 w 71250"/>
                  <a:gd name="connsiteY11" fmla="*/ 18218 h 117808"/>
                  <a:gd name="connsiteX12" fmla="*/ 60338 w 71250"/>
                  <a:gd name="connsiteY12" fmla="*/ 36290 h 117808"/>
                  <a:gd name="connsiteX13" fmla="*/ 31553 w 71250"/>
                  <a:gd name="connsiteY13" fmla="*/ 63544 h 117808"/>
                  <a:gd name="connsiteX14" fmla="*/ 18655 w 71250"/>
                  <a:gd name="connsiteY14" fmla="*/ 62451 h 117808"/>
                  <a:gd name="connsiteX15" fmla="*/ 17198 w 71250"/>
                  <a:gd name="connsiteY15" fmla="*/ 66605 h 117808"/>
                  <a:gd name="connsiteX16" fmla="*/ 36290 w 71250"/>
                  <a:gd name="connsiteY16" fmla="*/ 71997 h 117808"/>
                  <a:gd name="connsiteX17" fmla="*/ 71196 w 71250"/>
                  <a:gd name="connsiteY17" fmla="*/ 91090 h 117808"/>
                  <a:gd name="connsiteX18" fmla="*/ 34978 w 71250"/>
                  <a:gd name="connsiteY18" fmla="*/ 117615 h 117808"/>
                  <a:gd name="connsiteX19" fmla="*/ 0 w 71250"/>
                  <a:gd name="connsiteY19" fmla="*/ 101292 h 117808"/>
                  <a:gd name="connsiteX20" fmla="*/ 35197 w 71250"/>
                  <a:gd name="connsiteY20" fmla="*/ 105154 h 117808"/>
                  <a:gd name="connsiteX21" fmla="*/ 54289 w 71250"/>
                  <a:gd name="connsiteY21" fmla="*/ 93786 h 117808"/>
                  <a:gd name="connsiteX22" fmla="*/ 34760 w 71250"/>
                  <a:gd name="connsiteY22" fmla="*/ 86718 h 117808"/>
                  <a:gd name="connsiteX23" fmla="*/ 18947 w 71250"/>
                  <a:gd name="connsiteY23" fmla="*/ 86135 h 117808"/>
                  <a:gd name="connsiteX24" fmla="*/ 15230 w 71250"/>
                  <a:gd name="connsiteY24" fmla="*/ 95462 h 117808"/>
                  <a:gd name="connsiteX25" fmla="*/ 35197 w 71250"/>
                  <a:gd name="connsiteY25" fmla="*/ 105154 h 117808"/>
                  <a:gd name="connsiteX26" fmla="*/ 30825 w 71250"/>
                  <a:gd name="connsiteY26" fmla="*/ 51520 h 117808"/>
                  <a:gd name="connsiteX27" fmla="*/ 43869 w 71250"/>
                  <a:gd name="connsiteY27" fmla="*/ 37238 h 117808"/>
                  <a:gd name="connsiteX28" fmla="*/ 29658 w 71250"/>
                  <a:gd name="connsiteY28" fmla="*/ 24121 h 117808"/>
                  <a:gd name="connsiteX29" fmla="*/ 16688 w 71250"/>
                  <a:gd name="connsiteY29" fmla="*/ 38841 h 117808"/>
                  <a:gd name="connsiteX30" fmla="*/ 30752 w 71250"/>
                  <a:gd name="connsiteY30" fmla="*/ 51520 h 117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250" h="117808">
                    <a:moveTo>
                      <a:pt x="72" y="101146"/>
                    </a:moveTo>
                    <a:cubicBezTo>
                      <a:pt x="-365" y="93422"/>
                      <a:pt x="4809" y="87519"/>
                      <a:pt x="12825" y="84896"/>
                    </a:cubicBezTo>
                    <a:cubicBezTo>
                      <a:pt x="7433" y="83220"/>
                      <a:pt x="3935" y="80232"/>
                      <a:pt x="3644" y="74621"/>
                    </a:cubicBezTo>
                    <a:cubicBezTo>
                      <a:pt x="3279" y="68572"/>
                      <a:pt x="6850" y="63690"/>
                      <a:pt x="13700" y="60629"/>
                    </a:cubicBezTo>
                    <a:cubicBezTo>
                      <a:pt x="5465" y="56840"/>
                      <a:pt x="801" y="49553"/>
                      <a:pt x="218" y="39788"/>
                    </a:cubicBezTo>
                    <a:cubicBezTo>
                      <a:pt x="-583" y="25724"/>
                      <a:pt x="7943" y="13408"/>
                      <a:pt x="28857" y="12170"/>
                    </a:cubicBezTo>
                    <a:cubicBezTo>
                      <a:pt x="36581" y="11732"/>
                      <a:pt x="42630" y="12898"/>
                      <a:pt x="47367" y="15230"/>
                    </a:cubicBezTo>
                    <a:cubicBezTo>
                      <a:pt x="49189" y="6486"/>
                      <a:pt x="53707" y="729"/>
                      <a:pt x="63034" y="146"/>
                    </a:cubicBezTo>
                    <a:lnTo>
                      <a:pt x="65366" y="0"/>
                    </a:lnTo>
                    <a:lnTo>
                      <a:pt x="66240" y="14866"/>
                    </a:lnTo>
                    <a:lnTo>
                      <a:pt x="63763" y="15012"/>
                    </a:lnTo>
                    <a:cubicBezTo>
                      <a:pt x="57204" y="15376"/>
                      <a:pt x="54216" y="16396"/>
                      <a:pt x="51885" y="18218"/>
                    </a:cubicBezTo>
                    <a:cubicBezTo>
                      <a:pt x="57204" y="22663"/>
                      <a:pt x="59900" y="29149"/>
                      <a:pt x="60338" y="36290"/>
                    </a:cubicBezTo>
                    <a:cubicBezTo>
                      <a:pt x="61139" y="49990"/>
                      <a:pt x="52176" y="62305"/>
                      <a:pt x="31553" y="63544"/>
                    </a:cubicBezTo>
                    <a:cubicBezTo>
                      <a:pt x="26744" y="63836"/>
                      <a:pt x="22444" y="63544"/>
                      <a:pt x="18655" y="62451"/>
                    </a:cubicBezTo>
                    <a:cubicBezTo>
                      <a:pt x="17708" y="63690"/>
                      <a:pt x="17125" y="65075"/>
                      <a:pt x="17198" y="66605"/>
                    </a:cubicBezTo>
                    <a:cubicBezTo>
                      <a:pt x="17489" y="71706"/>
                      <a:pt x="23246" y="72070"/>
                      <a:pt x="36290" y="71997"/>
                    </a:cubicBezTo>
                    <a:cubicBezTo>
                      <a:pt x="54872" y="71779"/>
                      <a:pt x="70175" y="73601"/>
                      <a:pt x="71196" y="91090"/>
                    </a:cubicBezTo>
                    <a:cubicBezTo>
                      <a:pt x="72143" y="107122"/>
                      <a:pt x="60848" y="116085"/>
                      <a:pt x="34978" y="117615"/>
                    </a:cubicBezTo>
                    <a:cubicBezTo>
                      <a:pt x="10712" y="119073"/>
                      <a:pt x="656" y="112150"/>
                      <a:pt x="0" y="101292"/>
                    </a:cubicBezTo>
                    <a:close/>
                    <a:moveTo>
                      <a:pt x="35197" y="105154"/>
                    </a:moveTo>
                    <a:cubicBezTo>
                      <a:pt x="48532" y="104353"/>
                      <a:pt x="54726" y="101219"/>
                      <a:pt x="54289" y="93786"/>
                    </a:cubicBezTo>
                    <a:cubicBezTo>
                      <a:pt x="53925" y="87519"/>
                      <a:pt x="48460" y="86572"/>
                      <a:pt x="34760" y="86718"/>
                    </a:cubicBezTo>
                    <a:cubicBezTo>
                      <a:pt x="29076" y="86718"/>
                      <a:pt x="23683" y="86718"/>
                      <a:pt x="18947" y="86135"/>
                    </a:cubicBezTo>
                    <a:cubicBezTo>
                      <a:pt x="16542" y="88466"/>
                      <a:pt x="15012" y="91454"/>
                      <a:pt x="15230" y="95462"/>
                    </a:cubicBezTo>
                    <a:cubicBezTo>
                      <a:pt x="15667" y="102968"/>
                      <a:pt x="20841" y="106029"/>
                      <a:pt x="35197" y="105154"/>
                    </a:cubicBezTo>
                    <a:close/>
                    <a:moveTo>
                      <a:pt x="30825" y="51520"/>
                    </a:moveTo>
                    <a:cubicBezTo>
                      <a:pt x="39351" y="51010"/>
                      <a:pt x="44306" y="45326"/>
                      <a:pt x="43869" y="37238"/>
                    </a:cubicBezTo>
                    <a:cubicBezTo>
                      <a:pt x="43358" y="28639"/>
                      <a:pt x="38039" y="23611"/>
                      <a:pt x="29658" y="24121"/>
                    </a:cubicBezTo>
                    <a:cubicBezTo>
                      <a:pt x="21060" y="24631"/>
                      <a:pt x="16177" y="30242"/>
                      <a:pt x="16688" y="38841"/>
                    </a:cubicBezTo>
                    <a:cubicBezTo>
                      <a:pt x="17198" y="47804"/>
                      <a:pt x="22954" y="52031"/>
                      <a:pt x="30752" y="51520"/>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38" name="Freeform 36">
                <a:extLst>
                  <a:ext uri="{FF2B5EF4-FFF2-40B4-BE49-F238E27FC236}">
                    <a16:creationId xmlns:a16="http://schemas.microsoft.com/office/drawing/2014/main" id="{E88448ED-16A1-B34A-68B0-F7A8AB8B71F2}"/>
                  </a:ext>
                </a:extLst>
              </p:cNvPr>
              <p:cNvSpPr/>
              <p:nvPr/>
            </p:nvSpPr>
            <p:spPr>
              <a:xfrm>
                <a:off x="6001013" y="1608567"/>
                <a:ext cx="70631" cy="76702"/>
              </a:xfrm>
              <a:custGeom>
                <a:avLst/>
                <a:gdLst>
                  <a:gd name="connsiteX0" fmla="*/ 19 w 70631"/>
                  <a:gd name="connsiteY0" fmla="*/ 39368 h 76702"/>
                  <a:gd name="connsiteX1" fmla="*/ 36163 w 70631"/>
                  <a:gd name="connsiteY1" fmla="*/ 17 h 76702"/>
                  <a:gd name="connsiteX2" fmla="*/ 70632 w 70631"/>
                  <a:gd name="connsiteY2" fmla="*/ 35215 h 76702"/>
                  <a:gd name="connsiteX3" fmla="*/ 70559 w 70631"/>
                  <a:gd name="connsiteY3" fmla="*/ 41700 h 76702"/>
                  <a:gd name="connsiteX4" fmla="*/ 18237 w 70631"/>
                  <a:gd name="connsiteY4" fmla="*/ 43085 h 76702"/>
                  <a:gd name="connsiteX5" fmla="*/ 40171 w 70631"/>
                  <a:gd name="connsiteY5" fmla="*/ 63270 h 76702"/>
                  <a:gd name="connsiteX6" fmla="*/ 58826 w 70631"/>
                  <a:gd name="connsiteY6" fmla="*/ 54526 h 76702"/>
                  <a:gd name="connsiteX7" fmla="*/ 69028 w 70631"/>
                  <a:gd name="connsiteY7" fmla="*/ 64218 h 76702"/>
                  <a:gd name="connsiteX8" fmla="*/ 39734 w 70631"/>
                  <a:gd name="connsiteY8" fmla="*/ 76679 h 76702"/>
                  <a:gd name="connsiteX9" fmla="*/ 92 w 70631"/>
                  <a:gd name="connsiteY9" fmla="*/ 39368 h 76702"/>
                  <a:gd name="connsiteX10" fmla="*/ 53434 w 70631"/>
                  <a:gd name="connsiteY10" fmla="*/ 31498 h 76702"/>
                  <a:gd name="connsiteX11" fmla="*/ 36018 w 70631"/>
                  <a:gd name="connsiteY11" fmla="*/ 13134 h 76702"/>
                  <a:gd name="connsiteX12" fmla="*/ 18091 w 70631"/>
                  <a:gd name="connsiteY12" fmla="*/ 32373 h 76702"/>
                  <a:gd name="connsiteX13" fmla="*/ 53361 w 70631"/>
                  <a:gd name="connsiteY13" fmla="*/ 31425 h 76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631" h="76702">
                    <a:moveTo>
                      <a:pt x="19" y="39368"/>
                    </a:moveTo>
                    <a:cubicBezTo>
                      <a:pt x="-637" y="13644"/>
                      <a:pt x="15978" y="528"/>
                      <a:pt x="36163" y="17"/>
                    </a:cubicBezTo>
                    <a:cubicBezTo>
                      <a:pt x="60940" y="-638"/>
                      <a:pt x="70194" y="17288"/>
                      <a:pt x="70632" y="35215"/>
                    </a:cubicBezTo>
                    <a:cubicBezTo>
                      <a:pt x="70632" y="37401"/>
                      <a:pt x="70632" y="39587"/>
                      <a:pt x="70559" y="41700"/>
                    </a:cubicBezTo>
                    <a:lnTo>
                      <a:pt x="18237" y="43085"/>
                    </a:lnTo>
                    <a:cubicBezTo>
                      <a:pt x="19840" y="57076"/>
                      <a:pt x="27273" y="63635"/>
                      <a:pt x="40171" y="63270"/>
                    </a:cubicBezTo>
                    <a:cubicBezTo>
                      <a:pt x="48479" y="63052"/>
                      <a:pt x="53944" y="60501"/>
                      <a:pt x="58826" y="54526"/>
                    </a:cubicBezTo>
                    <a:lnTo>
                      <a:pt x="69028" y="64218"/>
                    </a:lnTo>
                    <a:cubicBezTo>
                      <a:pt x="62324" y="72161"/>
                      <a:pt x="54017" y="76314"/>
                      <a:pt x="39734" y="76679"/>
                    </a:cubicBezTo>
                    <a:cubicBezTo>
                      <a:pt x="15978" y="77335"/>
                      <a:pt x="747" y="64145"/>
                      <a:pt x="92" y="39368"/>
                    </a:cubicBezTo>
                    <a:close/>
                    <a:moveTo>
                      <a:pt x="53434" y="31498"/>
                    </a:moveTo>
                    <a:cubicBezTo>
                      <a:pt x="52122" y="18454"/>
                      <a:pt x="45637" y="12916"/>
                      <a:pt x="36018" y="13134"/>
                    </a:cubicBezTo>
                    <a:cubicBezTo>
                      <a:pt x="26544" y="13353"/>
                      <a:pt x="19475" y="19328"/>
                      <a:pt x="18091" y="32373"/>
                    </a:cubicBezTo>
                    <a:lnTo>
                      <a:pt x="53361" y="31425"/>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39" name="Freeform 37">
                <a:extLst>
                  <a:ext uri="{FF2B5EF4-FFF2-40B4-BE49-F238E27FC236}">
                    <a16:creationId xmlns:a16="http://schemas.microsoft.com/office/drawing/2014/main" id="{8947E4CD-AF40-2968-A293-896CE1BECE91}"/>
                  </a:ext>
                </a:extLst>
              </p:cNvPr>
              <p:cNvSpPr/>
              <p:nvPr/>
            </p:nvSpPr>
            <p:spPr>
              <a:xfrm>
                <a:off x="6087021" y="1607121"/>
                <a:ext cx="65366" cy="76083"/>
              </a:xfrm>
              <a:custGeom>
                <a:avLst/>
                <a:gdLst>
                  <a:gd name="connsiteX0" fmla="*/ 73 w 65366"/>
                  <a:gd name="connsiteY0" fmla="*/ 2119 h 76083"/>
                  <a:gd name="connsiteX1" fmla="*/ 16615 w 65366"/>
                  <a:gd name="connsiteY1" fmla="*/ 1828 h 76083"/>
                  <a:gd name="connsiteX2" fmla="*/ 16906 w 65366"/>
                  <a:gd name="connsiteY2" fmla="*/ 17349 h 76083"/>
                  <a:gd name="connsiteX3" fmla="*/ 17198 w 65366"/>
                  <a:gd name="connsiteY3" fmla="*/ 17349 h 76083"/>
                  <a:gd name="connsiteX4" fmla="*/ 41173 w 65366"/>
                  <a:gd name="connsiteY4" fmla="*/ 6 h 76083"/>
                  <a:gd name="connsiteX5" fmla="*/ 64564 w 65366"/>
                  <a:gd name="connsiteY5" fmla="*/ 26167 h 76083"/>
                  <a:gd name="connsiteX6" fmla="*/ 65366 w 65366"/>
                  <a:gd name="connsiteY6" fmla="*/ 74991 h 76083"/>
                  <a:gd name="connsiteX7" fmla="*/ 48241 w 65366"/>
                  <a:gd name="connsiteY7" fmla="*/ 75282 h 76083"/>
                  <a:gd name="connsiteX8" fmla="*/ 47513 w 65366"/>
                  <a:gd name="connsiteY8" fmla="*/ 30612 h 76083"/>
                  <a:gd name="connsiteX9" fmla="*/ 33886 w 65366"/>
                  <a:gd name="connsiteY9" fmla="*/ 14872 h 76083"/>
                  <a:gd name="connsiteX10" fmla="*/ 17708 w 65366"/>
                  <a:gd name="connsiteY10" fmla="*/ 34328 h 76083"/>
                  <a:gd name="connsiteX11" fmla="*/ 18364 w 65366"/>
                  <a:gd name="connsiteY11" fmla="*/ 75793 h 76083"/>
                  <a:gd name="connsiteX12" fmla="*/ 1239 w 65366"/>
                  <a:gd name="connsiteY12" fmla="*/ 76084 h 76083"/>
                  <a:gd name="connsiteX13" fmla="*/ 0 w 65366"/>
                  <a:gd name="connsiteY13" fmla="*/ 2119 h 76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366" h="76083">
                    <a:moveTo>
                      <a:pt x="73" y="2119"/>
                    </a:moveTo>
                    <a:lnTo>
                      <a:pt x="16615" y="1828"/>
                    </a:lnTo>
                    <a:lnTo>
                      <a:pt x="16906" y="17349"/>
                    </a:lnTo>
                    <a:lnTo>
                      <a:pt x="17198" y="17349"/>
                    </a:lnTo>
                    <a:cubicBezTo>
                      <a:pt x="20404" y="8823"/>
                      <a:pt x="27036" y="224"/>
                      <a:pt x="41173" y="6"/>
                    </a:cubicBezTo>
                    <a:cubicBezTo>
                      <a:pt x="57059" y="-286"/>
                      <a:pt x="64346" y="10426"/>
                      <a:pt x="64564" y="26167"/>
                    </a:cubicBezTo>
                    <a:lnTo>
                      <a:pt x="65366" y="74991"/>
                    </a:lnTo>
                    <a:lnTo>
                      <a:pt x="48241" y="75282"/>
                    </a:lnTo>
                    <a:lnTo>
                      <a:pt x="47513" y="30612"/>
                    </a:lnTo>
                    <a:cubicBezTo>
                      <a:pt x="47367" y="20701"/>
                      <a:pt x="43796" y="14726"/>
                      <a:pt x="33886" y="14872"/>
                    </a:cubicBezTo>
                    <a:cubicBezTo>
                      <a:pt x="23683" y="15017"/>
                      <a:pt x="17489" y="21867"/>
                      <a:pt x="17708" y="34328"/>
                    </a:cubicBezTo>
                    <a:lnTo>
                      <a:pt x="18364" y="75793"/>
                    </a:lnTo>
                    <a:lnTo>
                      <a:pt x="1239" y="76084"/>
                    </a:lnTo>
                    <a:lnTo>
                      <a:pt x="0" y="2119"/>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40" name="Freeform 38">
                <a:extLst>
                  <a:ext uri="{FF2B5EF4-FFF2-40B4-BE49-F238E27FC236}">
                    <a16:creationId xmlns:a16="http://schemas.microsoft.com/office/drawing/2014/main" id="{AF4588F1-739E-1DC2-F23A-F01357EB10C4}"/>
                  </a:ext>
                </a:extLst>
              </p:cNvPr>
              <p:cNvSpPr/>
              <p:nvPr/>
            </p:nvSpPr>
            <p:spPr>
              <a:xfrm>
                <a:off x="6167966" y="1583006"/>
                <a:ext cx="75729" cy="101591"/>
              </a:xfrm>
              <a:custGeom>
                <a:avLst/>
                <a:gdLst>
                  <a:gd name="connsiteX0" fmla="*/ 88 w 75729"/>
                  <a:gd name="connsiteY0" fmla="*/ 62670 h 101591"/>
                  <a:gd name="connsiteX1" fmla="*/ 31569 w 75729"/>
                  <a:gd name="connsiteY1" fmla="*/ 24922 h 101591"/>
                  <a:gd name="connsiteX2" fmla="*/ 57366 w 75729"/>
                  <a:gd name="connsiteY2" fmla="*/ 41537 h 101591"/>
                  <a:gd name="connsiteX3" fmla="*/ 57730 w 75729"/>
                  <a:gd name="connsiteY3" fmla="*/ 41537 h 101591"/>
                  <a:gd name="connsiteX4" fmla="*/ 58605 w 75729"/>
                  <a:gd name="connsiteY4" fmla="*/ 0 h 101591"/>
                  <a:gd name="connsiteX5" fmla="*/ 75729 w 75729"/>
                  <a:gd name="connsiteY5" fmla="*/ 364 h 101591"/>
                  <a:gd name="connsiteX6" fmla="*/ 73543 w 75729"/>
                  <a:gd name="connsiteY6" fmla="*/ 101146 h 101591"/>
                  <a:gd name="connsiteX7" fmla="*/ 57074 w 75729"/>
                  <a:gd name="connsiteY7" fmla="*/ 100782 h 101591"/>
                  <a:gd name="connsiteX8" fmla="*/ 57366 w 75729"/>
                  <a:gd name="connsiteY8" fmla="*/ 85552 h 101591"/>
                  <a:gd name="connsiteX9" fmla="*/ 57001 w 75729"/>
                  <a:gd name="connsiteY9" fmla="*/ 85552 h 101591"/>
                  <a:gd name="connsiteX10" fmla="*/ 30549 w 75729"/>
                  <a:gd name="connsiteY10" fmla="*/ 101583 h 101591"/>
                  <a:gd name="connsiteX11" fmla="*/ 15 w 75729"/>
                  <a:gd name="connsiteY11" fmla="*/ 62597 h 101591"/>
                  <a:gd name="connsiteX12" fmla="*/ 37253 w 75729"/>
                  <a:gd name="connsiteY12" fmla="*/ 87956 h 101591"/>
                  <a:gd name="connsiteX13" fmla="*/ 57438 w 75729"/>
                  <a:gd name="connsiteY13" fmla="*/ 63909 h 101591"/>
                  <a:gd name="connsiteX14" fmla="*/ 38273 w 75729"/>
                  <a:gd name="connsiteY14" fmla="*/ 38986 h 101591"/>
                  <a:gd name="connsiteX15" fmla="*/ 18015 w 75729"/>
                  <a:gd name="connsiteY15" fmla="*/ 63034 h 101591"/>
                  <a:gd name="connsiteX16" fmla="*/ 37253 w 75729"/>
                  <a:gd name="connsiteY16" fmla="*/ 87956 h 10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729" h="101591">
                    <a:moveTo>
                      <a:pt x="88" y="62670"/>
                    </a:moveTo>
                    <a:cubicBezTo>
                      <a:pt x="598" y="39642"/>
                      <a:pt x="12477" y="24558"/>
                      <a:pt x="31569" y="24922"/>
                    </a:cubicBezTo>
                    <a:cubicBezTo>
                      <a:pt x="45997" y="25214"/>
                      <a:pt x="54087" y="33084"/>
                      <a:pt x="57366" y="41537"/>
                    </a:cubicBezTo>
                    <a:lnTo>
                      <a:pt x="57730" y="41537"/>
                    </a:lnTo>
                    <a:cubicBezTo>
                      <a:pt x="57730" y="41537"/>
                      <a:pt x="58605" y="0"/>
                      <a:pt x="58605" y="0"/>
                    </a:cubicBezTo>
                    <a:lnTo>
                      <a:pt x="75729" y="364"/>
                    </a:lnTo>
                    <a:lnTo>
                      <a:pt x="73543" y="101146"/>
                    </a:lnTo>
                    <a:lnTo>
                      <a:pt x="57074" y="100782"/>
                    </a:lnTo>
                    <a:lnTo>
                      <a:pt x="57366" y="85552"/>
                    </a:lnTo>
                    <a:lnTo>
                      <a:pt x="57001" y="85552"/>
                    </a:lnTo>
                    <a:cubicBezTo>
                      <a:pt x="53212" y="94005"/>
                      <a:pt x="46143" y="101875"/>
                      <a:pt x="30549" y="101583"/>
                    </a:cubicBezTo>
                    <a:cubicBezTo>
                      <a:pt x="11748" y="101146"/>
                      <a:pt x="-494" y="86353"/>
                      <a:pt x="15" y="62597"/>
                    </a:cubicBezTo>
                    <a:close/>
                    <a:moveTo>
                      <a:pt x="37253" y="87956"/>
                    </a:moveTo>
                    <a:cubicBezTo>
                      <a:pt x="48767" y="88248"/>
                      <a:pt x="57074" y="79795"/>
                      <a:pt x="57438" y="63909"/>
                    </a:cubicBezTo>
                    <a:cubicBezTo>
                      <a:pt x="57803" y="47950"/>
                      <a:pt x="49787" y="39278"/>
                      <a:pt x="38273" y="38986"/>
                    </a:cubicBezTo>
                    <a:cubicBezTo>
                      <a:pt x="26687" y="38768"/>
                      <a:pt x="18379" y="47075"/>
                      <a:pt x="18015" y="63034"/>
                    </a:cubicBezTo>
                    <a:cubicBezTo>
                      <a:pt x="17651" y="78920"/>
                      <a:pt x="25666" y="87665"/>
                      <a:pt x="37253" y="87956"/>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41" name="Freeform 39">
                <a:extLst>
                  <a:ext uri="{FF2B5EF4-FFF2-40B4-BE49-F238E27FC236}">
                    <a16:creationId xmlns:a16="http://schemas.microsoft.com/office/drawing/2014/main" id="{9965B0B1-6C8B-1C47-C05B-1305E5582F3B}"/>
                  </a:ext>
                </a:extLst>
              </p:cNvPr>
              <p:cNvSpPr/>
              <p:nvPr/>
            </p:nvSpPr>
            <p:spPr>
              <a:xfrm>
                <a:off x="6259144" y="1640283"/>
                <a:ext cx="36435" cy="16323"/>
              </a:xfrm>
              <a:custGeom>
                <a:avLst/>
                <a:gdLst>
                  <a:gd name="connsiteX0" fmla="*/ 583 w 36435"/>
                  <a:gd name="connsiteY0" fmla="*/ 0 h 16323"/>
                  <a:gd name="connsiteX1" fmla="*/ 36436 w 36435"/>
                  <a:gd name="connsiteY1" fmla="*/ 1385 h 16323"/>
                  <a:gd name="connsiteX2" fmla="*/ 35853 w 36435"/>
                  <a:gd name="connsiteY2" fmla="*/ 16323 h 16323"/>
                  <a:gd name="connsiteX3" fmla="*/ 0 w 36435"/>
                  <a:gd name="connsiteY3" fmla="*/ 14939 h 16323"/>
                  <a:gd name="connsiteX4" fmla="*/ 583 w 36435"/>
                  <a:gd name="connsiteY4" fmla="*/ 0 h 16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35" h="16323">
                    <a:moveTo>
                      <a:pt x="583" y="0"/>
                    </a:moveTo>
                    <a:lnTo>
                      <a:pt x="36436" y="1385"/>
                    </a:lnTo>
                    <a:lnTo>
                      <a:pt x="35853" y="16323"/>
                    </a:lnTo>
                    <a:lnTo>
                      <a:pt x="0" y="14939"/>
                    </a:lnTo>
                    <a:lnTo>
                      <a:pt x="583" y="0"/>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42" name="Freeform 40">
                <a:extLst>
                  <a:ext uri="{FF2B5EF4-FFF2-40B4-BE49-F238E27FC236}">
                    <a16:creationId xmlns:a16="http://schemas.microsoft.com/office/drawing/2014/main" id="{B5E17E37-B608-8F5E-C769-887795362DDB}"/>
                  </a:ext>
                </a:extLst>
              </p:cNvPr>
              <p:cNvSpPr/>
              <p:nvPr/>
            </p:nvSpPr>
            <p:spPr>
              <a:xfrm>
                <a:off x="6304544" y="1594957"/>
                <a:ext cx="44524" cy="94743"/>
              </a:xfrm>
              <a:custGeom>
                <a:avLst/>
                <a:gdLst>
                  <a:gd name="connsiteX0" fmla="*/ 8526 w 44524"/>
                  <a:gd name="connsiteY0" fmla="*/ 73819 h 94743"/>
                  <a:gd name="connsiteX1" fmla="*/ 10785 w 44524"/>
                  <a:gd name="connsiteY1" fmla="*/ 31626 h 94743"/>
                  <a:gd name="connsiteX2" fmla="*/ 0 w 44524"/>
                  <a:gd name="connsiteY2" fmla="*/ 31043 h 94743"/>
                  <a:gd name="connsiteX3" fmla="*/ 437 w 44524"/>
                  <a:gd name="connsiteY3" fmla="*/ 23246 h 94743"/>
                  <a:gd name="connsiteX4" fmla="*/ 26380 w 44524"/>
                  <a:gd name="connsiteY4" fmla="*/ 0 h 94743"/>
                  <a:gd name="connsiteX5" fmla="*/ 29586 w 44524"/>
                  <a:gd name="connsiteY5" fmla="*/ 219 h 94743"/>
                  <a:gd name="connsiteX6" fmla="*/ 28566 w 44524"/>
                  <a:gd name="connsiteY6" fmla="*/ 19384 h 94743"/>
                  <a:gd name="connsiteX7" fmla="*/ 44525 w 44524"/>
                  <a:gd name="connsiteY7" fmla="*/ 20258 h 94743"/>
                  <a:gd name="connsiteX8" fmla="*/ 43796 w 44524"/>
                  <a:gd name="connsiteY8" fmla="*/ 33521 h 94743"/>
                  <a:gd name="connsiteX9" fmla="*/ 27837 w 44524"/>
                  <a:gd name="connsiteY9" fmla="*/ 32647 h 94743"/>
                  <a:gd name="connsiteX10" fmla="*/ 25724 w 44524"/>
                  <a:gd name="connsiteY10" fmla="*/ 71487 h 94743"/>
                  <a:gd name="connsiteX11" fmla="*/ 33157 w 44524"/>
                  <a:gd name="connsiteY11" fmla="*/ 80159 h 94743"/>
                  <a:gd name="connsiteX12" fmla="*/ 41318 w 44524"/>
                  <a:gd name="connsiteY12" fmla="*/ 79430 h 94743"/>
                  <a:gd name="connsiteX13" fmla="*/ 40517 w 44524"/>
                  <a:gd name="connsiteY13" fmla="*/ 94078 h 94743"/>
                  <a:gd name="connsiteX14" fmla="*/ 28784 w 44524"/>
                  <a:gd name="connsiteY14" fmla="*/ 94661 h 94743"/>
                  <a:gd name="connsiteX15" fmla="*/ 8453 w 44524"/>
                  <a:gd name="connsiteY15" fmla="*/ 73892 h 94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524" h="94743">
                    <a:moveTo>
                      <a:pt x="8526" y="73819"/>
                    </a:moveTo>
                    <a:lnTo>
                      <a:pt x="10785" y="31626"/>
                    </a:lnTo>
                    <a:lnTo>
                      <a:pt x="0" y="31043"/>
                    </a:lnTo>
                    <a:lnTo>
                      <a:pt x="437" y="23246"/>
                    </a:lnTo>
                    <a:lnTo>
                      <a:pt x="26380" y="0"/>
                    </a:lnTo>
                    <a:lnTo>
                      <a:pt x="29586" y="219"/>
                    </a:lnTo>
                    <a:lnTo>
                      <a:pt x="28566" y="19384"/>
                    </a:lnTo>
                    <a:lnTo>
                      <a:pt x="44525" y="20258"/>
                    </a:lnTo>
                    <a:lnTo>
                      <a:pt x="43796" y="33521"/>
                    </a:lnTo>
                    <a:lnTo>
                      <a:pt x="27837" y="32647"/>
                    </a:lnTo>
                    <a:lnTo>
                      <a:pt x="25724" y="71487"/>
                    </a:lnTo>
                    <a:cubicBezTo>
                      <a:pt x="25359" y="77973"/>
                      <a:pt x="27399" y="79868"/>
                      <a:pt x="33157" y="80159"/>
                    </a:cubicBezTo>
                    <a:cubicBezTo>
                      <a:pt x="36071" y="80305"/>
                      <a:pt x="38840" y="80013"/>
                      <a:pt x="41318" y="79430"/>
                    </a:cubicBezTo>
                    <a:lnTo>
                      <a:pt x="40517" y="94078"/>
                    </a:lnTo>
                    <a:cubicBezTo>
                      <a:pt x="37529" y="94661"/>
                      <a:pt x="33084" y="94879"/>
                      <a:pt x="28784" y="94661"/>
                    </a:cubicBezTo>
                    <a:cubicBezTo>
                      <a:pt x="13918" y="93859"/>
                      <a:pt x="7724" y="88029"/>
                      <a:pt x="8453" y="73892"/>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43" name="Freeform 41">
                <a:extLst>
                  <a:ext uri="{FF2B5EF4-FFF2-40B4-BE49-F238E27FC236}">
                    <a16:creationId xmlns:a16="http://schemas.microsoft.com/office/drawing/2014/main" id="{93D25CEE-3D01-A4F1-4930-C39FF9730E05}"/>
                  </a:ext>
                </a:extLst>
              </p:cNvPr>
              <p:cNvSpPr/>
              <p:nvPr/>
            </p:nvSpPr>
            <p:spPr>
              <a:xfrm>
                <a:off x="6357171" y="1616839"/>
                <a:ext cx="75322" cy="76766"/>
              </a:xfrm>
              <a:custGeom>
                <a:avLst/>
                <a:gdLst>
                  <a:gd name="connsiteX0" fmla="*/ 132 w 75322"/>
                  <a:gd name="connsiteY0" fmla="*/ 35687 h 76766"/>
                  <a:gd name="connsiteX1" fmla="*/ 40430 w 75322"/>
                  <a:gd name="connsiteY1" fmla="*/ 125 h 76766"/>
                  <a:gd name="connsiteX2" fmla="*/ 75190 w 75322"/>
                  <a:gd name="connsiteY2" fmla="*/ 41152 h 76766"/>
                  <a:gd name="connsiteX3" fmla="*/ 34892 w 75322"/>
                  <a:gd name="connsiteY3" fmla="*/ 76641 h 76766"/>
                  <a:gd name="connsiteX4" fmla="*/ 132 w 75322"/>
                  <a:gd name="connsiteY4" fmla="*/ 35687 h 76766"/>
                  <a:gd name="connsiteX5" fmla="*/ 35912 w 75322"/>
                  <a:gd name="connsiteY5" fmla="*/ 62795 h 76766"/>
                  <a:gd name="connsiteX6" fmla="*/ 57336 w 75322"/>
                  <a:gd name="connsiteY6" fmla="*/ 39840 h 76766"/>
                  <a:gd name="connsiteX7" fmla="*/ 39410 w 75322"/>
                  <a:gd name="connsiteY7" fmla="*/ 14044 h 76766"/>
                  <a:gd name="connsiteX8" fmla="*/ 17986 w 75322"/>
                  <a:gd name="connsiteY8" fmla="*/ 36998 h 76766"/>
                  <a:gd name="connsiteX9" fmla="*/ 35912 w 75322"/>
                  <a:gd name="connsiteY9" fmla="*/ 62795 h 76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322" h="76766">
                    <a:moveTo>
                      <a:pt x="132" y="35687"/>
                    </a:moveTo>
                    <a:cubicBezTo>
                      <a:pt x="1808" y="12440"/>
                      <a:pt x="18423" y="-1478"/>
                      <a:pt x="40430" y="125"/>
                    </a:cubicBezTo>
                    <a:cubicBezTo>
                      <a:pt x="62437" y="1728"/>
                      <a:pt x="76866" y="17906"/>
                      <a:pt x="75190" y="41152"/>
                    </a:cubicBezTo>
                    <a:cubicBezTo>
                      <a:pt x="73514" y="64398"/>
                      <a:pt x="56899" y="78244"/>
                      <a:pt x="34892" y="76641"/>
                    </a:cubicBezTo>
                    <a:cubicBezTo>
                      <a:pt x="12885" y="75037"/>
                      <a:pt x="-1544" y="58933"/>
                      <a:pt x="132" y="35687"/>
                    </a:cubicBezTo>
                    <a:close/>
                    <a:moveTo>
                      <a:pt x="35912" y="62795"/>
                    </a:moveTo>
                    <a:cubicBezTo>
                      <a:pt x="47353" y="63597"/>
                      <a:pt x="56244" y="55653"/>
                      <a:pt x="57336" y="39840"/>
                    </a:cubicBezTo>
                    <a:cubicBezTo>
                      <a:pt x="58503" y="23954"/>
                      <a:pt x="50924" y="14845"/>
                      <a:pt x="39410" y="14044"/>
                    </a:cubicBezTo>
                    <a:cubicBezTo>
                      <a:pt x="27896" y="13242"/>
                      <a:pt x="19152" y="21112"/>
                      <a:pt x="17986" y="36998"/>
                    </a:cubicBezTo>
                    <a:cubicBezTo>
                      <a:pt x="16820" y="52811"/>
                      <a:pt x="24471" y="61993"/>
                      <a:pt x="35912" y="62795"/>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44" name="Freeform 42">
                <a:extLst>
                  <a:ext uri="{FF2B5EF4-FFF2-40B4-BE49-F238E27FC236}">
                    <a16:creationId xmlns:a16="http://schemas.microsoft.com/office/drawing/2014/main" id="{378E85FD-1D9A-6BA1-69E2-843AFFB762C5}"/>
                  </a:ext>
                </a:extLst>
              </p:cNvPr>
              <p:cNvSpPr/>
              <p:nvPr/>
            </p:nvSpPr>
            <p:spPr>
              <a:xfrm>
                <a:off x="6444166" y="1651724"/>
                <a:ext cx="37019" cy="18145"/>
              </a:xfrm>
              <a:custGeom>
                <a:avLst/>
                <a:gdLst>
                  <a:gd name="connsiteX0" fmla="*/ 1385 w 37019"/>
                  <a:gd name="connsiteY0" fmla="*/ 0 h 18145"/>
                  <a:gd name="connsiteX1" fmla="*/ 37019 w 37019"/>
                  <a:gd name="connsiteY1" fmla="*/ 3279 h 18145"/>
                  <a:gd name="connsiteX2" fmla="*/ 35634 w 37019"/>
                  <a:gd name="connsiteY2" fmla="*/ 18145 h 18145"/>
                  <a:gd name="connsiteX3" fmla="*/ 0 w 37019"/>
                  <a:gd name="connsiteY3" fmla="*/ 14866 h 18145"/>
                  <a:gd name="connsiteX4" fmla="*/ 1385 w 37019"/>
                  <a:gd name="connsiteY4" fmla="*/ 0 h 18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19" h="18145">
                    <a:moveTo>
                      <a:pt x="1385" y="0"/>
                    </a:moveTo>
                    <a:lnTo>
                      <a:pt x="37019" y="3279"/>
                    </a:lnTo>
                    <a:lnTo>
                      <a:pt x="35634" y="18145"/>
                    </a:lnTo>
                    <a:lnTo>
                      <a:pt x="0" y="14866"/>
                    </a:lnTo>
                    <a:lnTo>
                      <a:pt x="1385" y="0"/>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45" name="Freeform 43">
                <a:extLst>
                  <a:ext uri="{FF2B5EF4-FFF2-40B4-BE49-F238E27FC236}">
                    <a16:creationId xmlns:a16="http://schemas.microsoft.com/office/drawing/2014/main" id="{26489A11-0DB6-25AA-6BB4-18181C295B36}"/>
                  </a:ext>
                </a:extLst>
              </p:cNvPr>
              <p:cNvSpPr/>
              <p:nvPr/>
            </p:nvSpPr>
            <p:spPr>
              <a:xfrm>
                <a:off x="6492919" y="1629350"/>
                <a:ext cx="70931" cy="77133"/>
              </a:xfrm>
              <a:custGeom>
                <a:avLst/>
                <a:gdLst>
                  <a:gd name="connsiteX0" fmla="*/ 144 w 70931"/>
                  <a:gd name="connsiteY0" fmla="*/ 34325 h 77133"/>
                  <a:gd name="connsiteX1" fmla="*/ 41244 w 70931"/>
                  <a:gd name="connsiteY1" fmla="*/ 294 h 77133"/>
                  <a:gd name="connsiteX2" fmla="*/ 70611 w 70931"/>
                  <a:gd name="connsiteY2" fmla="*/ 39863 h 77133"/>
                  <a:gd name="connsiteX3" fmla="*/ 69664 w 70931"/>
                  <a:gd name="connsiteY3" fmla="*/ 46276 h 77133"/>
                  <a:gd name="connsiteX4" fmla="*/ 17706 w 70931"/>
                  <a:gd name="connsiteY4" fmla="*/ 40519 h 77133"/>
                  <a:gd name="connsiteX5" fmla="*/ 36653 w 70931"/>
                  <a:gd name="connsiteY5" fmla="*/ 63474 h 77133"/>
                  <a:gd name="connsiteX6" fmla="*/ 56328 w 70931"/>
                  <a:gd name="connsiteY6" fmla="*/ 57353 h 77133"/>
                  <a:gd name="connsiteX7" fmla="*/ 65146 w 70931"/>
                  <a:gd name="connsiteY7" fmla="*/ 68356 h 77133"/>
                  <a:gd name="connsiteX8" fmla="*/ 34466 w 70931"/>
                  <a:gd name="connsiteY8" fmla="*/ 76736 h 77133"/>
                  <a:gd name="connsiteX9" fmla="*/ 362 w 70931"/>
                  <a:gd name="connsiteY9" fmla="*/ 34398 h 77133"/>
                  <a:gd name="connsiteX10" fmla="*/ 54142 w 70931"/>
                  <a:gd name="connsiteY10" fmla="*/ 33815 h 77133"/>
                  <a:gd name="connsiteX11" fmla="*/ 39422 w 70931"/>
                  <a:gd name="connsiteY11" fmla="*/ 13265 h 77133"/>
                  <a:gd name="connsiteX12" fmla="*/ 19091 w 70931"/>
                  <a:gd name="connsiteY12" fmla="*/ 29880 h 77133"/>
                  <a:gd name="connsiteX13" fmla="*/ 54142 w 70931"/>
                  <a:gd name="connsiteY13" fmla="*/ 33742 h 77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931" h="77133">
                    <a:moveTo>
                      <a:pt x="144" y="34325"/>
                    </a:moveTo>
                    <a:cubicBezTo>
                      <a:pt x="2986" y="8747"/>
                      <a:pt x="21204" y="-1965"/>
                      <a:pt x="41244" y="294"/>
                    </a:cubicBezTo>
                    <a:cubicBezTo>
                      <a:pt x="65802" y="2990"/>
                      <a:pt x="72579" y="22010"/>
                      <a:pt x="70611" y="39863"/>
                    </a:cubicBezTo>
                    <a:cubicBezTo>
                      <a:pt x="70392" y="41977"/>
                      <a:pt x="70028" y="44236"/>
                      <a:pt x="69664" y="46276"/>
                    </a:cubicBezTo>
                    <a:lnTo>
                      <a:pt x="17706" y="40519"/>
                    </a:lnTo>
                    <a:cubicBezTo>
                      <a:pt x="17342" y="54656"/>
                      <a:pt x="23900" y="62089"/>
                      <a:pt x="36653" y="63474"/>
                    </a:cubicBezTo>
                    <a:cubicBezTo>
                      <a:pt x="44887" y="64348"/>
                      <a:pt x="50717" y="62599"/>
                      <a:pt x="56328" y="57353"/>
                    </a:cubicBezTo>
                    <a:lnTo>
                      <a:pt x="65146" y="68356"/>
                    </a:lnTo>
                    <a:cubicBezTo>
                      <a:pt x="57421" y="75352"/>
                      <a:pt x="48604" y="78267"/>
                      <a:pt x="34466" y="76736"/>
                    </a:cubicBezTo>
                    <a:cubicBezTo>
                      <a:pt x="10856" y="74113"/>
                      <a:pt x="-2407" y="58956"/>
                      <a:pt x="362" y="34398"/>
                    </a:cubicBezTo>
                    <a:close/>
                    <a:moveTo>
                      <a:pt x="54142" y="33815"/>
                    </a:moveTo>
                    <a:cubicBezTo>
                      <a:pt x="54652" y="20771"/>
                      <a:pt x="48968" y="14358"/>
                      <a:pt x="39422" y="13265"/>
                    </a:cubicBezTo>
                    <a:cubicBezTo>
                      <a:pt x="30021" y="12245"/>
                      <a:pt x="22224" y="17127"/>
                      <a:pt x="19091" y="29880"/>
                    </a:cubicBezTo>
                    <a:lnTo>
                      <a:pt x="54142" y="33742"/>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46" name="Freeform 44">
                <a:extLst>
                  <a:ext uri="{FF2B5EF4-FFF2-40B4-BE49-F238E27FC236}">
                    <a16:creationId xmlns:a16="http://schemas.microsoft.com/office/drawing/2014/main" id="{BC133604-3BAF-CA88-9036-90D4DAC66BA7}"/>
                  </a:ext>
                </a:extLst>
              </p:cNvPr>
              <p:cNvSpPr/>
              <p:nvPr/>
            </p:nvSpPr>
            <p:spPr>
              <a:xfrm>
                <a:off x="6574534" y="1636786"/>
                <a:ext cx="70530" cy="81908"/>
              </a:xfrm>
              <a:custGeom>
                <a:avLst/>
                <a:gdLst>
                  <a:gd name="connsiteX0" fmla="*/ 9910 w 70530"/>
                  <a:gd name="connsiteY0" fmla="*/ 0 h 81908"/>
                  <a:gd name="connsiteX1" fmla="*/ 26307 w 70530"/>
                  <a:gd name="connsiteY1" fmla="*/ 2186 h 81908"/>
                  <a:gd name="connsiteX2" fmla="*/ 24266 w 70530"/>
                  <a:gd name="connsiteY2" fmla="*/ 17635 h 81908"/>
                  <a:gd name="connsiteX3" fmla="*/ 24558 w 70530"/>
                  <a:gd name="connsiteY3" fmla="*/ 17635 h 81908"/>
                  <a:gd name="connsiteX4" fmla="*/ 50864 w 70530"/>
                  <a:gd name="connsiteY4" fmla="*/ 4081 h 81908"/>
                  <a:gd name="connsiteX5" fmla="*/ 70103 w 70530"/>
                  <a:gd name="connsiteY5" fmla="*/ 33521 h 81908"/>
                  <a:gd name="connsiteX6" fmla="*/ 63617 w 70530"/>
                  <a:gd name="connsiteY6" fmla="*/ 81908 h 81908"/>
                  <a:gd name="connsiteX7" fmla="*/ 46638 w 70530"/>
                  <a:gd name="connsiteY7" fmla="*/ 79649 h 81908"/>
                  <a:gd name="connsiteX8" fmla="*/ 52613 w 70530"/>
                  <a:gd name="connsiteY8" fmla="*/ 35343 h 81908"/>
                  <a:gd name="connsiteX9" fmla="*/ 41464 w 70530"/>
                  <a:gd name="connsiteY9" fmla="*/ 17708 h 81908"/>
                  <a:gd name="connsiteX10" fmla="*/ 22517 w 70530"/>
                  <a:gd name="connsiteY10" fmla="*/ 34541 h 81908"/>
                  <a:gd name="connsiteX11" fmla="*/ 16979 w 70530"/>
                  <a:gd name="connsiteY11" fmla="*/ 75641 h 81908"/>
                  <a:gd name="connsiteX12" fmla="*/ 0 w 70530"/>
                  <a:gd name="connsiteY12" fmla="*/ 73382 h 81908"/>
                  <a:gd name="connsiteX13" fmla="*/ 9838 w 70530"/>
                  <a:gd name="connsiteY13" fmla="*/ 0 h 8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530" h="81908">
                    <a:moveTo>
                      <a:pt x="9910" y="0"/>
                    </a:moveTo>
                    <a:lnTo>
                      <a:pt x="26307" y="2186"/>
                    </a:lnTo>
                    <a:lnTo>
                      <a:pt x="24266" y="17635"/>
                    </a:lnTo>
                    <a:lnTo>
                      <a:pt x="24558" y="17635"/>
                    </a:lnTo>
                    <a:cubicBezTo>
                      <a:pt x="29003" y="9765"/>
                      <a:pt x="36873" y="2186"/>
                      <a:pt x="50864" y="4081"/>
                    </a:cubicBezTo>
                    <a:cubicBezTo>
                      <a:pt x="66605" y="6194"/>
                      <a:pt x="72216" y="17854"/>
                      <a:pt x="70103" y="33521"/>
                    </a:cubicBezTo>
                    <a:lnTo>
                      <a:pt x="63617" y="81908"/>
                    </a:lnTo>
                    <a:lnTo>
                      <a:pt x="46638" y="79649"/>
                    </a:lnTo>
                    <a:lnTo>
                      <a:pt x="52613" y="35343"/>
                    </a:lnTo>
                    <a:cubicBezTo>
                      <a:pt x="53925" y="25505"/>
                      <a:pt x="51302" y="19092"/>
                      <a:pt x="41464" y="17708"/>
                    </a:cubicBezTo>
                    <a:cubicBezTo>
                      <a:pt x="31335" y="16323"/>
                      <a:pt x="24194" y="22226"/>
                      <a:pt x="22517" y="34541"/>
                    </a:cubicBezTo>
                    <a:lnTo>
                      <a:pt x="16979" y="75641"/>
                    </a:lnTo>
                    <a:lnTo>
                      <a:pt x="0" y="73382"/>
                    </a:lnTo>
                    <a:lnTo>
                      <a:pt x="9838" y="0"/>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47" name="Freeform 45">
                <a:extLst>
                  <a:ext uri="{FF2B5EF4-FFF2-40B4-BE49-F238E27FC236}">
                    <a16:creationId xmlns:a16="http://schemas.microsoft.com/office/drawing/2014/main" id="{4FC4F66A-2C73-A61F-9404-17C16CE1039A}"/>
                  </a:ext>
                </a:extLst>
              </p:cNvPr>
              <p:cNvSpPr/>
              <p:nvPr/>
            </p:nvSpPr>
            <p:spPr>
              <a:xfrm>
                <a:off x="6658230" y="1630373"/>
                <a:ext cx="84127" cy="102166"/>
              </a:xfrm>
              <a:custGeom>
                <a:avLst/>
                <a:gdLst>
                  <a:gd name="connsiteX0" fmla="*/ 689 w 84127"/>
                  <a:gd name="connsiteY0" fmla="*/ 53925 h 102166"/>
                  <a:gd name="connsiteX1" fmla="*/ 37052 w 84127"/>
                  <a:gd name="connsiteY1" fmla="*/ 20841 h 102166"/>
                  <a:gd name="connsiteX2" fmla="*/ 60298 w 84127"/>
                  <a:gd name="connsiteY2" fmla="*/ 40881 h 102166"/>
                  <a:gd name="connsiteX3" fmla="*/ 60663 w 84127"/>
                  <a:gd name="connsiteY3" fmla="*/ 40881 h 102166"/>
                  <a:gd name="connsiteX4" fmla="*/ 67221 w 84127"/>
                  <a:gd name="connsiteY4" fmla="*/ 0 h 102166"/>
                  <a:gd name="connsiteX5" fmla="*/ 84127 w 84127"/>
                  <a:gd name="connsiteY5" fmla="*/ 2696 h 102166"/>
                  <a:gd name="connsiteX6" fmla="*/ 68241 w 84127"/>
                  <a:gd name="connsiteY6" fmla="*/ 102166 h 102166"/>
                  <a:gd name="connsiteX7" fmla="*/ 51991 w 84127"/>
                  <a:gd name="connsiteY7" fmla="*/ 99543 h 102166"/>
                  <a:gd name="connsiteX8" fmla="*/ 54396 w 84127"/>
                  <a:gd name="connsiteY8" fmla="*/ 84531 h 102166"/>
                  <a:gd name="connsiteX9" fmla="*/ 54031 w 84127"/>
                  <a:gd name="connsiteY9" fmla="*/ 84531 h 102166"/>
                  <a:gd name="connsiteX10" fmla="*/ 25684 w 84127"/>
                  <a:gd name="connsiteY10" fmla="*/ 96701 h 102166"/>
                  <a:gd name="connsiteX11" fmla="*/ 762 w 84127"/>
                  <a:gd name="connsiteY11" fmla="*/ 53925 h 102166"/>
                  <a:gd name="connsiteX12" fmla="*/ 33919 w 84127"/>
                  <a:gd name="connsiteY12" fmla="*/ 84021 h 102166"/>
                  <a:gd name="connsiteX13" fmla="*/ 57238 w 84127"/>
                  <a:gd name="connsiteY13" fmla="*/ 62961 h 102166"/>
                  <a:gd name="connsiteX14" fmla="*/ 41716 w 84127"/>
                  <a:gd name="connsiteY14" fmla="*/ 35707 h 102166"/>
                  <a:gd name="connsiteX15" fmla="*/ 18397 w 84127"/>
                  <a:gd name="connsiteY15" fmla="*/ 56767 h 102166"/>
                  <a:gd name="connsiteX16" fmla="*/ 33991 w 84127"/>
                  <a:gd name="connsiteY16" fmla="*/ 84021 h 102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127" h="102166">
                    <a:moveTo>
                      <a:pt x="689" y="53925"/>
                    </a:moveTo>
                    <a:cubicBezTo>
                      <a:pt x="4333" y="31189"/>
                      <a:pt x="18178" y="17854"/>
                      <a:pt x="37052" y="20841"/>
                    </a:cubicBezTo>
                    <a:cubicBezTo>
                      <a:pt x="51262" y="23100"/>
                      <a:pt x="58258" y="32064"/>
                      <a:pt x="60298" y="40881"/>
                    </a:cubicBezTo>
                    <a:lnTo>
                      <a:pt x="60663" y="40881"/>
                    </a:lnTo>
                    <a:cubicBezTo>
                      <a:pt x="60663" y="40881"/>
                      <a:pt x="67221" y="0"/>
                      <a:pt x="67221" y="0"/>
                    </a:cubicBezTo>
                    <a:lnTo>
                      <a:pt x="84127" y="2696"/>
                    </a:lnTo>
                    <a:lnTo>
                      <a:pt x="68241" y="102166"/>
                    </a:lnTo>
                    <a:lnTo>
                      <a:pt x="51991" y="99543"/>
                    </a:lnTo>
                    <a:lnTo>
                      <a:pt x="54396" y="84531"/>
                    </a:lnTo>
                    <a:lnTo>
                      <a:pt x="54031" y="84531"/>
                    </a:lnTo>
                    <a:cubicBezTo>
                      <a:pt x="49149" y="92329"/>
                      <a:pt x="41060" y="99179"/>
                      <a:pt x="25684" y="96701"/>
                    </a:cubicBezTo>
                    <a:cubicBezTo>
                      <a:pt x="7175" y="93713"/>
                      <a:pt x="-2954" y="77390"/>
                      <a:pt x="762" y="53925"/>
                    </a:cubicBezTo>
                    <a:close/>
                    <a:moveTo>
                      <a:pt x="33919" y="84021"/>
                    </a:moveTo>
                    <a:cubicBezTo>
                      <a:pt x="45287" y="85843"/>
                      <a:pt x="54687" y="78629"/>
                      <a:pt x="57238" y="62961"/>
                    </a:cubicBezTo>
                    <a:cubicBezTo>
                      <a:pt x="59788" y="47221"/>
                      <a:pt x="53011" y="37529"/>
                      <a:pt x="41716" y="35707"/>
                    </a:cubicBezTo>
                    <a:cubicBezTo>
                      <a:pt x="30275" y="33885"/>
                      <a:pt x="20875" y="41027"/>
                      <a:pt x="18397" y="56767"/>
                    </a:cubicBezTo>
                    <a:cubicBezTo>
                      <a:pt x="15919" y="72435"/>
                      <a:pt x="22623" y="82200"/>
                      <a:pt x="33991" y="84021"/>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48" name="Freeform 46">
                <a:extLst>
                  <a:ext uri="{FF2B5EF4-FFF2-40B4-BE49-F238E27FC236}">
                    <a16:creationId xmlns:a16="http://schemas.microsoft.com/office/drawing/2014/main" id="{03C2E528-746B-7354-3B4C-C75A4F34E185}"/>
                  </a:ext>
                </a:extLst>
              </p:cNvPr>
              <p:cNvSpPr/>
              <p:nvPr/>
            </p:nvSpPr>
            <p:spPr>
              <a:xfrm>
                <a:off x="6779741" y="1643052"/>
                <a:ext cx="81181" cy="109207"/>
              </a:xfrm>
              <a:custGeom>
                <a:avLst/>
                <a:gdLst>
                  <a:gd name="connsiteX0" fmla="*/ 19384 w 81181"/>
                  <a:gd name="connsiteY0" fmla="*/ 87300 h 109207"/>
                  <a:gd name="connsiteX1" fmla="*/ 19165 w 81181"/>
                  <a:gd name="connsiteY1" fmla="*/ 87300 h 109207"/>
                  <a:gd name="connsiteX2" fmla="*/ 16251 w 81181"/>
                  <a:gd name="connsiteY2" fmla="*/ 102166 h 109207"/>
                  <a:gd name="connsiteX3" fmla="*/ 0 w 81181"/>
                  <a:gd name="connsiteY3" fmla="*/ 98960 h 109207"/>
                  <a:gd name="connsiteX4" fmla="*/ 19384 w 81181"/>
                  <a:gd name="connsiteY4" fmla="*/ 0 h 109207"/>
                  <a:gd name="connsiteX5" fmla="*/ 36145 w 81181"/>
                  <a:gd name="connsiteY5" fmla="*/ 3279 h 109207"/>
                  <a:gd name="connsiteX6" fmla="*/ 28128 w 81181"/>
                  <a:gd name="connsiteY6" fmla="*/ 44015 h 109207"/>
                  <a:gd name="connsiteX7" fmla="*/ 28493 w 81181"/>
                  <a:gd name="connsiteY7" fmla="*/ 44015 h 109207"/>
                  <a:gd name="connsiteX8" fmla="*/ 57205 w 81181"/>
                  <a:gd name="connsiteY8" fmla="*/ 33302 h 109207"/>
                  <a:gd name="connsiteX9" fmla="*/ 80014 w 81181"/>
                  <a:gd name="connsiteY9" fmla="*/ 76953 h 109207"/>
                  <a:gd name="connsiteX10" fmla="*/ 41828 w 81181"/>
                  <a:gd name="connsiteY10" fmla="*/ 108579 h 109207"/>
                  <a:gd name="connsiteX11" fmla="*/ 19311 w 81181"/>
                  <a:gd name="connsiteY11" fmla="*/ 87300 h 109207"/>
                  <a:gd name="connsiteX12" fmla="*/ 38331 w 81181"/>
                  <a:gd name="connsiteY12" fmla="*/ 93786 h 109207"/>
                  <a:gd name="connsiteX13" fmla="*/ 62451 w 81181"/>
                  <a:gd name="connsiteY13" fmla="*/ 73528 h 109207"/>
                  <a:gd name="connsiteX14" fmla="*/ 47804 w 81181"/>
                  <a:gd name="connsiteY14" fmla="*/ 45691 h 109207"/>
                  <a:gd name="connsiteX15" fmla="*/ 23756 w 81181"/>
                  <a:gd name="connsiteY15" fmla="*/ 65949 h 109207"/>
                  <a:gd name="connsiteX16" fmla="*/ 38331 w 81181"/>
                  <a:gd name="connsiteY16" fmla="*/ 93786 h 109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181" h="109207">
                    <a:moveTo>
                      <a:pt x="19384" y="87300"/>
                    </a:moveTo>
                    <a:lnTo>
                      <a:pt x="19165" y="87300"/>
                    </a:lnTo>
                    <a:cubicBezTo>
                      <a:pt x="19165" y="87300"/>
                      <a:pt x="16251" y="102166"/>
                      <a:pt x="16251" y="102166"/>
                    </a:cubicBezTo>
                    <a:lnTo>
                      <a:pt x="0" y="98960"/>
                    </a:lnTo>
                    <a:lnTo>
                      <a:pt x="19384" y="0"/>
                    </a:lnTo>
                    <a:lnTo>
                      <a:pt x="36145" y="3279"/>
                    </a:lnTo>
                    <a:lnTo>
                      <a:pt x="28128" y="44015"/>
                    </a:lnTo>
                    <a:lnTo>
                      <a:pt x="28493" y="44015"/>
                    </a:lnTo>
                    <a:cubicBezTo>
                      <a:pt x="33521" y="36509"/>
                      <a:pt x="43140" y="30533"/>
                      <a:pt x="57205" y="33302"/>
                    </a:cubicBezTo>
                    <a:cubicBezTo>
                      <a:pt x="76078" y="37019"/>
                      <a:pt x="84459" y="54290"/>
                      <a:pt x="80014" y="76953"/>
                    </a:cubicBezTo>
                    <a:cubicBezTo>
                      <a:pt x="75423" y="100345"/>
                      <a:pt x="60265" y="112150"/>
                      <a:pt x="41828" y="108579"/>
                    </a:cubicBezTo>
                    <a:cubicBezTo>
                      <a:pt x="26525" y="105591"/>
                      <a:pt x="21206" y="96337"/>
                      <a:pt x="19311" y="87300"/>
                    </a:cubicBezTo>
                    <a:close/>
                    <a:moveTo>
                      <a:pt x="38331" y="93786"/>
                    </a:moveTo>
                    <a:cubicBezTo>
                      <a:pt x="49626" y="95972"/>
                      <a:pt x="59391" y="89195"/>
                      <a:pt x="62451" y="73528"/>
                    </a:cubicBezTo>
                    <a:cubicBezTo>
                      <a:pt x="65512" y="57860"/>
                      <a:pt x="59099" y="47877"/>
                      <a:pt x="47804" y="45691"/>
                    </a:cubicBezTo>
                    <a:cubicBezTo>
                      <a:pt x="36509" y="43505"/>
                      <a:pt x="26817" y="50282"/>
                      <a:pt x="23756" y="65949"/>
                    </a:cubicBezTo>
                    <a:cubicBezTo>
                      <a:pt x="20696" y="81544"/>
                      <a:pt x="27109" y="91527"/>
                      <a:pt x="38331" y="93786"/>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49" name="Freeform 47">
                <a:extLst>
                  <a:ext uri="{FF2B5EF4-FFF2-40B4-BE49-F238E27FC236}">
                    <a16:creationId xmlns:a16="http://schemas.microsoft.com/office/drawing/2014/main" id="{06BBC3F2-557E-C336-FC53-28FBF877568B}"/>
                  </a:ext>
                </a:extLst>
              </p:cNvPr>
              <p:cNvSpPr/>
              <p:nvPr/>
            </p:nvSpPr>
            <p:spPr>
              <a:xfrm>
                <a:off x="6871690" y="1687431"/>
                <a:ext cx="74125" cy="86061"/>
              </a:xfrm>
              <a:custGeom>
                <a:avLst/>
                <a:gdLst>
                  <a:gd name="connsiteX0" fmla="*/ 1035 w 74125"/>
                  <a:gd name="connsiteY0" fmla="*/ 47512 h 86061"/>
                  <a:gd name="connsiteX1" fmla="*/ 11602 w 74125"/>
                  <a:gd name="connsiteY1" fmla="*/ 0 h 86061"/>
                  <a:gd name="connsiteX2" fmla="*/ 28362 w 74125"/>
                  <a:gd name="connsiteY2" fmla="*/ 3717 h 86061"/>
                  <a:gd name="connsiteX3" fmla="*/ 18670 w 74125"/>
                  <a:gd name="connsiteY3" fmla="*/ 47294 h 86061"/>
                  <a:gd name="connsiteX4" fmla="*/ 28216 w 74125"/>
                  <a:gd name="connsiteY4" fmla="*/ 65730 h 86061"/>
                  <a:gd name="connsiteX5" fmla="*/ 48548 w 74125"/>
                  <a:gd name="connsiteY5" fmla="*/ 50573 h 86061"/>
                  <a:gd name="connsiteX6" fmla="*/ 57511 w 74125"/>
                  <a:gd name="connsiteY6" fmla="*/ 10202 h 86061"/>
                  <a:gd name="connsiteX7" fmla="*/ 74126 w 74125"/>
                  <a:gd name="connsiteY7" fmla="*/ 13919 h 86061"/>
                  <a:gd name="connsiteX8" fmla="*/ 58094 w 74125"/>
                  <a:gd name="connsiteY8" fmla="*/ 86062 h 86061"/>
                  <a:gd name="connsiteX9" fmla="*/ 41989 w 74125"/>
                  <a:gd name="connsiteY9" fmla="*/ 82491 h 86061"/>
                  <a:gd name="connsiteX10" fmla="*/ 45341 w 74125"/>
                  <a:gd name="connsiteY10" fmla="*/ 67261 h 86061"/>
                  <a:gd name="connsiteX11" fmla="*/ 45050 w 74125"/>
                  <a:gd name="connsiteY11" fmla="*/ 67261 h 86061"/>
                  <a:gd name="connsiteX12" fmla="*/ 17723 w 74125"/>
                  <a:gd name="connsiteY12" fmla="*/ 78483 h 86061"/>
                  <a:gd name="connsiteX13" fmla="*/ 1035 w 74125"/>
                  <a:gd name="connsiteY13" fmla="*/ 47585 h 8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125" h="86061">
                    <a:moveTo>
                      <a:pt x="1035" y="47512"/>
                    </a:moveTo>
                    <a:lnTo>
                      <a:pt x="11602" y="0"/>
                    </a:lnTo>
                    <a:lnTo>
                      <a:pt x="28362" y="3717"/>
                    </a:lnTo>
                    <a:lnTo>
                      <a:pt x="18670" y="47294"/>
                    </a:lnTo>
                    <a:cubicBezTo>
                      <a:pt x="16557" y="56913"/>
                      <a:pt x="18525" y="63617"/>
                      <a:pt x="28216" y="65730"/>
                    </a:cubicBezTo>
                    <a:cubicBezTo>
                      <a:pt x="38200" y="67917"/>
                      <a:pt x="45852" y="62670"/>
                      <a:pt x="48548" y="50573"/>
                    </a:cubicBezTo>
                    <a:lnTo>
                      <a:pt x="57511" y="10202"/>
                    </a:lnTo>
                    <a:lnTo>
                      <a:pt x="74126" y="13919"/>
                    </a:lnTo>
                    <a:lnTo>
                      <a:pt x="58094" y="86062"/>
                    </a:lnTo>
                    <a:lnTo>
                      <a:pt x="41989" y="82491"/>
                    </a:lnTo>
                    <a:lnTo>
                      <a:pt x="45341" y="67261"/>
                    </a:lnTo>
                    <a:lnTo>
                      <a:pt x="45050" y="67261"/>
                    </a:lnTo>
                    <a:cubicBezTo>
                      <a:pt x="39876" y="74767"/>
                      <a:pt x="31568" y="81544"/>
                      <a:pt x="17723" y="78483"/>
                    </a:cubicBezTo>
                    <a:cubicBezTo>
                      <a:pt x="2274" y="75058"/>
                      <a:pt x="-2317" y="62961"/>
                      <a:pt x="1035" y="47585"/>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50" name="Freeform 48">
                <a:extLst>
                  <a:ext uri="{FF2B5EF4-FFF2-40B4-BE49-F238E27FC236}">
                    <a16:creationId xmlns:a16="http://schemas.microsoft.com/office/drawing/2014/main" id="{3CBFD1DB-AC9B-E073-406A-BA37CF19341C}"/>
                  </a:ext>
                </a:extLst>
              </p:cNvPr>
              <p:cNvSpPr/>
              <p:nvPr/>
            </p:nvSpPr>
            <p:spPr>
              <a:xfrm>
                <a:off x="6945306" y="1709529"/>
                <a:ext cx="70466" cy="77115"/>
              </a:xfrm>
              <a:custGeom>
                <a:avLst/>
                <a:gdLst>
                  <a:gd name="connsiteX0" fmla="*/ 0 w 70466"/>
                  <a:gd name="connsiteY0" fmla="*/ 57259 h 77115"/>
                  <a:gd name="connsiteX1" fmla="*/ 12461 w 70466"/>
                  <a:gd name="connsiteY1" fmla="*/ 49754 h 77115"/>
                  <a:gd name="connsiteX2" fmla="*/ 29877 w 70466"/>
                  <a:gd name="connsiteY2" fmla="*/ 62798 h 77115"/>
                  <a:gd name="connsiteX3" fmla="*/ 44816 w 70466"/>
                  <a:gd name="connsiteY3" fmla="*/ 57988 h 77115"/>
                  <a:gd name="connsiteX4" fmla="*/ 31116 w 70466"/>
                  <a:gd name="connsiteY4" fmla="*/ 42977 h 77115"/>
                  <a:gd name="connsiteX5" fmla="*/ 13845 w 70466"/>
                  <a:gd name="connsiteY5" fmla="*/ 15722 h 77115"/>
                  <a:gd name="connsiteX6" fmla="*/ 46201 w 70466"/>
                  <a:gd name="connsiteY6" fmla="*/ 1440 h 77115"/>
                  <a:gd name="connsiteX7" fmla="*/ 70467 w 70466"/>
                  <a:gd name="connsiteY7" fmla="*/ 17763 h 77115"/>
                  <a:gd name="connsiteX8" fmla="*/ 58370 w 70466"/>
                  <a:gd name="connsiteY8" fmla="*/ 25050 h 77115"/>
                  <a:gd name="connsiteX9" fmla="*/ 43359 w 70466"/>
                  <a:gd name="connsiteY9" fmla="*/ 14119 h 77115"/>
                  <a:gd name="connsiteX10" fmla="*/ 30096 w 70466"/>
                  <a:gd name="connsiteY10" fmla="*/ 18929 h 77115"/>
                  <a:gd name="connsiteX11" fmla="*/ 43286 w 70466"/>
                  <a:gd name="connsiteY11" fmla="*/ 32337 h 77115"/>
                  <a:gd name="connsiteX12" fmla="*/ 61285 w 70466"/>
                  <a:gd name="connsiteY12" fmla="*/ 60757 h 77115"/>
                  <a:gd name="connsiteX13" fmla="*/ 27035 w 70466"/>
                  <a:gd name="connsiteY13" fmla="*/ 75623 h 77115"/>
                  <a:gd name="connsiteX14" fmla="*/ 73 w 70466"/>
                  <a:gd name="connsiteY14" fmla="*/ 57259 h 7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466" h="77115">
                    <a:moveTo>
                      <a:pt x="0" y="57259"/>
                    </a:moveTo>
                    <a:lnTo>
                      <a:pt x="12461" y="49754"/>
                    </a:lnTo>
                    <a:cubicBezTo>
                      <a:pt x="16615" y="57478"/>
                      <a:pt x="22299" y="60903"/>
                      <a:pt x="29877" y="62798"/>
                    </a:cubicBezTo>
                    <a:cubicBezTo>
                      <a:pt x="37164" y="64620"/>
                      <a:pt x="43359" y="63891"/>
                      <a:pt x="44816" y="57988"/>
                    </a:cubicBezTo>
                    <a:cubicBezTo>
                      <a:pt x="46419" y="51503"/>
                      <a:pt x="40735" y="48223"/>
                      <a:pt x="31116" y="42977"/>
                    </a:cubicBezTo>
                    <a:cubicBezTo>
                      <a:pt x="20768" y="37365"/>
                      <a:pt x="10348" y="29860"/>
                      <a:pt x="13845" y="15722"/>
                    </a:cubicBezTo>
                    <a:cubicBezTo>
                      <a:pt x="17125" y="2387"/>
                      <a:pt x="29222" y="-2787"/>
                      <a:pt x="46201" y="1440"/>
                    </a:cubicBezTo>
                    <a:cubicBezTo>
                      <a:pt x="57277" y="4136"/>
                      <a:pt x="65585" y="9820"/>
                      <a:pt x="70467" y="17763"/>
                    </a:cubicBezTo>
                    <a:lnTo>
                      <a:pt x="58370" y="25050"/>
                    </a:lnTo>
                    <a:cubicBezTo>
                      <a:pt x="54727" y="18856"/>
                      <a:pt x="49261" y="15577"/>
                      <a:pt x="43359" y="14119"/>
                    </a:cubicBezTo>
                    <a:cubicBezTo>
                      <a:pt x="36436" y="12443"/>
                      <a:pt x="31335" y="13682"/>
                      <a:pt x="30096" y="18929"/>
                    </a:cubicBezTo>
                    <a:cubicBezTo>
                      <a:pt x="28784" y="24248"/>
                      <a:pt x="34177" y="27382"/>
                      <a:pt x="43286" y="32337"/>
                    </a:cubicBezTo>
                    <a:cubicBezTo>
                      <a:pt x="53925" y="38021"/>
                      <a:pt x="65147" y="44944"/>
                      <a:pt x="61285" y="60757"/>
                    </a:cubicBezTo>
                    <a:cubicBezTo>
                      <a:pt x="57860" y="74676"/>
                      <a:pt x="44670" y="79996"/>
                      <a:pt x="27035" y="75623"/>
                    </a:cubicBezTo>
                    <a:cubicBezTo>
                      <a:pt x="14501" y="72563"/>
                      <a:pt x="5174" y="66514"/>
                      <a:pt x="73" y="57259"/>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51" name="Freeform 49">
                <a:extLst>
                  <a:ext uri="{FF2B5EF4-FFF2-40B4-BE49-F238E27FC236}">
                    <a16:creationId xmlns:a16="http://schemas.microsoft.com/office/drawing/2014/main" id="{1ED486F6-A6D9-2B29-4CBC-AE34109569B0}"/>
                  </a:ext>
                </a:extLst>
              </p:cNvPr>
              <p:cNvSpPr/>
              <p:nvPr/>
            </p:nvSpPr>
            <p:spPr>
              <a:xfrm>
                <a:off x="7016137" y="1695408"/>
                <a:ext cx="42433" cy="103808"/>
              </a:xfrm>
              <a:custGeom>
                <a:avLst/>
                <a:gdLst>
                  <a:gd name="connsiteX0" fmla="*/ 18728 w 42433"/>
                  <a:gd name="connsiteY0" fmla="*/ 27949 h 103808"/>
                  <a:gd name="connsiteX1" fmla="*/ 35270 w 42433"/>
                  <a:gd name="connsiteY1" fmla="*/ 32249 h 103808"/>
                  <a:gd name="connsiteX2" fmla="*/ 16542 w 42433"/>
                  <a:gd name="connsiteY2" fmla="*/ 103809 h 103808"/>
                  <a:gd name="connsiteX3" fmla="*/ 0 w 42433"/>
                  <a:gd name="connsiteY3" fmla="*/ 99509 h 103808"/>
                  <a:gd name="connsiteX4" fmla="*/ 18728 w 42433"/>
                  <a:gd name="connsiteY4" fmla="*/ 27949 h 103808"/>
                  <a:gd name="connsiteX5" fmla="*/ 34687 w 42433"/>
                  <a:gd name="connsiteY5" fmla="*/ 404 h 103808"/>
                  <a:gd name="connsiteX6" fmla="*/ 42047 w 42433"/>
                  <a:gd name="connsiteY6" fmla="*/ 12719 h 103808"/>
                  <a:gd name="connsiteX7" fmla="*/ 29586 w 42433"/>
                  <a:gd name="connsiteY7" fmla="*/ 19788 h 103808"/>
                  <a:gd name="connsiteX8" fmla="*/ 22226 w 42433"/>
                  <a:gd name="connsiteY8" fmla="*/ 7545 h 103808"/>
                  <a:gd name="connsiteX9" fmla="*/ 34614 w 42433"/>
                  <a:gd name="connsiteY9" fmla="*/ 404 h 103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433" h="103808">
                    <a:moveTo>
                      <a:pt x="18728" y="27949"/>
                    </a:moveTo>
                    <a:lnTo>
                      <a:pt x="35270" y="32249"/>
                    </a:lnTo>
                    <a:lnTo>
                      <a:pt x="16542" y="103809"/>
                    </a:lnTo>
                    <a:lnTo>
                      <a:pt x="0" y="99509"/>
                    </a:lnTo>
                    <a:lnTo>
                      <a:pt x="18728" y="27949"/>
                    </a:lnTo>
                    <a:close/>
                    <a:moveTo>
                      <a:pt x="34687" y="404"/>
                    </a:moveTo>
                    <a:cubicBezTo>
                      <a:pt x="40444" y="1934"/>
                      <a:pt x="43578" y="6962"/>
                      <a:pt x="42047" y="12719"/>
                    </a:cubicBezTo>
                    <a:cubicBezTo>
                      <a:pt x="40517" y="18476"/>
                      <a:pt x="35343" y="21318"/>
                      <a:pt x="29586" y="19788"/>
                    </a:cubicBezTo>
                    <a:cubicBezTo>
                      <a:pt x="23829" y="18257"/>
                      <a:pt x="20769" y="13302"/>
                      <a:pt x="22226" y="7545"/>
                    </a:cubicBezTo>
                    <a:cubicBezTo>
                      <a:pt x="23756" y="1788"/>
                      <a:pt x="28930" y="-1127"/>
                      <a:pt x="34614" y="404"/>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52" name="Freeform 50">
                <a:extLst>
                  <a:ext uri="{FF2B5EF4-FFF2-40B4-BE49-F238E27FC236}">
                    <a16:creationId xmlns:a16="http://schemas.microsoft.com/office/drawing/2014/main" id="{610670A6-BB76-271D-53B6-AB57543361A1}"/>
                  </a:ext>
                </a:extLst>
              </p:cNvPr>
              <p:cNvSpPr/>
              <p:nvPr/>
            </p:nvSpPr>
            <p:spPr>
              <a:xfrm>
                <a:off x="7052209" y="1733049"/>
                <a:ext cx="76513" cy="88466"/>
              </a:xfrm>
              <a:custGeom>
                <a:avLst/>
                <a:gdLst>
                  <a:gd name="connsiteX0" fmla="*/ 20040 w 76513"/>
                  <a:gd name="connsiteY0" fmla="*/ 73 h 88466"/>
                  <a:gd name="connsiteX1" fmla="*/ 35999 w 76513"/>
                  <a:gd name="connsiteY1" fmla="*/ 4518 h 88466"/>
                  <a:gd name="connsiteX2" fmla="*/ 31772 w 76513"/>
                  <a:gd name="connsiteY2" fmla="*/ 19457 h 88466"/>
                  <a:gd name="connsiteX3" fmla="*/ 32064 w 76513"/>
                  <a:gd name="connsiteY3" fmla="*/ 19457 h 88466"/>
                  <a:gd name="connsiteX4" fmla="*/ 59973 w 76513"/>
                  <a:gd name="connsiteY4" fmla="*/ 9765 h 88466"/>
                  <a:gd name="connsiteX5" fmla="*/ 74913 w 76513"/>
                  <a:gd name="connsiteY5" fmla="*/ 41537 h 88466"/>
                  <a:gd name="connsiteX6" fmla="*/ 61722 w 76513"/>
                  <a:gd name="connsiteY6" fmla="*/ 88466 h 88466"/>
                  <a:gd name="connsiteX7" fmla="*/ 45254 w 76513"/>
                  <a:gd name="connsiteY7" fmla="*/ 83875 h 88466"/>
                  <a:gd name="connsiteX8" fmla="*/ 57277 w 76513"/>
                  <a:gd name="connsiteY8" fmla="*/ 40881 h 88466"/>
                  <a:gd name="connsiteX9" fmla="*/ 48678 w 76513"/>
                  <a:gd name="connsiteY9" fmla="*/ 21934 h 88466"/>
                  <a:gd name="connsiteX10" fmla="*/ 27618 w 76513"/>
                  <a:gd name="connsiteY10" fmla="*/ 35926 h 88466"/>
                  <a:gd name="connsiteX11" fmla="*/ 16469 w 76513"/>
                  <a:gd name="connsiteY11" fmla="*/ 75787 h 88466"/>
                  <a:gd name="connsiteX12" fmla="*/ 0 w 76513"/>
                  <a:gd name="connsiteY12" fmla="*/ 71196 h 88466"/>
                  <a:gd name="connsiteX13" fmla="*/ 19967 w 76513"/>
                  <a:gd name="connsiteY13" fmla="*/ 0 h 8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513" h="88466">
                    <a:moveTo>
                      <a:pt x="20040" y="73"/>
                    </a:moveTo>
                    <a:lnTo>
                      <a:pt x="35999" y="4518"/>
                    </a:lnTo>
                    <a:lnTo>
                      <a:pt x="31772" y="19457"/>
                    </a:lnTo>
                    <a:lnTo>
                      <a:pt x="32064" y="19457"/>
                    </a:lnTo>
                    <a:cubicBezTo>
                      <a:pt x="37602" y="12315"/>
                      <a:pt x="46419" y="5903"/>
                      <a:pt x="59973" y="9765"/>
                    </a:cubicBezTo>
                    <a:cubicBezTo>
                      <a:pt x="75277" y="14064"/>
                      <a:pt x="79139" y="26380"/>
                      <a:pt x="74913" y="41537"/>
                    </a:cubicBezTo>
                    <a:lnTo>
                      <a:pt x="61722" y="88466"/>
                    </a:lnTo>
                    <a:lnTo>
                      <a:pt x="45254" y="83875"/>
                    </a:lnTo>
                    <a:lnTo>
                      <a:pt x="57277" y="40881"/>
                    </a:lnTo>
                    <a:cubicBezTo>
                      <a:pt x="59973" y="31335"/>
                      <a:pt x="58298" y="24631"/>
                      <a:pt x="48678" y="21934"/>
                    </a:cubicBezTo>
                    <a:cubicBezTo>
                      <a:pt x="38841" y="19165"/>
                      <a:pt x="30971" y="23975"/>
                      <a:pt x="27618" y="35926"/>
                    </a:cubicBezTo>
                    <a:lnTo>
                      <a:pt x="16469" y="75787"/>
                    </a:lnTo>
                    <a:lnTo>
                      <a:pt x="0" y="71196"/>
                    </a:lnTo>
                    <a:lnTo>
                      <a:pt x="19967" y="0"/>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53" name="Freeform 51">
                <a:extLst>
                  <a:ext uri="{FF2B5EF4-FFF2-40B4-BE49-F238E27FC236}">
                    <a16:creationId xmlns:a16="http://schemas.microsoft.com/office/drawing/2014/main" id="{93F2260A-8A97-457F-5734-8C3E3DEB57A5}"/>
                  </a:ext>
                </a:extLst>
              </p:cNvPr>
              <p:cNvSpPr/>
              <p:nvPr/>
            </p:nvSpPr>
            <p:spPr>
              <a:xfrm>
                <a:off x="7136975" y="1762712"/>
                <a:ext cx="72716" cy="78216"/>
              </a:xfrm>
              <a:custGeom>
                <a:avLst/>
                <a:gdLst>
                  <a:gd name="connsiteX0" fmla="*/ 2316 w 72716"/>
                  <a:gd name="connsiteY0" fmla="*/ 27760 h 78216"/>
                  <a:gd name="connsiteX1" fmla="*/ 49027 w 72716"/>
                  <a:gd name="connsiteY1" fmla="*/ 1963 h 78216"/>
                  <a:gd name="connsiteX2" fmla="*/ 70524 w 72716"/>
                  <a:gd name="connsiteY2" fmla="*/ 46270 h 78216"/>
                  <a:gd name="connsiteX3" fmla="*/ 68338 w 72716"/>
                  <a:gd name="connsiteY3" fmla="*/ 52391 h 78216"/>
                  <a:gd name="connsiteX4" fmla="*/ 18348 w 72716"/>
                  <a:gd name="connsiteY4" fmla="*/ 37088 h 78216"/>
                  <a:gd name="connsiteX5" fmla="*/ 32704 w 72716"/>
                  <a:gd name="connsiteY5" fmla="*/ 63176 h 78216"/>
                  <a:gd name="connsiteX6" fmla="*/ 53108 w 72716"/>
                  <a:gd name="connsiteY6" fmla="*/ 60844 h 78216"/>
                  <a:gd name="connsiteX7" fmla="*/ 59666 w 72716"/>
                  <a:gd name="connsiteY7" fmla="*/ 73232 h 78216"/>
                  <a:gd name="connsiteX8" fmla="*/ 27967 w 72716"/>
                  <a:gd name="connsiteY8" fmla="*/ 75710 h 78216"/>
                  <a:gd name="connsiteX9" fmla="*/ 2316 w 72716"/>
                  <a:gd name="connsiteY9" fmla="*/ 27760 h 78216"/>
                  <a:gd name="connsiteX10" fmla="*/ 55440 w 72716"/>
                  <a:gd name="connsiteY10" fmla="*/ 37379 h 78216"/>
                  <a:gd name="connsiteX11" fmla="*/ 44801 w 72716"/>
                  <a:gd name="connsiteY11" fmla="*/ 14497 h 78216"/>
                  <a:gd name="connsiteX12" fmla="*/ 21700 w 72716"/>
                  <a:gd name="connsiteY12" fmla="*/ 27104 h 78216"/>
                  <a:gd name="connsiteX13" fmla="*/ 55440 w 72716"/>
                  <a:gd name="connsiteY13" fmla="*/ 37452 h 78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716" h="78216">
                    <a:moveTo>
                      <a:pt x="2316" y="27760"/>
                    </a:moveTo>
                    <a:cubicBezTo>
                      <a:pt x="9895" y="3129"/>
                      <a:pt x="29789" y="-3939"/>
                      <a:pt x="49027" y="1963"/>
                    </a:cubicBezTo>
                    <a:cubicBezTo>
                      <a:pt x="72710" y="9178"/>
                      <a:pt x="75771" y="29072"/>
                      <a:pt x="70524" y="46270"/>
                    </a:cubicBezTo>
                    <a:cubicBezTo>
                      <a:pt x="69868" y="48310"/>
                      <a:pt x="69140" y="50423"/>
                      <a:pt x="68338" y="52391"/>
                    </a:cubicBezTo>
                    <a:lnTo>
                      <a:pt x="18348" y="37088"/>
                    </a:lnTo>
                    <a:cubicBezTo>
                      <a:pt x="15360" y="50860"/>
                      <a:pt x="20388" y="59387"/>
                      <a:pt x="32704" y="63176"/>
                    </a:cubicBezTo>
                    <a:cubicBezTo>
                      <a:pt x="40647" y="65581"/>
                      <a:pt x="46695" y="64925"/>
                      <a:pt x="53108" y="60844"/>
                    </a:cubicBezTo>
                    <a:lnTo>
                      <a:pt x="59666" y="73232"/>
                    </a:lnTo>
                    <a:cubicBezTo>
                      <a:pt x="50776" y="78625"/>
                      <a:pt x="41594" y="79936"/>
                      <a:pt x="27967" y="75710"/>
                    </a:cubicBezTo>
                    <a:cubicBezTo>
                      <a:pt x="5304" y="68787"/>
                      <a:pt x="-4971" y="51443"/>
                      <a:pt x="2316" y="27760"/>
                    </a:cubicBezTo>
                    <a:close/>
                    <a:moveTo>
                      <a:pt x="55440" y="37379"/>
                    </a:moveTo>
                    <a:cubicBezTo>
                      <a:pt x="58355" y="24627"/>
                      <a:pt x="53982" y="17267"/>
                      <a:pt x="44801" y="14497"/>
                    </a:cubicBezTo>
                    <a:cubicBezTo>
                      <a:pt x="35764" y="11728"/>
                      <a:pt x="27165" y="15080"/>
                      <a:pt x="21700" y="27104"/>
                    </a:cubicBezTo>
                    <a:lnTo>
                      <a:pt x="55440" y="37452"/>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54" name="Freeform 52">
                <a:extLst>
                  <a:ext uri="{FF2B5EF4-FFF2-40B4-BE49-F238E27FC236}">
                    <a16:creationId xmlns:a16="http://schemas.microsoft.com/office/drawing/2014/main" id="{B7C48C7C-FE44-A229-1534-3B1BA4D0C954}"/>
                  </a:ext>
                </a:extLst>
              </p:cNvPr>
              <p:cNvSpPr/>
              <p:nvPr/>
            </p:nvSpPr>
            <p:spPr>
              <a:xfrm>
                <a:off x="7207353" y="1785139"/>
                <a:ext cx="73382" cy="77310"/>
              </a:xfrm>
              <a:custGeom>
                <a:avLst/>
                <a:gdLst>
                  <a:gd name="connsiteX0" fmla="*/ 0 w 73382"/>
                  <a:gd name="connsiteY0" fmla="*/ 54522 h 77310"/>
                  <a:gd name="connsiteX1" fmla="*/ 12971 w 73382"/>
                  <a:gd name="connsiteY1" fmla="*/ 47964 h 77310"/>
                  <a:gd name="connsiteX2" fmla="*/ 29295 w 73382"/>
                  <a:gd name="connsiteY2" fmla="*/ 62320 h 77310"/>
                  <a:gd name="connsiteX3" fmla="*/ 44598 w 73382"/>
                  <a:gd name="connsiteY3" fmla="*/ 58676 h 77310"/>
                  <a:gd name="connsiteX4" fmla="*/ 32137 w 73382"/>
                  <a:gd name="connsiteY4" fmla="*/ 42644 h 77310"/>
                  <a:gd name="connsiteX5" fmla="*/ 17052 w 73382"/>
                  <a:gd name="connsiteY5" fmla="*/ 14078 h 77310"/>
                  <a:gd name="connsiteX6" fmla="*/ 50500 w 73382"/>
                  <a:gd name="connsiteY6" fmla="*/ 2346 h 77310"/>
                  <a:gd name="connsiteX7" fmla="*/ 73382 w 73382"/>
                  <a:gd name="connsiteY7" fmla="*/ 20564 h 77310"/>
                  <a:gd name="connsiteX8" fmla="*/ 60775 w 73382"/>
                  <a:gd name="connsiteY8" fmla="*/ 26904 h 77310"/>
                  <a:gd name="connsiteX9" fmla="*/ 46711 w 73382"/>
                  <a:gd name="connsiteY9" fmla="*/ 14807 h 77310"/>
                  <a:gd name="connsiteX10" fmla="*/ 33084 w 73382"/>
                  <a:gd name="connsiteY10" fmla="*/ 18524 h 77310"/>
                  <a:gd name="connsiteX11" fmla="*/ 45181 w 73382"/>
                  <a:gd name="connsiteY11" fmla="*/ 32952 h 77310"/>
                  <a:gd name="connsiteX12" fmla="*/ 60848 w 73382"/>
                  <a:gd name="connsiteY12" fmla="*/ 62684 h 77310"/>
                  <a:gd name="connsiteX13" fmla="*/ 25505 w 73382"/>
                  <a:gd name="connsiteY13" fmla="*/ 74853 h 77310"/>
                  <a:gd name="connsiteX14" fmla="*/ 73 w 73382"/>
                  <a:gd name="connsiteY14" fmla="*/ 54377 h 7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382" h="77310">
                    <a:moveTo>
                      <a:pt x="0" y="54522"/>
                    </a:moveTo>
                    <a:lnTo>
                      <a:pt x="12971" y="47964"/>
                    </a:lnTo>
                    <a:cubicBezTo>
                      <a:pt x="16542" y="55980"/>
                      <a:pt x="21935" y="59915"/>
                      <a:pt x="29295" y="62320"/>
                    </a:cubicBezTo>
                    <a:cubicBezTo>
                      <a:pt x="36436" y="64651"/>
                      <a:pt x="42703" y="64433"/>
                      <a:pt x="44598" y="58676"/>
                    </a:cubicBezTo>
                    <a:cubicBezTo>
                      <a:pt x="46711" y="52336"/>
                      <a:pt x="41319" y="48620"/>
                      <a:pt x="32137" y="42644"/>
                    </a:cubicBezTo>
                    <a:cubicBezTo>
                      <a:pt x="22226" y="36231"/>
                      <a:pt x="12461" y="27924"/>
                      <a:pt x="17052" y="14078"/>
                    </a:cubicBezTo>
                    <a:cubicBezTo>
                      <a:pt x="21351" y="1034"/>
                      <a:pt x="33886" y="-3119"/>
                      <a:pt x="50500" y="2346"/>
                    </a:cubicBezTo>
                    <a:cubicBezTo>
                      <a:pt x="61358" y="5917"/>
                      <a:pt x="69156" y="12257"/>
                      <a:pt x="73382" y="20564"/>
                    </a:cubicBezTo>
                    <a:lnTo>
                      <a:pt x="60775" y="26904"/>
                    </a:lnTo>
                    <a:cubicBezTo>
                      <a:pt x="57642" y="20491"/>
                      <a:pt x="52395" y="16702"/>
                      <a:pt x="46711" y="14807"/>
                    </a:cubicBezTo>
                    <a:cubicBezTo>
                      <a:pt x="40007" y="12548"/>
                      <a:pt x="34760" y="13422"/>
                      <a:pt x="33084" y="18524"/>
                    </a:cubicBezTo>
                    <a:cubicBezTo>
                      <a:pt x="31335" y="23697"/>
                      <a:pt x="36509" y="27268"/>
                      <a:pt x="45181" y="32952"/>
                    </a:cubicBezTo>
                    <a:cubicBezTo>
                      <a:pt x="55310" y="39438"/>
                      <a:pt x="66022" y="47235"/>
                      <a:pt x="60848" y="62684"/>
                    </a:cubicBezTo>
                    <a:cubicBezTo>
                      <a:pt x="56330" y="76311"/>
                      <a:pt x="42776" y="80537"/>
                      <a:pt x="25505" y="74853"/>
                    </a:cubicBezTo>
                    <a:cubicBezTo>
                      <a:pt x="13263" y="70773"/>
                      <a:pt x="4446" y="64068"/>
                      <a:pt x="73" y="54377"/>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55" name="Freeform 53">
                <a:extLst>
                  <a:ext uri="{FF2B5EF4-FFF2-40B4-BE49-F238E27FC236}">
                    <a16:creationId xmlns:a16="http://schemas.microsoft.com/office/drawing/2014/main" id="{87A3CC6D-CCAF-F15B-7CAF-6570A1640462}"/>
                  </a:ext>
                </a:extLst>
              </p:cNvPr>
              <p:cNvSpPr/>
              <p:nvPr/>
            </p:nvSpPr>
            <p:spPr>
              <a:xfrm>
                <a:off x="7272865" y="1807532"/>
                <a:ext cx="73964" cy="77357"/>
              </a:xfrm>
              <a:custGeom>
                <a:avLst/>
                <a:gdLst>
                  <a:gd name="connsiteX0" fmla="*/ 0 w 73964"/>
                  <a:gd name="connsiteY0" fmla="*/ 53772 h 77357"/>
                  <a:gd name="connsiteX1" fmla="*/ 13117 w 73964"/>
                  <a:gd name="connsiteY1" fmla="*/ 47505 h 77357"/>
                  <a:gd name="connsiteX2" fmla="*/ 29149 w 73964"/>
                  <a:gd name="connsiteY2" fmla="*/ 62152 h 77357"/>
                  <a:gd name="connsiteX3" fmla="*/ 44525 w 73964"/>
                  <a:gd name="connsiteY3" fmla="*/ 58800 h 77357"/>
                  <a:gd name="connsiteX4" fmla="*/ 32355 w 73964"/>
                  <a:gd name="connsiteY4" fmla="*/ 42550 h 77357"/>
                  <a:gd name="connsiteX5" fmla="*/ 17780 w 73964"/>
                  <a:gd name="connsiteY5" fmla="*/ 13693 h 77357"/>
                  <a:gd name="connsiteX6" fmla="*/ 51448 w 73964"/>
                  <a:gd name="connsiteY6" fmla="*/ 2616 h 77357"/>
                  <a:gd name="connsiteX7" fmla="*/ 73965 w 73964"/>
                  <a:gd name="connsiteY7" fmla="*/ 21198 h 77357"/>
                  <a:gd name="connsiteX8" fmla="*/ 61212 w 73964"/>
                  <a:gd name="connsiteY8" fmla="*/ 27320 h 77357"/>
                  <a:gd name="connsiteX9" fmla="*/ 47367 w 73964"/>
                  <a:gd name="connsiteY9" fmla="*/ 15004 h 77357"/>
                  <a:gd name="connsiteX10" fmla="*/ 33667 w 73964"/>
                  <a:gd name="connsiteY10" fmla="*/ 18502 h 77357"/>
                  <a:gd name="connsiteX11" fmla="*/ 45472 w 73964"/>
                  <a:gd name="connsiteY11" fmla="*/ 33149 h 77357"/>
                  <a:gd name="connsiteX12" fmla="*/ 60629 w 73964"/>
                  <a:gd name="connsiteY12" fmla="*/ 63173 h 77357"/>
                  <a:gd name="connsiteX13" fmla="*/ 25067 w 73964"/>
                  <a:gd name="connsiteY13" fmla="*/ 74614 h 77357"/>
                  <a:gd name="connsiteX14" fmla="*/ 72 w 73964"/>
                  <a:gd name="connsiteY14" fmla="*/ 53699 h 77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964" h="77357">
                    <a:moveTo>
                      <a:pt x="0" y="53772"/>
                    </a:moveTo>
                    <a:lnTo>
                      <a:pt x="13117" y="47505"/>
                    </a:lnTo>
                    <a:cubicBezTo>
                      <a:pt x="16469" y="55594"/>
                      <a:pt x="21789" y="59602"/>
                      <a:pt x="29149" y="62152"/>
                    </a:cubicBezTo>
                    <a:cubicBezTo>
                      <a:pt x="36217" y="64630"/>
                      <a:pt x="42484" y="64557"/>
                      <a:pt x="44525" y="58800"/>
                    </a:cubicBezTo>
                    <a:cubicBezTo>
                      <a:pt x="46711" y="52461"/>
                      <a:pt x="41464" y="48671"/>
                      <a:pt x="32355" y="42550"/>
                    </a:cubicBezTo>
                    <a:cubicBezTo>
                      <a:pt x="22590" y="35919"/>
                      <a:pt x="12971" y="27465"/>
                      <a:pt x="17780" y="13693"/>
                    </a:cubicBezTo>
                    <a:cubicBezTo>
                      <a:pt x="22371" y="794"/>
                      <a:pt x="34905" y="-3214"/>
                      <a:pt x="51448" y="2616"/>
                    </a:cubicBezTo>
                    <a:cubicBezTo>
                      <a:pt x="62232" y="6405"/>
                      <a:pt x="69884" y="12818"/>
                      <a:pt x="73965" y="21198"/>
                    </a:cubicBezTo>
                    <a:lnTo>
                      <a:pt x="61212" y="27320"/>
                    </a:lnTo>
                    <a:cubicBezTo>
                      <a:pt x="58225" y="20834"/>
                      <a:pt x="53050" y="16972"/>
                      <a:pt x="47367" y="15004"/>
                    </a:cubicBezTo>
                    <a:cubicBezTo>
                      <a:pt x="40662" y="12672"/>
                      <a:pt x="35489" y="13401"/>
                      <a:pt x="33667" y="18502"/>
                    </a:cubicBezTo>
                    <a:cubicBezTo>
                      <a:pt x="31845" y="23676"/>
                      <a:pt x="36946" y="27320"/>
                      <a:pt x="45472" y="33149"/>
                    </a:cubicBezTo>
                    <a:cubicBezTo>
                      <a:pt x="55528" y="39854"/>
                      <a:pt x="66022" y="47870"/>
                      <a:pt x="60629" y="63173"/>
                    </a:cubicBezTo>
                    <a:cubicBezTo>
                      <a:pt x="55893" y="76654"/>
                      <a:pt x="42193" y="80662"/>
                      <a:pt x="25067" y="74614"/>
                    </a:cubicBezTo>
                    <a:cubicBezTo>
                      <a:pt x="12898" y="70314"/>
                      <a:pt x="4226" y="63391"/>
                      <a:pt x="72" y="53699"/>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56" name="Freeform 54">
                <a:extLst>
                  <a:ext uri="{FF2B5EF4-FFF2-40B4-BE49-F238E27FC236}">
                    <a16:creationId xmlns:a16="http://schemas.microsoft.com/office/drawing/2014/main" id="{989B9DB9-214D-ACF7-D650-E5882992C73C}"/>
                  </a:ext>
                </a:extLst>
              </p:cNvPr>
              <p:cNvSpPr/>
              <p:nvPr/>
            </p:nvSpPr>
            <p:spPr>
              <a:xfrm>
                <a:off x="7362060" y="1838859"/>
                <a:ext cx="97041" cy="102093"/>
              </a:xfrm>
              <a:custGeom>
                <a:avLst/>
                <a:gdLst>
                  <a:gd name="connsiteX0" fmla="*/ 37310 w 97041"/>
                  <a:gd name="connsiteY0" fmla="*/ 0 h 102093"/>
                  <a:gd name="connsiteX1" fmla="*/ 52759 w 97041"/>
                  <a:gd name="connsiteY1" fmla="*/ 6048 h 102093"/>
                  <a:gd name="connsiteX2" fmla="*/ 47221 w 97041"/>
                  <a:gd name="connsiteY2" fmla="*/ 20258 h 102093"/>
                  <a:gd name="connsiteX3" fmla="*/ 47440 w 97041"/>
                  <a:gd name="connsiteY3" fmla="*/ 20258 h 102093"/>
                  <a:gd name="connsiteX4" fmla="*/ 77900 w 97041"/>
                  <a:gd name="connsiteY4" fmla="*/ 14356 h 102093"/>
                  <a:gd name="connsiteX5" fmla="*/ 93203 w 97041"/>
                  <a:gd name="connsiteY5" fmla="*/ 61577 h 102093"/>
                  <a:gd name="connsiteX6" fmla="*/ 50573 w 97041"/>
                  <a:gd name="connsiteY6" fmla="*/ 86135 h 102093"/>
                  <a:gd name="connsiteX7" fmla="*/ 32063 w 97041"/>
                  <a:gd name="connsiteY7" fmla="*/ 61722 h 102093"/>
                  <a:gd name="connsiteX8" fmla="*/ 31772 w 97041"/>
                  <a:gd name="connsiteY8" fmla="*/ 61577 h 102093"/>
                  <a:gd name="connsiteX9" fmla="*/ 15959 w 97041"/>
                  <a:gd name="connsiteY9" fmla="*/ 102094 h 102093"/>
                  <a:gd name="connsiteX10" fmla="*/ 0 w 97041"/>
                  <a:gd name="connsiteY10" fmla="*/ 95899 h 102093"/>
                  <a:gd name="connsiteX11" fmla="*/ 37383 w 97041"/>
                  <a:gd name="connsiteY11" fmla="*/ 73 h 102093"/>
                  <a:gd name="connsiteX12" fmla="*/ 49116 w 97041"/>
                  <a:gd name="connsiteY12" fmla="*/ 70613 h 102093"/>
                  <a:gd name="connsiteX13" fmla="*/ 76443 w 97041"/>
                  <a:gd name="connsiteY13" fmla="*/ 54945 h 102093"/>
                  <a:gd name="connsiteX14" fmla="*/ 66896 w 97041"/>
                  <a:gd name="connsiteY14" fmla="*/ 24922 h 102093"/>
                  <a:gd name="connsiteX15" fmla="*/ 39642 w 97041"/>
                  <a:gd name="connsiteY15" fmla="*/ 40590 h 102093"/>
                  <a:gd name="connsiteX16" fmla="*/ 49116 w 97041"/>
                  <a:gd name="connsiteY16" fmla="*/ 70540 h 10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7041" h="102093">
                    <a:moveTo>
                      <a:pt x="37310" y="0"/>
                    </a:moveTo>
                    <a:lnTo>
                      <a:pt x="52759" y="6048"/>
                    </a:lnTo>
                    <a:lnTo>
                      <a:pt x="47221" y="20258"/>
                    </a:lnTo>
                    <a:lnTo>
                      <a:pt x="47440" y="20258"/>
                    </a:lnTo>
                    <a:cubicBezTo>
                      <a:pt x="53852" y="13700"/>
                      <a:pt x="63326" y="8672"/>
                      <a:pt x="77900" y="14356"/>
                    </a:cubicBezTo>
                    <a:cubicBezTo>
                      <a:pt x="95462" y="21206"/>
                      <a:pt x="101875" y="39351"/>
                      <a:pt x="93203" y="61577"/>
                    </a:cubicBezTo>
                    <a:cubicBezTo>
                      <a:pt x="84823" y="83074"/>
                      <a:pt x="68499" y="93130"/>
                      <a:pt x="50573" y="86135"/>
                    </a:cubicBezTo>
                    <a:cubicBezTo>
                      <a:pt x="37237" y="80888"/>
                      <a:pt x="32282" y="70831"/>
                      <a:pt x="32063" y="61722"/>
                    </a:cubicBezTo>
                    <a:lnTo>
                      <a:pt x="31772" y="61577"/>
                    </a:lnTo>
                    <a:lnTo>
                      <a:pt x="15959" y="102094"/>
                    </a:lnTo>
                    <a:lnTo>
                      <a:pt x="0" y="95899"/>
                    </a:lnTo>
                    <a:lnTo>
                      <a:pt x="37383" y="73"/>
                    </a:lnTo>
                    <a:close/>
                    <a:moveTo>
                      <a:pt x="49116" y="70613"/>
                    </a:moveTo>
                    <a:cubicBezTo>
                      <a:pt x="59828" y="74767"/>
                      <a:pt x="70613" y="69811"/>
                      <a:pt x="76443" y="54945"/>
                    </a:cubicBezTo>
                    <a:cubicBezTo>
                      <a:pt x="82272" y="40080"/>
                      <a:pt x="77681" y="29149"/>
                      <a:pt x="66896" y="24922"/>
                    </a:cubicBezTo>
                    <a:cubicBezTo>
                      <a:pt x="56111" y="20696"/>
                      <a:pt x="45472" y="25724"/>
                      <a:pt x="39642" y="40590"/>
                    </a:cubicBezTo>
                    <a:cubicBezTo>
                      <a:pt x="33885" y="55383"/>
                      <a:pt x="38403" y="66386"/>
                      <a:pt x="49116" y="70540"/>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57" name="Freeform 55">
                <a:extLst>
                  <a:ext uri="{FF2B5EF4-FFF2-40B4-BE49-F238E27FC236}">
                    <a16:creationId xmlns:a16="http://schemas.microsoft.com/office/drawing/2014/main" id="{9949B491-A9CA-2404-9389-D93886D3F476}"/>
                  </a:ext>
                </a:extLst>
              </p:cNvPr>
              <p:cNvSpPr/>
              <p:nvPr/>
            </p:nvSpPr>
            <p:spPr>
              <a:xfrm>
                <a:off x="7456357" y="1872526"/>
                <a:ext cx="65803" cy="74912"/>
              </a:xfrm>
              <a:custGeom>
                <a:avLst/>
                <a:gdLst>
                  <a:gd name="connsiteX0" fmla="*/ 28201 w 65803"/>
                  <a:gd name="connsiteY0" fmla="*/ 0 h 74912"/>
                  <a:gd name="connsiteX1" fmla="*/ 43504 w 65803"/>
                  <a:gd name="connsiteY1" fmla="*/ 6340 h 74912"/>
                  <a:gd name="connsiteX2" fmla="*/ 37456 w 65803"/>
                  <a:gd name="connsiteY2" fmla="*/ 20987 h 74912"/>
                  <a:gd name="connsiteX3" fmla="*/ 37675 w 65803"/>
                  <a:gd name="connsiteY3" fmla="*/ 20987 h 74912"/>
                  <a:gd name="connsiteX4" fmla="*/ 60265 w 65803"/>
                  <a:gd name="connsiteY4" fmla="*/ 11732 h 74912"/>
                  <a:gd name="connsiteX5" fmla="*/ 65803 w 65803"/>
                  <a:gd name="connsiteY5" fmla="*/ 15012 h 74912"/>
                  <a:gd name="connsiteX6" fmla="*/ 59682 w 65803"/>
                  <a:gd name="connsiteY6" fmla="*/ 29805 h 74912"/>
                  <a:gd name="connsiteX7" fmla="*/ 53488 w 65803"/>
                  <a:gd name="connsiteY7" fmla="*/ 26307 h 74912"/>
                  <a:gd name="connsiteX8" fmla="*/ 30023 w 65803"/>
                  <a:gd name="connsiteY8" fmla="*/ 40517 h 74912"/>
                  <a:gd name="connsiteX9" fmla="*/ 15813 w 65803"/>
                  <a:gd name="connsiteY9" fmla="*/ 74912 h 74912"/>
                  <a:gd name="connsiteX10" fmla="*/ 0 w 65803"/>
                  <a:gd name="connsiteY10" fmla="*/ 68427 h 74912"/>
                  <a:gd name="connsiteX11" fmla="*/ 28201 w 65803"/>
                  <a:gd name="connsiteY11" fmla="*/ 73 h 7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803" h="74912">
                    <a:moveTo>
                      <a:pt x="28201" y="0"/>
                    </a:moveTo>
                    <a:lnTo>
                      <a:pt x="43504" y="6340"/>
                    </a:lnTo>
                    <a:lnTo>
                      <a:pt x="37456" y="20987"/>
                    </a:lnTo>
                    <a:lnTo>
                      <a:pt x="37675" y="20987"/>
                    </a:lnTo>
                    <a:cubicBezTo>
                      <a:pt x="44525" y="11076"/>
                      <a:pt x="51739" y="8162"/>
                      <a:pt x="60265" y="11732"/>
                    </a:cubicBezTo>
                    <a:cubicBezTo>
                      <a:pt x="62743" y="12753"/>
                      <a:pt x="64710" y="14064"/>
                      <a:pt x="65803" y="15012"/>
                    </a:cubicBezTo>
                    <a:lnTo>
                      <a:pt x="59682" y="29805"/>
                    </a:lnTo>
                    <a:cubicBezTo>
                      <a:pt x="58152" y="28639"/>
                      <a:pt x="55820" y="27254"/>
                      <a:pt x="53488" y="26307"/>
                    </a:cubicBezTo>
                    <a:cubicBezTo>
                      <a:pt x="42266" y="21643"/>
                      <a:pt x="35197" y="27837"/>
                      <a:pt x="30023" y="40517"/>
                    </a:cubicBezTo>
                    <a:lnTo>
                      <a:pt x="15813" y="74912"/>
                    </a:lnTo>
                    <a:lnTo>
                      <a:pt x="0" y="68427"/>
                    </a:lnTo>
                    <a:lnTo>
                      <a:pt x="28201" y="73"/>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58" name="Freeform 56">
                <a:extLst>
                  <a:ext uri="{FF2B5EF4-FFF2-40B4-BE49-F238E27FC236}">
                    <a16:creationId xmlns:a16="http://schemas.microsoft.com/office/drawing/2014/main" id="{943915FB-D1EE-F1B8-DA63-316D85BBBB2E}"/>
                  </a:ext>
                </a:extLst>
              </p:cNvPr>
              <p:cNvSpPr/>
              <p:nvPr/>
            </p:nvSpPr>
            <p:spPr>
              <a:xfrm>
                <a:off x="7510390" y="1901053"/>
                <a:ext cx="76662" cy="77511"/>
              </a:xfrm>
              <a:custGeom>
                <a:avLst/>
                <a:gdLst>
                  <a:gd name="connsiteX0" fmla="*/ 3827 w 76662"/>
                  <a:gd name="connsiteY0" fmla="*/ 23722 h 77511"/>
                  <a:gd name="connsiteX1" fmla="*/ 53671 w 76662"/>
                  <a:gd name="connsiteY1" fmla="*/ 3609 h 77511"/>
                  <a:gd name="connsiteX2" fmla="*/ 72836 w 76662"/>
                  <a:gd name="connsiteY2" fmla="*/ 53818 h 77511"/>
                  <a:gd name="connsiteX3" fmla="*/ 22992 w 76662"/>
                  <a:gd name="connsiteY3" fmla="*/ 73858 h 77511"/>
                  <a:gd name="connsiteX4" fmla="*/ 3827 w 76662"/>
                  <a:gd name="connsiteY4" fmla="*/ 23722 h 77511"/>
                  <a:gd name="connsiteX5" fmla="*/ 28603 w 76662"/>
                  <a:gd name="connsiteY5" fmla="*/ 61178 h 77511"/>
                  <a:gd name="connsiteX6" fmla="*/ 56440 w 76662"/>
                  <a:gd name="connsiteY6" fmla="*/ 46676 h 77511"/>
                  <a:gd name="connsiteX7" fmla="*/ 48132 w 76662"/>
                  <a:gd name="connsiteY7" fmla="*/ 16362 h 77511"/>
                  <a:gd name="connsiteX8" fmla="*/ 20295 w 76662"/>
                  <a:gd name="connsiteY8" fmla="*/ 30863 h 77511"/>
                  <a:gd name="connsiteX9" fmla="*/ 28603 w 76662"/>
                  <a:gd name="connsiteY9" fmla="*/ 61178 h 77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662" h="77511">
                    <a:moveTo>
                      <a:pt x="3827" y="23722"/>
                    </a:moveTo>
                    <a:cubicBezTo>
                      <a:pt x="13154" y="2370"/>
                      <a:pt x="33412" y="-5208"/>
                      <a:pt x="53671" y="3609"/>
                    </a:cubicBezTo>
                    <a:cubicBezTo>
                      <a:pt x="73929" y="12427"/>
                      <a:pt x="82164" y="32466"/>
                      <a:pt x="72836" y="53818"/>
                    </a:cubicBezTo>
                    <a:cubicBezTo>
                      <a:pt x="63509" y="75169"/>
                      <a:pt x="43250" y="82748"/>
                      <a:pt x="22992" y="73858"/>
                    </a:cubicBezTo>
                    <a:cubicBezTo>
                      <a:pt x="2733" y="65040"/>
                      <a:pt x="-5501" y="45073"/>
                      <a:pt x="3827" y="23722"/>
                    </a:cubicBezTo>
                    <a:close/>
                    <a:moveTo>
                      <a:pt x="28603" y="61178"/>
                    </a:moveTo>
                    <a:cubicBezTo>
                      <a:pt x="39169" y="65769"/>
                      <a:pt x="50100" y="61178"/>
                      <a:pt x="56440" y="46676"/>
                    </a:cubicBezTo>
                    <a:cubicBezTo>
                      <a:pt x="62853" y="32029"/>
                      <a:pt x="58699" y="20953"/>
                      <a:pt x="48132" y="16362"/>
                    </a:cubicBezTo>
                    <a:cubicBezTo>
                      <a:pt x="37566" y="11771"/>
                      <a:pt x="26635" y="16289"/>
                      <a:pt x="20295" y="30863"/>
                    </a:cubicBezTo>
                    <a:cubicBezTo>
                      <a:pt x="13955" y="45438"/>
                      <a:pt x="18109" y="56587"/>
                      <a:pt x="28603" y="61178"/>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59" name="Freeform 57">
                <a:extLst>
                  <a:ext uri="{FF2B5EF4-FFF2-40B4-BE49-F238E27FC236}">
                    <a16:creationId xmlns:a16="http://schemas.microsoft.com/office/drawing/2014/main" id="{0F1B821B-B219-04B2-425F-B910E3ACE269}"/>
                  </a:ext>
                </a:extLst>
              </p:cNvPr>
              <p:cNvSpPr/>
              <p:nvPr/>
            </p:nvSpPr>
            <p:spPr>
              <a:xfrm>
                <a:off x="7589412" y="1936378"/>
                <a:ext cx="75649" cy="77979"/>
              </a:xfrm>
              <a:custGeom>
                <a:avLst/>
                <a:gdLst>
                  <a:gd name="connsiteX0" fmla="*/ 4527 w 75649"/>
                  <a:gd name="connsiteY0" fmla="*/ 23303 h 77979"/>
                  <a:gd name="connsiteX1" fmla="*/ 54517 w 75649"/>
                  <a:gd name="connsiteY1" fmla="*/ 4138 h 77979"/>
                  <a:gd name="connsiteX2" fmla="*/ 75650 w 75649"/>
                  <a:gd name="connsiteY2" fmla="*/ 28841 h 77979"/>
                  <a:gd name="connsiteX3" fmla="*/ 61658 w 75649"/>
                  <a:gd name="connsiteY3" fmla="*/ 32995 h 77979"/>
                  <a:gd name="connsiteX4" fmla="*/ 49343 w 75649"/>
                  <a:gd name="connsiteY4" fmla="*/ 17109 h 77979"/>
                  <a:gd name="connsiteX5" fmla="*/ 20777 w 75649"/>
                  <a:gd name="connsiteY5" fmla="*/ 30882 h 77979"/>
                  <a:gd name="connsiteX6" fmla="*/ 28720 w 75649"/>
                  <a:gd name="connsiteY6" fmla="*/ 61561 h 77979"/>
                  <a:gd name="connsiteX7" fmla="*/ 48833 w 75649"/>
                  <a:gd name="connsiteY7" fmla="*/ 60613 h 77979"/>
                  <a:gd name="connsiteX8" fmla="*/ 54663 w 75649"/>
                  <a:gd name="connsiteY8" fmla="*/ 74095 h 77979"/>
                  <a:gd name="connsiteX9" fmla="*/ 22162 w 75649"/>
                  <a:gd name="connsiteY9" fmla="*/ 73876 h 77979"/>
                  <a:gd name="connsiteX10" fmla="*/ 4454 w 75649"/>
                  <a:gd name="connsiteY10" fmla="*/ 23376 h 7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649" h="77979">
                    <a:moveTo>
                      <a:pt x="4527" y="23303"/>
                    </a:moveTo>
                    <a:cubicBezTo>
                      <a:pt x="14875" y="931"/>
                      <a:pt x="34696" y="-5044"/>
                      <a:pt x="54517" y="4138"/>
                    </a:cubicBezTo>
                    <a:cubicBezTo>
                      <a:pt x="67197" y="10040"/>
                      <a:pt x="73682" y="19149"/>
                      <a:pt x="75650" y="28841"/>
                    </a:cubicBezTo>
                    <a:lnTo>
                      <a:pt x="61658" y="32995"/>
                    </a:lnTo>
                    <a:cubicBezTo>
                      <a:pt x="60274" y="25781"/>
                      <a:pt x="56557" y="20388"/>
                      <a:pt x="49343" y="17109"/>
                    </a:cubicBezTo>
                    <a:cubicBezTo>
                      <a:pt x="38485" y="12081"/>
                      <a:pt x="27700" y="16016"/>
                      <a:pt x="20777" y="30882"/>
                    </a:cubicBezTo>
                    <a:cubicBezTo>
                      <a:pt x="13854" y="45748"/>
                      <a:pt x="17862" y="56533"/>
                      <a:pt x="28720" y="61561"/>
                    </a:cubicBezTo>
                    <a:cubicBezTo>
                      <a:pt x="35862" y="64840"/>
                      <a:pt x="42420" y="64184"/>
                      <a:pt x="48833" y="60613"/>
                    </a:cubicBezTo>
                    <a:lnTo>
                      <a:pt x="54663" y="74095"/>
                    </a:lnTo>
                    <a:cubicBezTo>
                      <a:pt x="45991" y="78831"/>
                      <a:pt x="34915" y="79779"/>
                      <a:pt x="22162" y="73876"/>
                    </a:cubicBezTo>
                    <a:cubicBezTo>
                      <a:pt x="2341" y="64694"/>
                      <a:pt x="-5821" y="45675"/>
                      <a:pt x="4454" y="23376"/>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60" name="Freeform 58">
                <a:extLst>
                  <a:ext uri="{FF2B5EF4-FFF2-40B4-BE49-F238E27FC236}">
                    <a16:creationId xmlns:a16="http://schemas.microsoft.com/office/drawing/2014/main" id="{8CCC2ABE-57B8-135C-172B-002D3CBE5319}"/>
                  </a:ext>
                </a:extLst>
              </p:cNvPr>
              <p:cNvSpPr/>
              <p:nvPr/>
            </p:nvSpPr>
            <p:spPr>
              <a:xfrm>
                <a:off x="7655975" y="1968411"/>
                <a:ext cx="74425" cy="79078"/>
              </a:xfrm>
              <a:custGeom>
                <a:avLst/>
                <a:gdLst>
                  <a:gd name="connsiteX0" fmla="*/ 5079 w 74425"/>
                  <a:gd name="connsiteY0" fmla="*/ 22532 h 79078"/>
                  <a:gd name="connsiteX1" fmla="*/ 55361 w 74425"/>
                  <a:gd name="connsiteY1" fmla="*/ 4387 h 79078"/>
                  <a:gd name="connsiteX2" fmla="*/ 69571 w 74425"/>
                  <a:gd name="connsiteY2" fmla="*/ 51608 h 79078"/>
                  <a:gd name="connsiteX3" fmla="*/ 66437 w 74425"/>
                  <a:gd name="connsiteY3" fmla="*/ 57292 h 79078"/>
                  <a:gd name="connsiteX4" fmla="*/ 19435 w 74425"/>
                  <a:gd name="connsiteY4" fmla="*/ 34192 h 79078"/>
                  <a:gd name="connsiteX5" fmla="*/ 29491 w 74425"/>
                  <a:gd name="connsiteY5" fmla="*/ 62247 h 79078"/>
                  <a:gd name="connsiteX6" fmla="*/ 50041 w 74425"/>
                  <a:gd name="connsiteY6" fmla="*/ 63122 h 79078"/>
                  <a:gd name="connsiteX7" fmla="*/ 54559 w 74425"/>
                  <a:gd name="connsiteY7" fmla="*/ 76457 h 79078"/>
                  <a:gd name="connsiteX8" fmla="*/ 22787 w 74425"/>
                  <a:gd name="connsiteY8" fmla="*/ 73907 h 79078"/>
                  <a:gd name="connsiteX9" fmla="*/ 5006 w 74425"/>
                  <a:gd name="connsiteY9" fmla="*/ 22459 h 79078"/>
                  <a:gd name="connsiteX10" fmla="*/ 56016 w 74425"/>
                  <a:gd name="connsiteY10" fmla="*/ 40386 h 79078"/>
                  <a:gd name="connsiteX11" fmla="*/ 49094 w 74425"/>
                  <a:gd name="connsiteY11" fmla="*/ 16047 h 79078"/>
                  <a:gd name="connsiteX12" fmla="*/ 24317 w 74425"/>
                  <a:gd name="connsiteY12" fmla="*/ 24791 h 79078"/>
                  <a:gd name="connsiteX13" fmla="*/ 56016 w 74425"/>
                  <a:gd name="connsiteY13" fmla="*/ 40313 h 79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425" h="79078">
                    <a:moveTo>
                      <a:pt x="5079" y="22532"/>
                    </a:moveTo>
                    <a:cubicBezTo>
                      <a:pt x="16447" y="-568"/>
                      <a:pt x="37216" y="-4503"/>
                      <a:pt x="55361" y="4387"/>
                    </a:cubicBezTo>
                    <a:cubicBezTo>
                      <a:pt x="77587" y="15318"/>
                      <a:pt x="77514" y="35431"/>
                      <a:pt x="69571" y="51608"/>
                    </a:cubicBezTo>
                    <a:cubicBezTo>
                      <a:pt x="68623" y="53576"/>
                      <a:pt x="67530" y="55470"/>
                      <a:pt x="66437" y="57292"/>
                    </a:cubicBezTo>
                    <a:lnTo>
                      <a:pt x="19435" y="34192"/>
                    </a:lnTo>
                    <a:cubicBezTo>
                      <a:pt x="14334" y="47381"/>
                      <a:pt x="17904" y="56563"/>
                      <a:pt x="29491" y="62247"/>
                    </a:cubicBezTo>
                    <a:cubicBezTo>
                      <a:pt x="36924" y="65891"/>
                      <a:pt x="43045" y="66183"/>
                      <a:pt x="50041" y="63122"/>
                    </a:cubicBezTo>
                    <a:lnTo>
                      <a:pt x="54559" y="76457"/>
                    </a:lnTo>
                    <a:cubicBezTo>
                      <a:pt x="44940" y="80392"/>
                      <a:pt x="35612" y="80174"/>
                      <a:pt x="22787" y="73907"/>
                    </a:cubicBezTo>
                    <a:cubicBezTo>
                      <a:pt x="1508" y="63413"/>
                      <a:pt x="-5925" y="44685"/>
                      <a:pt x="5006" y="22459"/>
                    </a:cubicBezTo>
                    <a:close/>
                    <a:moveTo>
                      <a:pt x="56016" y="40386"/>
                    </a:moveTo>
                    <a:cubicBezTo>
                      <a:pt x="60899" y="28216"/>
                      <a:pt x="57766" y="20273"/>
                      <a:pt x="49094" y="16047"/>
                    </a:cubicBezTo>
                    <a:cubicBezTo>
                      <a:pt x="40567" y="11893"/>
                      <a:pt x="31531" y="13860"/>
                      <a:pt x="24317" y="24791"/>
                    </a:cubicBezTo>
                    <a:lnTo>
                      <a:pt x="56016" y="40313"/>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61" name="Freeform 59">
                <a:extLst>
                  <a:ext uri="{FF2B5EF4-FFF2-40B4-BE49-F238E27FC236}">
                    <a16:creationId xmlns:a16="http://schemas.microsoft.com/office/drawing/2014/main" id="{A0BD070C-E984-7850-DF4E-550A036B2967}"/>
                  </a:ext>
                </a:extLst>
              </p:cNvPr>
              <p:cNvSpPr/>
              <p:nvPr/>
            </p:nvSpPr>
            <p:spPr>
              <a:xfrm>
                <a:off x="7720590" y="2001946"/>
                <a:ext cx="77681" cy="77486"/>
              </a:xfrm>
              <a:custGeom>
                <a:avLst/>
                <a:gdLst>
                  <a:gd name="connsiteX0" fmla="*/ 0 w 77681"/>
                  <a:gd name="connsiteY0" fmla="*/ 48314 h 77486"/>
                  <a:gd name="connsiteX1" fmla="*/ 13846 w 77681"/>
                  <a:gd name="connsiteY1" fmla="*/ 43869 h 77486"/>
                  <a:gd name="connsiteX2" fmla="*/ 27692 w 77681"/>
                  <a:gd name="connsiteY2" fmla="*/ 60630 h 77486"/>
                  <a:gd name="connsiteX3" fmla="*/ 43359 w 77681"/>
                  <a:gd name="connsiteY3" fmla="*/ 59464 h 77486"/>
                  <a:gd name="connsiteX4" fmla="*/ 33521 w 77681"/>
                  <a:gd name="connsiteY4" fmla="*/ 41683 h 77486"/>
                  <a:gd name="connsiteX5" fmla="*/ 23101 w 77681"/>
                  <a:gd name="connsiteY5" fmla="*/ 11077 h 77486"/>
                  <a:gd name="connsiteX6" fmla="*/ 57933 w 77681"/>
                  <a:gd name="connsiteY6" fmla="*/ 4737 h 77486"/>
                  <a:gd name="connsiteX7" fmla="*/ 77682 w 77681"/>
                  <a:gd name="connsiteY7" fmla="*/ 26307 h 77486"/>
                  <a:gd name="connsiteX8" fmla="*/ 64201 w 77681"/>
                  <a:gd name="connsiteY8" fmla="*/ 30607 h 77486"/>
                  <a:gd name="connsiteX9" fmla="*/ 52177 w 77681"/>
                  <a:gd name="connsiteY9" fmla="*/ 16469 h 77486"/>
                  <a:gd name="connsiteX10" fmla="*/ 38112 w 77681"/>
                  <a:gd name="connsiteY10" fmla="*/ 18073 h 77486"/>
                  <a:gd name="connsiteX11" fmla="*/ 47804 w 77681"/>
                  <a:gd name="connsiteY11" fmla="*/ 34177 h 77486"/>
                  <a:gd name="connsiteX12" fmla="*/ 58662 w 77681"/>
                  <a:gd name="connsiteY12" fmla="*/ 66022 h 77486"/>
                  <a:gd name="connsiteX13" fmla="*/ 21862 w 77681"/>
                  <a:gd name="connsiteY13" fmla="*/ 72508 h 77486"/>
                  <a:gd name="connsiteX14" fmla="*/ 0 w 77681"/>
                  <a:gd name="connsiteY14" fmla="*/ 48314 h 7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681" h="77486">
                    <a:moveTo>
                      <a:pt x="0" y="48314"/>
                    </a:moveTo>
                    <a:lnTo>
                      <a:pt x="13846" y="43869"/>
                    </a:lnTo>
                    <a:cubicBezTo>
                      <a:pt x="16105" y="52322"/>
                      <a:pt x="20842" y="57059"/>
                      <a:pt x="27692" y="60630"/>
                    </a:cubicBezTo>
                    <a:cubicBezTo>
                      <a:pt x="34396" y="64055"/>
                      <a:pt x="40590" y="64856"/>
                      <a:pt x="43359" y="59464"/>
                    </a:cubicBezTo>
                    <a:cubicBezTo>
                      <a:pt x="46420" y="53488"/>
                      <a:pt x="41683" y="49043"/>
                      <a:pt x="33521" y="41683"/>
                    </a:cubicBezTo>
                    <a:cubicBezTo>
                      <a:pt x="24704" y="33813"/>
                      <a:pt x="16396" y="24048"/>
                      <a:pt x="23101" y="11077"/>
                    </a:cubicBezTo>
                    <a:cubicBezTo>
                      <a:pt x="29368" y="-1093"/>
                      <a:pt x="42411" y="-3279"/>
                      <a:pt x="57933" y="4737"/>
                    </a:cubicBezTo>
                    <a:cubicBezTo>
                      <a:pt x="68063" y="9984"/>
                      <a:pt x="74840" y="17417"/>
                      <a:pt x="77682" y="26307"/>
                    </a:cubicBezTo>
                    <a:lnTo>
                      <a:pt x="64201" y="30607"/>
                    </a:lnTo>
                    <a:cubicBezTo>
                      <a:pt x="62087" y="23757"/>
                      <a:pt x="57496" y="19239"/>
                      <a:pt x="52177" y="16469"/>
                    </a:cubicBezTo>
                    <a:cubicBezTo>
                      <a:pt x="45837" y="13190"/>
                      <a:pt x="40590" y="13263"/>
                      <a:pt x="38112" y="18073"/>
                    </a:cubicBezTo>
                    <a:cubicBezTo>
                      <a:pt x="35634" y="22955"/>
                      <a:pt x="40152" y="27254"/>
                      <a:pt x="47804" y="34177"/>
                    </a:cubicBezTo>
                    <a:cubicBezTo>
                      <a:pt x="56840" y="42193"/>
                      <a:pt x="66168" y="51521"/>
                      <a:pt x="58662" y="66022"/>
                    </a:cubicBezTo>
                    <a:cubicBezTo>
                      <a:pt x="52104" y="78775"/>
                      <a:pt x="38039" y="80815"/>
                      <a:pt x="21862" y="72508"/>
                    </a:cubicBezTo>
                    <a:cubicBezTo>
                      <a:pt x="10421" y="66605"/>
                      <a:pt x="2769" y="58516"/>
                      <a:pt x="0" y="48314"/>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62" name="Freeform 60">
                <a:extLst>
                  <a:ext uri="{FF2B5EF4-FFF2-40B4-BE49-F238E27FC236}">
                    <a16:creationId xmlns:a16="http://schemas.microsoft.com/office/drawing/2014/main" id="{C8FCD345-BE29-B5DC-C2E1-84898275ED45}"/>
                  </a:ext>
                </a:extLst>
              </p:cNvPr>
              <p:cNvSpPr/>
              <p:nvPr/>
            </p:nvSpPr>
            <p:spPr>
              <a:xfrm>
                <a:off x="7781802" y="2034657"/>
                <a:ext cx="78118" cy="77387"/>
              </a:xfrm>
              <a:custGeom>
                <a:avLst/>
                <a:gdLst>
                  <a:gd name="connsiteX0" fmla="*/ 73 w 78118"/>
                  <a:gd name="connsiteY0" fmla="*/ 47448 h 77387"/>
                  <a:gd name="connsiteX1" fmla="*/ 13991 w 78118"/>
                  <a:gd name="connsiteY1" fmla="*/ 43294 h 77387"/>
                  <a:gd name="connsiteX2" fmla="*/ 27473 w 78118"/>
                  <a:gd name="connsiteY2" fmla="*/ 60346 h 77387"/>
                  <a:gd name="connsiteX3" fmla="*/ 43140 w 78118"/>
                  <a:gd name="connsiteY3" fmla="*/ 59472 h 77387"/>
                  <a:gd name="connsiteX4" fmla="*/ 33667 w 78118"/>
                  <a:gd name="connsiteY4" fmla="*/ 41473 h 77387"/>
                  <a:gd name="connsiteX5" fmla="*/ 23829 w 78118"/>
                  <a:gd name="connsiteY5" fmla="*/ 10721 h 77387"/>
                  <a:gd name="connsiteX6" fmla="*/ 58808 w 78118"/>
                  <a:gd name="connsiteY6" fmla="*/ 5110 h 77387"/>
                  <a:gd name="connsiteX7" fmla="*/ 78119 w 78118"/>
                  <a:gd name="connsiteY7" fmla="*/ 27044 h 77387"/>
                  <a:gd name="connsiteX8" fmla="*/ 64564 w 78118"/>
                  <a:gd name="connsiteY8" fmla="*/ 31052 h 77387"/>
                  <a:gd name="connsiteX9" fmla="*/ 52832 w 78118"/>
                  <a:gd name="connsiteY9" fmla="*/ 16696 h 77387"/>
                  <a:gd name="connsiteX10" fmla="*/ 38768 w 78118"/>
                  <a:gd name="connsiteY10" fmla="*/ 17935 h 77387"/>
                  <a:gd name="connsiteX11" fmla="*/ 48095 w 78118"/>
                  <a:gd name="connsiteY11" fmla="*/ 34258 h 77387"/>
                  <a:gd name="connsiteX12" fmla="*/ 58298 w 78118"/>
                  <a:gd name="connsiteY12" fmla="*/ 66322 h 77387"/>
                  <a:gd name="connsiteX13" fmla="*/ 21351 w 78118"/>
                  <a:gd name="connsiteY13" fmla="*/ 72006 h 77387"/>
                  <a:gd name="connsiteX14" fmla="*/ 0 w 78118"/>
                  <a:gd name="connsiteY14" fmla="*/ 47375 h 7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18" h="77387">
                    <a:moveTo>
                      <a:pt x="73" y="47448"/>
                    </a:moveTo>
                    <a:lnTo>
                      <a:pt x="13991" y="43294"/>
                    </a:lnTo>
                    <a:cubicBezTo>
                      <a:pt x="16032" y="51821"/>
                      <a:pt x="20696" y="56630"/>
                      <a:pt x="27473" y="60346"/>
                    </a:cubicBezTo>
                    <a:cubicBezTo>
                      <a:pt x="34031" y="63917"/>
                      <a:pt x="40225" y="64865"/>
                      <a:pt x="43140" y="59472"/>
                    </a:cubicBezTo>
                    <a:cubicBezTo>
                      <a:pt x="46346" y="53569"/>
                      <a:pt x="41683" y="48978"/>
                      <a:pt x="33667" y="41473"/>
                    </a:cubicBezTo>
                    <a:cubicBezTo>
                      <a:pt x="25068" y="33384"/>
                      <a:pt x="16906" y="23546"/>
                      <a:pt x="23829" y="10721"/>
                    </a:cubicBezTo>
                    <a:cubicBezTo>
                      <a:pt x="30387" y="-1303"/>
                      <a:pt x="43432" y="-3271"/>
                      <a:pt x="58808" y="5110"/>
                    </a:cubicBezTo>
                    <a:cubicBezTo>
                      <a:pt x="68864" y="10575"/>
                      <a:pt x="75422" y="18154"/>
                      <a:pt x="78119" y="27044"/>
                    </a:cubicBezTo>
                    <a:lnTo>
                      <a:pt x="64564" y="31052"/>
                    </a:lnTo>
                    <a:cubicBezTo>
                      <a:pt x="62597" y="24129"/>
                      <a:pt x="58152" y="19538"/>
                      <a:pt x="52832" y="16696"/>
                    </a:cubicBezTo>
                    <a:cubicBezTo>
                      <a:pt x="46565" y="13344"/>
                      <a:pt x="41318" y="13198"/>
                      <a:pt x="38768" y="17935"/>
                    </a:cubicBezTo>
                    <a:cubicBezTo>
                      <a:pt x="36145" y="22745"/>
                      <a:pt x="40590" y="27190"/>
                      <a:pt x="48095" y="34258"/>
                    </a:cubicBezTo>
                    <a:cubicBezTo>
                      <a:pt x="56986" y="42420"/>
                      <a:pt x="66095" y="52039"/>
                      <a:pt x="58298" y="66322"/>
                    </a:cubicBezTo>
                    <a:cubicBezTo>
                      <a:pt x="51448" y="78929"/>
                      <a:pt x="37310" y="80678"/>
                      <a:pt x="21351" y="72006"/>
                    </a:cubicBezTo>
                    <a:cubicBezTo>
                      <a:pt x="9983" y="65812"/>
                      <a:pt x="2550" y="57650"/>
                      <a:pt x="0" y="47375"/>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63" name="Freeform 61">
                <a:extLst>
                  <a:ext uri="{FF2B5EF4-FFF2-40B4-BE49-F238E27FC236}">
                    <a16:creationId xmlns:a16="http://schemas.microsoft.com/office/drawing/2014/main" id="{D27E2BD1-285F-ED69-B43C-1DBA577E15C4}"/>
                  </a:ext>
                </a:extLst>
              </p:cNvPr>
              <p:cNvSpPr/>
              <p:nvPr/>
            </p:nvSpPr>
            <p:spPr>
              <a:xfrm>
                <a:off x="7851264" y="2072091"/>
                <a:ext cx="74825" cy="79328"/>
              </a:xfrm>
              <a:custGeom>
                <a:avLst/>
                <a:gdLst>
                  <a:gd name="connsiteX0" fmla="*/ 6252 w 74825"/>
                  <a:gd name="connsiteY0" fmla="*/ 20508 h 79328"/>
                  <a:gd name="connsiteX1" fmla="*/ 57481 w 74825"/>
                  <a:gd name="connsiteY1" fmla="*/ 5569 h 79328"/>
                  <a:gd name="connsiteX2" fmla="*/ 68704 w 74825"/>
                  <a:gd name="connsiteY2" fmla="*/ 53519 h 79328"/>
                  <a:gd name="connsiteX3" fmla="*/ 65278 w 74825"/>
                  <a:gd name="connsiteY3" fmla="*/ 58984 h 79328"/>
                  <a:gd name="connsiteX4" fmla="*/ 19806 w 74825"/>
                  <a:gd name="connsiteY4" fmla="*/ 33115 h 79328"/>
                  <a:gd name="connsiteX5" fmla="*/ 28114 w 74825"/>
                  <a:gd name="connsiteY5" fmla="*/ 61680 h 79328"/>
                  <a:gd name="connsiteX6" fmla="*/ 48591 w 74825"/>
                  <a:gd name="connsiteY6" fmla="*/ 63867 h 79328"/>
                  <a:gd name="connsiteX7" fmla="*/ 52307 w 74825"/>
                  <a:gd name="connsiteY7" fmla="*/ 77421 h 79328"/>
                  <a:gd name="connsiteX8" fmla="*/ 20827 w 74825"/>
                  <a:gd name="connsiteY8" fmla="*/ 72903 h 79328"/>
                  <a:gd name="connsiteX9" fmla="*/ 6252 w 74825"/>
                  <a:gd name="connsiteY9" fmla="*/ 20508 h 79328"/>
                  <a:gd name="connsiteX10" fmla="*/ 56024 w 74825"/>
                  <a:gd name="connsiteY10" fmla="*/ 41495 h 79328"/>
                  <a:gd name="connsiteX11" fmla="*/ 50631 w 74825"/>
                  <a:gd name="connsiteY11" fmla="*/ 16791 h 79328"/>
                  <a:gd name="connsiteX12" fmla="*/ 25345 w 74825"/>
                  <a:gd name="connsiteY12" fmla="*/ 24006 h 79328"/>
                  <a:gd name="connsiteX13" fmla="*/ 56024 w 74825"/>
                  <a:gd name="connsiteY13" fmla="*/ 41495 h 79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825" h="79328">
                    <a:moveTo>
                      <a:pt x="6252" y="20508"/>
                    </a:moveTo>
                    <a:cubicBezTo>
                      <a:pt x="19005" y="-1864"/>
                      <a:pt x="39992" y="-4415"/>
                      <a:pt x="57481" y="5569"/>
                    </a:cubicBezTo>
                    <a:cubicBezTo>
                      <a:pt x="78978" y="17811"/>
                      <a:pt x="77667" y="37924"/>
                      <a:pt x="68704" y="53519"/>
                    </a:cubicBezTo>
                    <a:cubicBezTo>
                      <a:pt x="67610" y="55413"/>
                      <a:pt x="66445" y="57235"/>
                      <a:pt x="65278" y="58984"/>
                    </a:cubicBezTo>
                    <a:lnTo>
                      <a:pt x="19806" y="33115"/>
                    </a:lnTo>
                    <a:cubicBezTo>
                      <a:pt x="13904" y="45940"/>
                      <a:pt x="16891" y="55340"/>
                      <a:pt x="28114" y="61680"/>
                    </a:cubicBezTo>
                    <a:cubicBezTo>
                      <a:pt x="35328" y="65761"/>
                      <a:pt x="41377" y="66417"/>
                      <a:pt x="48591" y="63867"/>
                    </a:cubicBezTo>
                    <a:lnTo>
                      <a:pt x="52307" y="77421"/>
                    </a:lnTo>
                    <a:cubicBezTo>
                      <a:pt x="42469" y="80773"/>
                      <a:pt x="33215" y="79971"/>
                      <a:pt x="20827" y="72903"/>
                    </a:cubicBezTo>
                    <a:cubicBezTo>
                      <a:pt x="204" y="61170"/>
                      <a:pt x="-5990" y="42005"/>
                      <a:pt x="6252" y="20508"/>
                    </a:cubicBezTo>
                    <a:close/>
                    <a:moveTo>
                      <a:pt x="56024" y="41495"/>
                    </a:moveTo>
                    <a:cubicBezTo>
                      <a:pt x="61635" y="29690"/>
                      <a:pt x="59011" y="21528"/>
                      <a:pt x="50631" y="16791"/>
                    </a:cubicBezTo>
                    <a:cubicBezTo>
                      <a:pt x="42396" y="12127"/>
                      <a:pt x="33287" y="13512"/>
                      <a:pt x="25345" y="24006"/>
                    </a:cubicBezTo>
                    <a:lnTo>
                      <a:pt x="56024" y="41495"/>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08" name="Freeform 62">
                <a:extLst>
                  <a:ext uri="{FF2B5EF4-FFF2-40B4-BE49-F238E27FC236}">
                    <a16:creationId xmlns:a16="http://schemas.microsoft.com/office/drawing/2014/main" id="{0A4994D9-9CE6-0A6C-49A9-83BBF6D253E5}"/>
                  </a:ext>
                </a:extLst>
              </p:cNvPr>
              <p:cNvSpPr/>
              <p:nvPr/>
            </p:nvSpPr>
            <p:spPr>
              <a:xfrm>
                <a:off x="7913190" y="2109890"/>
                <a:ext cx="78992" cy="77301"/>
              </a:xfrm>
              <a:custGeom>
                <a:avLst/>
                <a:gdLst>
                  <a:gd name="connsiteX0" fmla="*/ 0 w 78992"/>
                  <a:gd name="connsiteY0" fmla="*/ 45598 h 77301"/>
                  <a:gd name="connsiteX1" fmla="*/ 14064 w 78992"/>
                  <a:gd name="connsiteY1" fmla="*/ 42100 h 77301"/>
                  <a:gd name="connsiteX2" fmla="*/ 26817 w 78992"/>
                  <a:gd name="connsiteY2" fmla="*/ 59735 h 77301"/>
                  <a:gd name="connsiteX3" fmla="*/ 42557 w 78992"/>
                  <a:gd name="connsiteY3" fmla="*/ 59516 h 77301"/>
                  <a:gd name="connsiteX4" fmla="*/ 33885 w 78992"/>
                  <a:gd name="connsiteY4" fmla="*/ 41152 h 77301"/>
                  <a:gd name="connsiteX5" fmla="*/ 25432 w 78992"/>
                  <a:gd name="connsiteY5" fmla="*/ 9963 h 77301"/>
                  <a:gd name="connsiteX6" fmla="*/ 60629 w 78992"/>
                  <a:gd name="connsiteY6" fmla="*/ 5883 h 77301"/>
                  <a:gd name="connsiteX7" fmla="*/ 78993 w 78992"/>
                  <a:gd name="connsiteY7" fmla="*/ 28619 h 77301"/>
                  <a:gd name="connsiteX8" fmla="*/ 65293 w 78992"/>
                  <a:gd name="connsiteY8" fmla="*/ 32044 h 77301"/>
                  <a:gd name="connsiteX9" fmla="*/ 54217 w 78992"/>
                  <a:gd name="connsiteY9" fmla="*/ 17178 h 77301"/>
                  <a:gd name="connsiteX10" fmla="*/ 40080 w 78992"/>
                  <a:gd name="connsiteY10" fmla="*/ 17834 h 77301"/>
                  <a:gd name="connsiteX11" fmla="*/ 48751 w 78992"/>
                  <a:gd name="connsiteY11" fmla="*/ 34521 h 77301"/>
                  <a:gd name="connsiteX12" fmla="*/ 57569 w 78992"/>
                  <a:gd name="connsiteY12" fmla="*/ 67022 h 77301"/>
                  <a:gd name="connsiteX13" fmla="*/ 20404 w 78992"/>
                  <a:gd name="connsiteY13" fmla="*/ 71103 h 77301"/>
                  <a:gd name="connsiteX14" fmla="*/ 72 w 78992"/>
                  <a:gd name="connsiteY14" fmla="*/ 45598 h 7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992" h="77301">
                    <a:moveTo>
                      <a:pt x="0" y="45598"/>
                    </a:moveTo>
                    <a:lnTo>
                      <a:pt x="14064" y="42100"/>
                    </a:lnTo>
                    <a:cubicBezTo>
                      <a:pt x="15740" y="50699"/>
                      <a:pt x="20185" y="55727"/>
                      <a:pt x="26817" y="59735"/>
                    </a:cubicBezTo>
                    <a:cubicBezTo>
                      <a:pt x="33230" y="63597"/>
                      <a:pt x="39423" y="64763"/>
                      <a:pt x="42557" y="59516"/>
                    </a:cubicBezTo>
                    <a:cubicBezTo>
                      <a:pt x="45982" y="53759"/>
                      <a:pt x="41537" y="48950"/>
                      <a:pt x="33885" y="41152"/>
                    </a:cubicBezTo>
                    <a:cubicBezTo>
                      <a:pt x="25651" y="32699"/>
                      <a:pt x="17926" y="22497"/>
                      <a:pt x="25432" y="9963"/>
                    </a:cubicBezTo>
                    <a:cubicBezTo>
                      <a:pt x="32501" y="-1769"/>
                      <a:pt x="45617" y="-3154"/>
                      <a:pt x="60629" y="5883"/>
                    </a:cubicBezTo>
                    <a:cubicBezTo>
                      <a:pt x="70394" y="11785"/>
                      <a:pt x="76661" y="19582"/>
                      <a:pt x="78993" y="28619"/>
                    </a:cubicBezTo>
                    <a:lnTo>
                      <a:pt x="65293" y="32044"/>
                    </a:lnTo>
                    <a:cubicBezTo>
                      <a:pt x="63617" y="25048"/>
                      <a:pt x="59317" y="20311"/>
                      <a:pt x="54217" y="17178"/>
                    </a:cubicBezTo>
                    <a:cubicBezTo>
                      <a:pt x="48168" y="13534"/>
                      <a:pt x="42849" y="13243"/>
                      <a:pt x="40080" y="17834"/>
                    </a:cubicBezTo>
                    <a:cubicBezTo>
                      <a:pt x="37237" y="22497"/>
                      <a:pt x="41537" y="27161"/>
                      <a:pt x="48751" y="34521"/>
                    </a:cubicBezTo>
                    <a:cubicBezTo>
                      <a:pt x="57277" y="43120"/>
                      <a:pt x="65949" y="53031"/>
                      <a:pt x="57569" y="67022"/>
                    </a:cubicBezTo>
                    <a:cubicBezTo>
                      <a:pt x="50208" y="79265"/>
                      <a:pt x="35999" y="80503"/>
                      <a:pt x="20404" y="71103"/>
                    </a:cubicBezTo>
                    <a:cubicBezTo>
                      <a:pt x="9327" y="64472"/>
                      <a:pt x="2259" y="55945"/>
                      <a:pt x="72" y="45598"/>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grpSp>
          <p:nvGrpSpPr>
            <p:cNvPr id="1409" name="Graphic 2">
              <a:extLst>
                <a:ext uri="{FF2B5EF4-FFF2-40B4-BE49-F238E27FC236}">
                  <a16:creationId xmlns:a16="http://schemas.microsoft.com/office/drawing/2014/main" id="{8100DE1B-3374-A394-E8F3-3AC5F02BF8DF}"/>
                </a:ext>
              </a:extLst>
            </p:cNvPr>
            <p:cNvGrpSpPr/>
            <p:nvPr/>
          </p:nvGrpSpPr>
          <p:grpSpPr>
            <a:xfrm>
              <a:off x="3332288" y="2340278"/>
              <a:ext cx="5584142" cy="2322545"/>
              <a:chOff x="3333266" y="2339999"/>
              <a:chExt cx="5585775" cy="2323155"/>
            </a:xfrm>
          </p:grpSpPr>
          <p:sp>
            <p:nvSpPr>
              <p:cNvPr id="1410" name="Freeform 64">
                <a:extLst>
                  <a:ext uri="{FF2B5EF4-FFF2-40B4-BE49-F238E27FC236}">
                    <a16:creationId xmlns:a16="http://schemas.microsoft.com/office/drawing/2014/main" id="{B9D7B4D9-703E-CB63-9C4B-63C3ED53A14A}"/>
                  </a:ext>
                </a:extLst>
              </p:cNvPr>
              <p:cNvSpPr/>
              <p:nvPr/>
            </p:nvSpPr>
            <p:spPr>
              <a:xfrm>
                <a:off x="3333266" y="4575635"/>
                <a:ext cx="107048" cy="83000"/>
              </a:xfrm>
              <a:custGeom>
                <a:avLst/>
                <a:gdLst>
                  <a:gd name="connsiteX0" fmla="*/ 0 w 107048"/>
                  <a:gd name="connsiteY0" fmla="*/ 63544 h 83000"/>
                  <a:gd name="connsiteX1" fmla="*/ 13263 w 107048"/>
                  <a:gd name="connsiteY1" fmla="*/ 0 h 83000"/>
                  <a:gd name="connsiteX2" fmla="*/ 28420 w 107048"/>
                  <a:gd name="connsiteY2" fmla="*/ 3133 h 83000"/>
                  <a:gd name="connsiteX3" fmla="*/ 18874 w 107048"/>
                  <a:gd name="connsiteY3" fmla="*/ 49116 h 83000"/>
                  <a:gd name="connsiteX4" fmla="*/ 41974 w 107048"/>
                  <a:gd name="connsiteY4" fmla="*/ 53925 h 83000"/>
                  <a:gd name="connsiteX5" fmla="*/ 50719 w 107048"/>
                  <a:gd name="connsiteY5" fmla="*/ 11951 h 83000"/>
                  <a:gd name="connsiteX6" fmla="*/ 65512 w 107048"/>
                  <a:gd name="connsiteY6" fmla="*/ 15012 h 83000"/>
                  <a:gd name="connsiteX7" fmla="*/ 56767 w 107048"/>
                  <a:gd name="connsiteY7" fmla="*/ 56986 h 83000"/>
                  <a:gd name="connsiteX8" fmla="*/ 81762 w 107048"/>
                  <a:gd name="connsiteY8" fmla="*/ 62232 h 83000"/>
                  <a:gd name="connsiteX9" fmla="*/ 91891 w 107048"/>
                  <a:gd name="connsiteY9" fmla="*/ 13554 h 83000"/>
                  <a:gd name="connsiteX10" fmla="*/ 107049 w 107048"/>
                  <a:gd name="connsiteY10" fmla="*/ 16687 h 83000"/>
                  <a:gd name="connsiteX11" fmla="*/ 93203 w 107048"/>
                  <a:gd name="connsiteY11" fmla="*/ 83001 h 83000"/>
                  <a:gd name="connsiteX12" fmla="*/ 0 w 107048"/>
                  <a:gd name="connsiteY12" fmla="*/ 63544 h 8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048" h="83000">
                    <a:moveTo>
                      <a:pt x="0" y="63544"/>
                    </a:moveTo>
                    <a:lnTo>
                      <a:pt x="13263" y="0"/>
                    </a:lnTo>
                    <a:lnTo>
                      <a:pt x="28420" y="3133"/>
                    </a:lnTo>
                    <a:lnTo>
                      <a:pt x="18874" y="49116"/>
                    </a:lnTo>
                    <a:lnTo>
                      <a:pt x="41974" y="53925"/>
                    </a:lnTo>
                    <a:lnTo>
                      <a:pt x="50719" y="11951"/>
                    </a:lnTo>
                    <a:lnTo>
                      <a:pt x="65512" y="15012"/>
                    </a:lnTo>
                    <a:lnTo>
                      <a:pt x="56767" y="56986"/>
                    </a:lnTo>
                    <a:lnTo>
                      <a:pt x="81762" y="62232"/>
                    </a:lnTo>
                    <a:lnTo>
                      <a:pt x="91891" y="13554"/>
                    </a:lnTo>
                    <a:lnTo>
                      <a:pt x="107049" y="16687"/>
                    </a:lnTo>
                    <a:lnTo>
                      <a:pt x="93203" y="83001"/>
                    </a:lnTo>
                    <a:lnTo>
                      <a:pt x="0" y="63544"/>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11" name="Freeform 65">
                <a:extLst>
                  <a:ext uri="{FF2B5EF4-FFF2-40B4-BE49-F238E27FC236}">
                    <a16:creationId xmlns:a16="http://schemas.microsoft.com/office/drawing/2014/main" id="{FF0E11E3-FBD4-8F57-95C2-39EB52C401BC}"/>
                  </a:ext>
                </a:extLst>
              </p:cNvPr>
              <p:cNvSpPr/>
              <p:nvPr/>
            </p:nvSpPr>
            <p:spPr>
              <a:xfrm>
                <a:off x="3376657" y="4503055"/>
                <a:ext cx="77156" cy="72180"/>
              </a:xfrm>
              <a:custGeom>
                <a:avLst/>
                <a:gdLst>
                  <a:gd name="connsiteX0" fmla="*/ 29991 w 77156"/>
                  <a:gd name="connsiteY0" fmla="*/ 70686 h 72180"/>
                  <a:gd name="connsiteX1" fmla="*/ 1279 w 77156"/>
                  <a:gd name="connsiteY1" fmla="*/ 25578 h 72180"/>
                  <a:gd name="connsiteX2" fmla="*/ 21246 w 77156"/>
                  <a:gd name="connsiteY2" fmla="*/ 0 h 72180"/>
                  <a:gd name="connsiteX3" fmla="*/ 28096 w 77156"/>
                  <a:gd name="connsiteY3" fmla="*/ 12898 h 72180"/>
                  <a:gd name="connsiteX4" fmla="*/ 14979 w 77156"/>
                  <a:gd name="connsiteY4" fmla="*/ 28128 h 72180"/>
                  <a:gd name="connsiteX5" fmla="*/ 34145 w 77156"/>
                  <a:gd name="connsiteY5" fmla="*/ 53342 h 72180"/>
                  <a:gd name="connsiteX6" fmla="*/ 62565 w 77156"/>
                  <a:gd name="connsiteY6" fmla="*/ 39496 h 72180"/>
                  <a:gd name="connsiteX7" fmla="*/ 57609 w 77156"/>
                  <a:gd name="connsiteY7" fmla="*/ 19967 h 72180"/>
                  <a:gd name="connsiteX8" fmla="*/ 69633 w 77156"/>
                  <a:gd name="connsiteY8" fmla="*/ 11587 h 72180"/>
                  <a:gd name="connsiteX9" fmla="*/ 75827 w 77156"/>
                  <a:gd name="connsiteY9" fmla="*/ 43432 h 72180"/>
                  <a:gd name="connsiteX10" fmla="*/ 29918 w 77156"/>
                  <a:gd name="connsiteY10" fmla="*/ 70759 h 72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56" h="72180">
                    <a:moveTo>
                      <a:pt x="29991" y="70686"/>
                    </a:moveTo>
                    <a:cubicBezTo>
                      <a:pt x="6089" y="65002"/>
                      <a:pt x="-3749" y="46784"/>
                      <a:pt x="1279" y="25578"/>
                    </a:cubicBezTo>
                    <a:cubicBezTo>
                      <a:pt x="4559" y="11951"/>
                      <a:pt x="12137" y="3862"/>
                      <a:pt x="21246" y="0"/>
                    </a:cubicBezTo>
                    <a:lnTo>
                      <a:pt x="28096" y="12898"/>
                    </a:lnTo>
                    <a:cubicBezTo>
                      <a:pt x="21319" y="15668"/>
                      <a:pt x="16801" y="20404"/>
                      <a:pt x="14979" y="28128"/>
                    </a:cubicBezTo>
                    <a:cubicBezTo>
                      <a:pt x="12210" y="39788"/>
                      <a:pt x="18186" y="49553"/>
                      <a:pt x="34145" y="53342"/>
                    </a:cubicBezTo>
                    <a:cubicBezTo>
                      <a:pt x="50031" y="57132"/>
                      <a:pt x="59796" y="51156"/>
                      <a:pt x="62565" y="39496"/>
                    </a:cubicBezTo>
                    <a:cubicBezTo>
                      <a:pt x="64387" y="31918"/>
                      <a:pt x="62419" y="25578"/>
                      <a:pt x="57609" y="19967"/>
                    </a:cubicBezTo>
                    <a:lnTo>
                      <a:pt x="69633" y="11587"/>
                    </a:lnTo>
                    <a:cubicBezTo>
                      <a:pt x="76046" y="19165"/>
                      <a:pt x="79107" y="29805"/>
                      <a:pt x="75827" y="43432"/>
                    </a:cubicBezTo>
                    <a:cubicBezTo>
                      <a:pt x="70726" y="64637"/>
                      <a:pt x="53747" y="76443"/>
                      <a:pt x="29918" y="7075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12" name="Freeform 66">
                <a:extLst>
                  <a:ext uri="{FF2B5EF4-FFF2-40B4-BE49-F238E27FC236}">
                    <a16:creationId xmlns:a16="http://schemas.microsoft.com/office/drawing/2014/main" id="{E7E32724-5C19-D48A-F63C-59B9DF44BB08}"/>
                  </a:ext>
                </a:extLst>
              </p:cNvPr>
              <p:cNvSpPr/>
              <p:nvPr/>
            </p:nvSpPr>
            <p:spPr>
              <a:xfrm>
                <a:off x="3394924" y="4427520"/>
                <a:ext cx="77159" cy="76010"/>
              </a:xfrm>
              <a:custGeom>
                <a:avLst/>
                <a:gdLst>
                  <a:gd name="connsiteX0" fmla="*/ 28848 w 77159"/>
                  <a:gd name="connsiteY0" fmla="*/ 74368 h 76010"/>
                  <a:gd name="connsiteX1" fmla="*/ 1521 w 77159"/>
                  <a:gd name="connsiteY1" fmla="*/ 28022 h 76010"/>
                  <a:gd name="connsiteX2" fmla="*/ 48378 w 77159"/>
                  <a:gd name="connsiteY2" fmla="*/ 1642 h 76010"/>
                  <a:gd name="connsiteX3" fmla="*/ 75632 w 77159"/>
                  <a:gd name="connsiteY3" fmla="*/ 47988 h 76010"/>
                  <a:gd name="connsiteX4" fmla="*/ 28848 w 77159"/>
                  <a:gd name="connsiteY4" fmla="*/ 74368 h 76010"/>
                  <a:gd name="connsiteX5" fmla="*/ 62296 w 77159"/>
                  <a:gd name="connsiteY5" fmla="*/ 44345 h 76010"/>
                  <a:gd name="connsiteX6" fmla="*/ 43787 w 77159"/>
                  <a:gd name="connsiteY6" fmla="*/ 18913 h 76010"/>
                  <a:gd name="connsiteX7" fmla="*/ 15002 w 77159"/>
                  <a:gd name="connsiteY7" fmla="*/ 31592 h 76010"/>
                  <a:gd name="connsiteX8" fmla="*/ 33512 w 77159"/>
                  <a:gd name="connsiteY8" fmla="*/ 57025 h 76010"/>
                  <a:gd name="connsiteX9" fmla="*/ 62296 w 77159"/>
                  <a:gd name="connsiteY9" fmla="*/ 44345 h 7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159" h="76010">
                    <a:moveTo>
                      <a:pt x="28848" y="74368"/>
                    </a:moveTo>
                    <a:cubicBezTo>
                      <a:pt x="6331" y="68320"/>
                      <a:pt x="-4163" y="49373"/>
                      <a:pt x="1521" y="28022"/>
                    </a:cubicBezTo>
                    <a:cubicBezTo>
                      <a:pt x="7278" y="6670"/>
                      <a:pt x="25861" y="-4406"/>
                      <a:pt x="48378" y="1642"/>
                    </a:cubicBezTo>
                    <a:cubicBezTo>
                      <a:pt x="70895" y="7690"/>
                      <a:pt x="81316" y="26637"/>
                      <a:pt x="75632" y="47988"/>
                    </a:cubicBezTo>
                    <a:cubicBezTo>
                      <a:pt x="69875" y="69340"/>
                      <a:pt x="51366" y="80416"/>
                      <a:pt x="28848" y="74368"/>
                    </a:cubicBezTo>
                    <a:close/>
                    <a:moveTo>
                      <a:pt x="62296" y="44345"/>
                    </a:moveTo>
                    <a:cubicBezTo>
                      <a:pt x="65284" y="33269"/>
                      <a:pt x="59163" y="23066"/>
                      <a:pt x="43787" y="18913"/>
                    </a:cubicBezTo>
                    <a:cubicBezTo>
                      <a:pt x="28411" y="14759"/>
                      <a:pt x="17990" y="20516"/>
                      <a:pt x="15002" y="31592"/>
                    </a:cubicBezTo>
                    <a:cubicBezTo>
                      <a:pt x="12015" y="42669"/>
                      <a:pt x="18063" y="52871"/>
                      <a:pt x="33512" y="57025"/>
                    </a:cubicBezTo>
                    <a:cubicBezTo>
                      <a:pt x="48888" y="61179"/>
                      <a:pt x="59309" y="55421"/>
                      <a:pt x="62296" y="4434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13" name="Freeform 67">
                <a:extLst>
                  <a:ext uri="{FF2B5EF4-FFF2-40B4-BE49-F238E27FC236}">
                    <a16:creationId xmlns:a16="http://schemas.microsoft.com/office/drawing/2014/main" id="{0D69AA01-4621-AFB2-F642-D2F64507FDA5}"/>
                  </a:ext>
                </a:extLst>
              </p:cNvPr>
              <p:cNvSpPr/>
              <p:nvPr/>
            </p:nvSpPr>
            <p:spPr>
              <a:xfrm>
                <a:off x="3415839" y="4356655"/>
                <a:ext cx="77293" cy="72362"/>
              </a:xfrm>
              <a:custGeom>
                <a:avLst/>
                <a:gdLst>
                  <a:gd name="connsiteX0" fmla="*/ 55592 w 77293"/>
                  <a:gd name="connsiteY0" fmla="*/ 72362 h 72362"/>
                  <a:gd name="connsiteX1" fmla="*/ 48670 w 77293"/>
                  <a:gd name="connsiteY1" fmla="*/ 59537 h 72362"/>
                  <a:gd name="connsiteX2" fmla="*/ 62588 w 77293"/>
                  <a:gd name="connsiteY2" fmla="*/ 42776 h 72362"/>
                  <a:gd name="connsiteX3" fmla="*/ 58507 w 77293"/>
                  <a:gd name="connsiteY3" fmla="*/ 27546 h 72362"/>
                  <a:gd name="connsiteX4" fmla="*/ 42840 w 77293"/>
                  <a:gd name="connsiteY4" fmla="*/ 40517 h 72362"/>
                  <a:gd name="connsiteX5" fmla="*/ 14711 w 77293"/>
                  <a:gd name="connsiteY5" fmla="*/ 56476 h 72362"/>
                  <a:gd name="connsiteX6" fmla="*/ 1959 w 77293"/>
                  <a:gd name="connsiteY6" fmla="*/ 23392 h 72362"/>
                  <a:gd name="connsiteX7" fmla="*/ 19448 w 77293"/>
                  <a:gd name="connsiteY7" fmla="*/ 0 h 72362"/>
                  <a:gd name="connsiteX8" fmla="*/ 26152 w 77293"/>
                  <a:gd name="connsiteY8" fmla="*/ 12461 h 72362"/>
                  <a:gd name="connsiteX9" fmla="*/ 14493 w 77293"/>
                  <a:gd name="connsiteY9" fmla="*/ 26890 h 72362"/>
                  <a:gd name="connsiteX10" fmla="*/ 18646 w 77293"/>
                  <a:gd name="connsiteY10" fmla="*/ 40444 h 72362"/>
                  <a:gd name="connsiteX11" fmla="*/ 32711 w 77293"/>
                  <a:gd name="connsiteY11" fmla="*/ 27910 h 72362"/>
                  <a:gd name="connsiteX12" fmla="*/ 62005 w 77293"/>
                  <a:gd name="connsiteY12" fmla="*/ 11295 h 72362"/>
                  <a:gd name="connsiteX13" fmla="*/ 75195 w 77293"/>
                  <a:gd name="connsiteY13" fmla="*/ 46274 h 72362"/>
                  <a:gd name="connsiteX14" fmla="*/ 55519 w 77293"/>
                  <a:gd name="connsiteY14" fmla="*/ 72289 h 72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293" h="72362">
                    <a:moveTo>
                      <a:pt x="55592" y="72362"/>
                    </a:moveTo>
                    <a:lnTo>
                      <a:pt x="48670" y="59537"/>
                    </a:lnTo>
                    <a:cubicBezTo>
                      <a:pt x="56540" y="55747"/>
                      <a:pt x="60329" y="50209"/>
                      <a:pt x="62588" y="42776"/>
                    </a:cubicBezTo>
                    <a:cubicBezTo>
                      <a:pt x="64701" y="35562"/>
                      <a:pt x="64337" y="29295"/>
                      <a:pt x="58507" y="27546"/>
                    </a:cubicBezTo>
                    <a:cubicBezTo>
                      <a:pt x="52095" y="25651"/>
                      <a:pt x="48524" y="31116"/>
                      <a:pt x="42840" y="40517"/>
                    </a:cubicBezTo>
                    <a:cubicBezTo>
                      <a:pt x="36718" y="50646"/>
                      <a:pt x="28703" y="60629"/>
                      <a:pt x="14711" y="56476"/>
                    </a:cubicBezTo>
                    <a:cubicBezTo>
                      <a:pt x="1521" y="52541"/>
                      <a:pt x="-2997" y="40152"/>
                      <a:pt x="1959" y="23392"/>
                    </a:cubicBezTo>
                    <a:cubicBezTo>
                      <a:pt x="5238" y="12461"/>
                      <a:pt x="11286" y="4446"/>
                      <a:pt x="19448" y="0"/>
                    </a:cubicBezTo>
                    <a:lnTo>
                      <a:pt x="26152" y="12461"/>
                    </a:lnTo>
                    <a:cubicBezTo>
                      <a:pt x="19812" y="15814"/>
                      <a:pt x="16241" y="21133"/>
                      <a:pt x="14493" y="26890"/>
                    </a:cubicBezTo>
                    <a:cubicBezTo>
                      <a:pt x="12452" y="33667"/>
                      <a:pt x="13472" y="38841"/>
                      <a:pt x="18646" y="40444"/>
                    </a:cubicBezTo>
                    <a:cubicBezTo>
                      <a:pt x="23893" y="41974"/>
                      <a:pt x="27318" y="36728"/>
                      <a:pt x="32711" y="27910"/>
                    </a:cubicBezTo>
                    <a:cubicBezTo>
                      <a:pt x="38905" y="17562"/>
                      <a:pt x="46410" y="6632"/>
                      <a:pt x="62005" y="11295"/>
                    </a:cubicBezTo>
                    <a:cubicBezTo>
                      <a:pt x="75778" y="15376"/>
                      <a:pt x="80442" y="28857"/>
                      <a:pt x="75195" y="46274"/>
                    </a:cubicBezTo>
                    <a:cubicBezTo>
                      <a:pt x="71478" y="58662"/>
                      <a:pt x="64993" y="67698"/>
                      <a:pt x="55519" y="7228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14" name="Freeform 68">
                <a:extLst>
                  <a:ext uri="{FF2B5EF4-FFF2-40B4-BE49-F238E27FC236}">
                    <a16:creationId xmlns:a16="http://schemas.microsoft.com/office/drawing/2014/main" id="{C666F2BC-2834-CBEC-B457-6B2E5C0F4AFD}"/>
                  </a:ext>
                </a:extLst>
              </p:cNvPr>
              <p:cNvSpPr/>
              <p:nvPr/>
            </p:nvSpPr>
            <p:spPr>
              <a:xfrm>
                <a:off x="3429602" y="4276715"/>
                <a:ext cx="106006" cy="96409"/>
              </a:xfrm>
              <a:custGeom>
                <a:avLst/>
                <a:gdLst>
                  <a:gd name="connsiteX0" fmla="*/ 99762 w 106006"/>
                  <a:gd name="connsiteY0" fmla="*/ 96409 h 96409"/>
                  <a:gd name="connsiteX1" fmla="*/ 86353 w 106006"/>
                  <a:gd name="connsiteY1" fmla="*/ 92037 h 96409"/>
                  <a:gd name="connsiteX2" fmla="*/ 89778 w 106006"/>
                  <a:gd name="connsiteY2" fmla="*/ 84896 h 96409"/>
                  <a:gd name="connsiteX3" fmla="*/ 85697 w 106006"/>
                  <a:gd name="connsiteY3" fmla="*/ 69884 h 96409"/>
                  <a:gd name="connsiteX4" fmla="*/ 79940 w 106006"/>
                  <a:gd name="connsiteY4" fmla="*/ 65366 h 96409"/>
                  <a:gd name="connsiteX5" fmla="*/ 0 w 106006"/>
                  <a:gd name="connsiteY5" fmla="*/ 69520 h 96409"/>
                  <a:gd name="connsiteX6" fmla="*/ 5684 w 106006"/>
                  <a:gd name="connsiteY6" fmla="*/ 52104 h 96409"/>
                  <a:gd name="connsiteX7" fmla="*/ 46419 w 106006"/>
                  <a:gd name="connsiteY7" fmla="*/ 51156 h 96409"/>
                  <a:gd name="connsiteX8" fmla="*/ 64564 w 106006"/>
                  <a:gd name="connsiteY8" fmla="*/ 51375 h 96409"/>
                  <a:gd name="connsiteX9" fmla="*/ 50573 w 106006"/>
                  <a:gd name="connsiteY9" fmla="*/ 41173 h 96409"/>
                  <a:gd name="connsiteX10" fmla="*/ 17198 w 106006"/>
                  <a:gd name="connsiteY10" fmla="*/ 16906 h 96409"/>
                  <a:gd name="connsiteX11" fmla="*/ 22736 w 106006"/>
                  <a:gd name="connsiteY11" fmla="*/ 0 h 96409"/>
                  <a:gd name="connsiteX12" fmla="*/ 94733 w 106006"/>
                  <a:gd name="connsiteY12" fmla="*/ 56767 h 96409"/>
                  <a:gd name="connsiteX13" fmla="*/ 103988 w 106006"/>
                  <a:gd name="connsiteY13" fmla="*/ 86572 h 96409"/>
                  <a:gd name="connsiteX14" fmla="*/ 99834 w 106006"/>
                  <a:gd name="connsiteY14" fmla="*/ 96409 h 96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6006" h="96409">
                    <a:moveTo>
                      <a:pt x="99762" y="96409"/>
                    </a:moveTo>
                    <a:lnTo>
                      <a:pt x="86353" y="92037"/>
                    </a:lnTo>
                    <a:cubicBezTo>
                      <a:pt x="87519" y="90361"/>
                      <a:pt x="88831" y="87738"/>
                      <a:pt x="89778" y="84896"/>
                    </a:cubicBezTo>
                    <a:cubicBezTo>
                      <a:pt x="92110" y="77681"/>
                      <a:pt x="90653" y="73746"/>
                      <a:pt x="85697" y="69884"/>
                    </a:cubicBezTo>
                    <a:lnTo>
                      <a:pt x="79940" y="65366"/>
                    </a:lnTo>
                    <a:lnTo>
                      <a:pt x="0" y="69520"/>
                    </a:lnTo>
                    <a:lnTo>
                      <a:pt x="5684" y="52104"/>
                    </a:lnTo>
                    <a:lnTo>
                      <a:pt x="46419" y="51156"/>
                    </a:lnTo>
                    <a:cubicBezTo>
                      <a:pt x="52176" y="51010"/>
                      <a:pt x="62233" y="51156"/>
                      <a:pt x="64564" y="51375"/>
                    </a:cubicBezTo>
                    <a:cubicBezTo>
                      <a:pt x="62233" y="50063"/>
                      <a:pt x="55164" y="44525"/>
                      <a:pt x="50573" y="41173"/>
                    </a:cubicBezTo>
                    <a:lnTo>
                      <a:pt x="17198" y="16906"/>
                    </a:lnTo>
                    <a:lnTo>
                      <a:pt x="22736" y="0"/>
                    </a:lnTo>
                    <a:lnTo>
                      <a:pt x="94733" y="56767"/>
                    </a:lnTo>
                    <a:cubicBezTo>
                      <a:pt x="105446" y="65075"/>
                      <a:pt x="108506" y="72653"/>
                      <a:pt x="103988" y="86572"/>
                    </a:cubicBezTo>
                    <a:cubicBezTo>
                      <a:pt x="102676" y="90653"/>
                      <a:pt x="101073" y="94077"/>
                      <a:pt x="99834" y="9640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15" name="Freeform 69">
                <a:extLst>
                  <a:ext uri="{FF2B5EF4-FFF2-40B4-BE49-F238E27FC236}">
                    <a16:creationId xmlns:a16="http://schemas.microsoft.com/office/drawing/2014/main" id="{F152BB8C-A20B-8CEF-0BB5-C87F3D8BF17B}"/>
                  </a:ext>
                </a:extLst>
              </p:cNvPr>
              <p:cNvSpPr/>
              <p:nvPr/>
            </p:nvSpPr>
            <p:spPr>
              <a:xfrm>
                <a:off x="3460842" y="4218344"/>
                <a:ext cx="77363" cy="74110"/>
              </a:xfrm>
              <a:custGeom>
                <a:avLst/>
                <a:gdLst>
                  <a:gd name="connsiteX0" fmla="*/ 53729 w 77363"/>
                  <a:gd name="connsiteY0" fmla="*/ 74038 h 74110"/>
                  <a:gd name="connsiteX1" fmla="*/ 47462 w 77363"/>
                  <a:gd name="connsiteY1" fmla="*/ 60921 h 74110"/>
                  <a:gd name="connsiteX2" fmla="*/ 62182 w 77363"/>
                  <a:gd name="connsiteY2" fmla="*/ 44889 h 74110"/>
                  <a:gd name="connsiteX3" fmla="*/ 58903 w 77363"/>
                  <a:gd name="connsiteY3" fmla="*/ 29513 h 74110"/>
                  <a:gd name="connsiteX4" fmla="*/ 42580 w 77363"/>
                  <a:gd name="connsiteY4" fmla="*/ 41683 h 74110"/>
                  <a:gd name="connsiteX5" fmla="*/ 13650 w 77363"/>
                  <a:gd name="connsiteY5" fmla="*/ 56184 h 74110"/>
                  <a:gd name="connsiteX6" fmla="*/ 2646 w 77363"/>
                  <a:gd name="connsiteY6" fmla="*/ 22518 h 74110"/>
                  <a:gd name="connsiteX7" fmla="*/ 21374 w 77363"/>
                  <a:gd name="connsiteY7" fmla="*/ 0 h 74110"/>
                  <a:gd name="connsiteX8" fmla="*/ 27422 w 77363"/>
                  <a:gd name="connsiteY8" fmla="*/ 12826 h 74110"/>
                  <a:gd name="connsiteX9" fmla="*/ 15034 w 77363"/>
                  <a:gd name="connsiteY9" fmla="*/ 26671 h 74110"/>
                  <a:gd name="connsiteX10" fmla="*/ 18459 w 77363"/>
                  <a:gd name="connsiteY10" fmla="*/ 40371 h 74110"/>
                  <a:gd name="connsiteX11" fmla="*/ 33106 w 77363"/>
                  <a:gd name="connsiteY11" fmla="*/ 28566 h 74110"/>
                  <a:gd name="connsiteX12" fmla="*/ 63202 w 77363"/>
                  <a:gd name="connsiteY12" fmla="*/ 13482 h 74110"/>
                  <a:gd name="connsiteX13" fmla="*/ 74570 w 77363"/>
                  <a:gd name="connsiteY13" fmla="*/ 49116 h 74110"/>
                  <a:gd name="connsiteX14" fmla="*/ 53583 w 77363"/>
                  <a:gd name="connsiteY14" fmla="*/ 74111 h 74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363" h="74110">
                    <a:moveTo>
                      <a:pt x="53729" y="74038"/>
                    </a:moveTo>
                    <a:lnTo>
                      <a:pt x="47462" y="60921"/>
                    </a:lnTo>
                    <a:cubicBezTo>
                      <a:pt x="55551" y="57569"/>
                      <a:pt x="59632" y="52249"/>
                      <a:pt x="62182" y="44889"/>
                    </a:cubicBezTo>
                    <a:cubicBezTo>
                      <a:pt x="64733" y="37821"/>
                      <a:pt x="64660" y="31554"/>
                      <a:pt x="58903" y="29513"/>
                    </a:cubicBezTo>
                    <a:cubicBezTo>
                      <a:pt x="52563" y="27254"/>
                      <a:pt x="48774" y="32574"/>
                      <a:pt x="42580" y="41683"/>
                    </a:cubicBezTo>
                    <a:cubicBezTo>
                      <a:pt x="35948" y="51448"/>
                      <a:pt x="27422" y="61067"/>
                      <a:pt x="13650" y="56184"/>
                    </a:cubicBezTo>
                    <a:cubicBezTo>
                      <a:pt x="679" y="51593"/>
                      <a:pt x="-3184" y="38987"/>
                      <a:pt x="2646" y="22518"/>
                    </a:cubicBezTo>
                    <a:cubicBezTo>
                      <a:pt x="6508" y="11732"/>
                      <a:pt x="12921" y="4081"/>
                      <a:pt x="21374" y="0"/>
                    </a:cubicBezTo>
                    <a:lnTo>
                      <a:pt x="27422" y="12826"/>
                    </a:lnTo>
                    <a:cubicBezTo>
                      <a:pt x="20937" y="15813"/>
                      <a:pt x="17075" y="20987"/>
                      <a:pt x="15034" y="26671"/>
                    </a:cubicBezTo>
                    <a:cubicBezTo>
                      <a:pt x="12629" y="33375"/>
                      <a:pt x="13358" y="38549"/>
                      <a:pt x="18459" y="40371"/>
                    </a:cubicBezTo>
                    <a:cubicBezTo>
                      <a:pt x="23633" y="42193"/>
                      <a:pt x="27277" y="37092"/>
                      <a:pt x="33106" y="28566"/>
                    </a:cubicBezTo>
                    <a:cubicBezTo>
                      <a:pt x="39811" y="18509"/>
                      <a:pt x="47899" y="8016"/>
                      <a:pt x="63202" y="13482"/>
                    </a:cubicBezTo>
                    <a:cubicBezTo>
                      <a:pt x="76684" y="18291"/>
                      <a:pt x="80692" y="31991"/>
                      <a:pt x="74570" y="49116"/>
                    </a:cubicBezTo>
                    <a:cubicBezTo>
                      <a:pt x="70271" y="61285"/>
                      <a:pt x="63275" y="69957"/>
                      <a:pt x="53583" y="7411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16" name="Freeform 70">
                <a:extLst>
                  <a:ext uri="{FF2B5EF4-FFF2-40B4-BE49-F238E27FC236}">
                    <a16:creationId xmlns:a16="http://schemas.microsoft.com/office/drawing/2014/main" id="{350FE94E-350F-C204-D192-1CB556F96A91}"/>
                  </a:ext>
                </a:extLst>
              </p:cNvPr>
              <p:cNvSpPr/>
              <p:nvPr/>
            </p:nvSpPr>
            <p:spPr>
              <a:xfrm>
                <a:off x="3468297" y="4165585"/>
                <a:ext cx="93859" cy="52816"/>
              </a:xfrm>
              <a:custGeom>
                <a:avLst/>
                <a:gdLst>
                  <a:gd name="connsiteX0" fmla="*/ 64856 w 93859"/>
                  <a:gd name="connsiteY0" fmla="*/ 50719 h 52816"/>
                  <a:gd name="connsiteX1" fmla="*/ 25359 w 93859"/>
                  <a:gd name="connsiteY1" fmla="*/ 35634 h 52816"/>
                  <a:gd name="connsiteX2" fmla="*/ 21497 w 93859"/>
                  <a:gd name="connsiteY2" fmla="*/ 45763 h 52816"/>
                  <a:gd name="connsiteX3" fmla="*/ 14210 w 93859"/>
                  <a:gd name="connsiteY3" fmla="*/ 42995 h 52816"/>
                  <a:gd name="connsiteX4" fmla="*/ 0 w 93859"/>
                  <a:gd name="connsiteY4" fmla="*/ 11149 h 52816"/>
                  <a:gd name="connsiteX5" fmla="*/ 1166 w 93859"/>
                  <a:gd name="connsiteY5" fmla="*/ 8089 h 52816"/>
                  <a:gd name="connsiteX6" fmla="*/ 19092 w 93859"/>
                  <a:gd name="connsiteY6" fmla="*/ 14939 h 52816"/>
                  <a:gd name="connsiteX7" fmla="*/ 24776 w 93859"/>
                  <a:gd name="connsiteY7" fmla="*/ 0 h 52816"/>
                  <a:gd name="connsiteX8" fmla="*/ 37165 w 93859"/>
                  <a:gd name="connsiteY8" fmla="*/ 4737 h 52816"/>
                  <a:gd name="connsiteX9" fmla="*/ 31408 w 93859"/>
                  <a:gd name="connsiteY9" fmla="*/ 19675 h 52816"/>
                  <a:gd name="connsiteX10" fmla="*/ 67771 w 93859"/>
                  <a:gd name="connsiteY10" fmla="*/ 33594 h 52816"/>
                  <a:gd name="connsiteX11" fmla="*/ 78337 w 93859"/>
                  <a:gd name="connsiteY11" fmla="*/ 29149 h 52816"/>
                  <a:gd name="connsiteX12" fmla="*/ 80159 w 93859"/>
                  <a:gd name="connsiteY12" fmla="*/ 21133 h 52816"/>
                  <a:gd name="connsiteX13" fmla="*/ 93859 w 93859"/>
                  <a:gd name="connsiteY13" fmla="*/ 26380 h 52816"/>
                  <a:gd name="connsiteX14" fmla="*/ 90798 w 93859"/>
                  <a:gd name="connsiteY14" fmla="*/ 37748 h 52816"/>
                  <a:gd name="connsiteX15" fmla="*/ 64783 w 93859"/>
                  <a:gd name="connsiteY15" fmla="*/ 50719 h 52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3859" h="52816">
                    <a:moveTo>
                      <a:pt x="64856" y="50719"/>
                    </a:moveTo>
                    <a:lnTo>
                      <a:pt x="25359" y="35634"/>
                    </a:lnTo>
                    <a:lnTo>
                      <a:pt x="21497" y="45763"/>
                    </a:lnTo>
                    <a:lnTo>
                      <a:pt x="14210" y="42995"/>
                    </a:lnTo>
                    <a:lnTo>
                      <a:pt x="0" y="11149"/>
                    </a:lnTo>
                    <a:lnTo>
                      <a:pt x="1166" y="8089"/>
                    </a:lnTo>
                    <a:lnTo>
                      <a:pt x="19092" y="14939"/>
                    </a:lnTo>
                    <a:lnTo>
                      <a:pt x="24776" y="0"/>
                    </a:lnTo>
                    <a:lnTo>
                      <a:pt x="37165" y="4737"/>
                    </a:lnTo>
                    <a:lnTo>
                      <a:pt x="31408" y="19675"/>
                    </a:lnTo>
                    <a:lnTo>
                      <a:pt x="67771" y="33594"/>
                    </a:lnTo>
                    <a:cubicBezTo>
                      <a:pt x="73819" y="35926"/>
                      <a:pt x="76224" y="34614"/>
                      <a:pt x="78337" y="29149"/>
                    </a:cubicBezTo>
                    <a:cubicBezTo>
                      <a:pt x="79357" y="26453"/>
                      <a:pt x="79940" y="23683"/>
                      <a:pt x="80159" y="21133"/>
                    </a:cubicBezTo>
                    <a:lnTo>
                      <a:pt x="93859" y="26380"/>
                    </a:lnTo>
                    <a:cubicBezTo>
                      <a:pt x="93495" y="29440"/>
                      <a:pt x="92329" y="33667"/>
                      <a:pt x="90798" y="37748"/>
                    </a:cubicBezTo>
                    <a:cubicBezTo>
                      <a:pt x="85479" y="51666"/>
                      <a:pt x="78046" y="55820"/>
                      <a:pt x="64783" y="5071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17" name="Freeform 71">
                <a:extLst>
                  <a:ext uri="{FF2B5EF4-FFF2-40B4-BE49-F238E27FC236}">
                    <a16:creationId xmlns:a16="http://schemas.microsoft.com/office/drawing/2014/main" id="{2A48925E-915B-01AA-4346-FB4A6ED01F8A}"/>
                  </a:ext>
                </a:extLst>
              </p:cNvPr>
              <p:cNvSpPr/>
              <p:nvPr/>
            </p:nvSpPr>
            <p:spPr>
              <a:xfrm>
                <a:off x="3506506" y="4099260"/>
                <a:ext cx="78814" cy="73591"/>
              </a:xfrm>
              <a:custGeom>
                <a:avLst/>
                <a:gdLst>
                  <a:gd name="connsiteX0" fmla="*/ 24752 w 78814"/>
                  <a:gd name="connsiteY0" fmla="*/ 69895 h 73591"/>
                  <a:gd name="connsiteX1" fmla="*/ 3255 w 78814"/>
                  <a:gd name="connsiteY1" fmla="*/ 20998 h 73591"/>
                  <a:gd name="connsiteX2" fmla="*/ 49383 w 78814"/>
                  <a:gd name="connsiteY2" fmla="*/ 3582 h 73591"/>
                  <a:gd name="connsiteX3" fmla="*/ 55285 w 78814"/>
                  <a:gd name="connsiteY3" fmla="*/ 6278 h 73591"/>
                  <a:gd name="connsiteX4" fmla="*/ 35464 w 78814"/>
                  <a:gd name="connsiteY4" fmla="*/ 54738 h 73591"/>
                  <a:gd name="connsiteX5" fmla="*/ 62791 w 78814"/>
                  <a:gd name="connsiteY5" fmla="*/ 42787 h 73591"/>
                  <a:gd name="connsiteX6" fmla="*/ 62281 w 78814"/>
                  <a:gd name="connsiteY6" fmla="*/ 22237 h 73591"/>
                  <a:gd name="connsiteX7" fmla="*/ 75253 w 78814"/>
                  <a:gd name="connsiteY7" fmla="*/ 16772 h 73591"/>
                  <a:gd name="connsiteX8" fmla="*/ 74888 w 78814"/>
                  <a:gd name="connsiteY8" fmla="*/ 48617 h 73591"/>
                  <a:gd name="connsiteX9" fmla="*/ 24752 w 78814"/>
                  <a:gd name="connsiteY9" fmla="*/ 69823 h 73591"/>
                  <a:gd name="connsiteX10" fmla="*/ 39108 w 78814"/>
                  <a:gd name="connsiteY10" fmla="*/ 17865 h 73591"/>
                  <a:gd name="connsiteX11" fmla="*/ 15279 w 78814"/>
                  <a:gd name="connsiteY11" fmla="*/ 26391 h 73591"/>
                  <a:gd name="connsiteX12" fmla="*/ 25700 w 78814"/>
                  <a:gd name="connsiteY12" fmla="*/ 50512 h 73591"/>
                  <a:gd name="connsiteX13" fmla="*/ 39035 w 78814"/>
                  <a:gd name="connsiteY13" fmla="*/ 17865 h 7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814" h="73591">
                    <a:moveTo>
                      <a:pt x="24752" y="69895"/>
                    </a:moveTo>
                    <a:cubicBezTo>
                      <a:pt x="923" y="60131"/>
                      <a:pt x="-4397" y="39654"/>
                      <a:pt x="3255" y="20998"/>
                    </a:cubicBezTo>
                    <a:cubicBezTo>
                      <a:pt x="12656" y="-1883"/>
                      <a:pt x="32695" y="-3195"/>
                      <a:pt x="49383" y="3582"/>
                    </a:cubicBezTo>
                    <a:cubicBezTo>
                      <a:pt x="51423" y="4384"/>
                      <a:pt x="53391" y="5331"/>
                      <a:pt x="55285" y="6278"/>
                    </a:cubicBezTo>
                    <a:lnTo>
                      <a:pt x="35464" y="54738"/>
                    </a:lnTo>
                    <a:cubicBezTo>
                      <a:pt x="48946" y="58965"/>
                      <a:pt x="57909" y="54738"/>
                      <a:pt x="62791" y="42787"/>
                    </a:cubicBezTo>
                    <a:cubicBezTo>
                      <a:pt x="65925" y="35063"/>
                      <a:pt x="65779" y="29014"/>
                      <a:pt x="62281" y="22237"/>
                    </a:cubicBezTo>
                    <a:lnTo>
                      <a:pt x="75253" y="16772"/>
                    </a:lnTo>
                    <a:cubicBezTo>
                      <a:pt x="79843" y="26099"/>
                      <a:pt x="80281" y="35427"/>
                      <a:pt x="74888" y="48617"/>
                    </a:cubicBezTo>
                    <a:cubicBezTo>
                      <a:pt x="65925" y="70624"/>
                      <a:pt x="47707" y="79223"/>
                      <a:pt x="24752" y="69823"/>
                    </a:cubicBezTo>
                    <a:close/>
                    <a:moveTo>
                      <a:pt x="39108" y="17865"/>
                    </a:moveTo>
                    <a:cubicBezTo>
                      <a:pt x="26647" y="13784"/>
                      <a:pt x="18922" y="17501"/>
                      <a:pt x="15279" y="26391"/>
                    </a:cubicBezTo>
                    <a:cubicBezTo>
                      <a:pt x="11708" y="35135"/>
                      <a:pt x="14259" y="44026"/>
                      <a:pt x="25700" y="50512"/>
                    </a:cubicBezTo>
                    <a:lnTo>
                      <a:pt x="39035" y="1786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18" name="Freeform 72">
                <a:extLst>
                  <a:ext uri="{FF2B5EF4-FFF2-40B4-BE49-F238E27FC236}">
                    <a16:creationId xmlns:a16="http://schemas.microsoft.com/office/drawing/2014/main" id="{F73DF30E-FC9A-1B9B-0934-5EF78C7F96E0}"/>
                  </a:ext>
                </a:extLst>
              </p:cNvPr>
              <p:cNvSpPr/>
              <p:nvPr/>
            </p:nvSpPr>
            <p:spPr>
              <a:xfrm>
                <a:off x="3530676" y="3985189"/>
                <a:ext cx="110036" cy="118236"/>
              </a:xfrm>
              <a:custGeom>
                <a:avLst/>
                <a:gdLst>
                  <a:gd name="connsiteX0" fmla="*/ 0 w 110036"/>
                  <a:gd name="connsiteY0" fmla="*/ 87849 h 118236"/>
                  <a:gd name="connsiteX1" fmla="*/ 6850 w 110036"/>
                  <a:gd name="connsiteY1" fmla="*/ 72764 h 118236"/>
                  <a:gd name="connsiteX2" fmla="*/ 21060 w 110036"/>
                  <a:gd name="connsiteY2" fmla="*/ 79177 h 118236"/>
                  <a:gd name="connsiteX3" fmla="*/ 21206 w 110036"/>
                  <a:gd name="connsiteY3" fmla="*/ 78959 h 118236"/>
                  <a:gd name="connsiteX4" fmla="*/ 14720 w 110036"/>
                  <a:gd name="connsiteY4" fmla="*/ 51996 h 118236"/>
                  <a:gd name="connsiteX5" fmla="*/ 38476 w 110036"/>
                  <a:gd name="connsiteY5" fmla="*/ 40774 h 118236"/>
                  <a:gd name="connsiteX6" fmla="*/ 38622 w 110036"/>
                  <a:gd name="connsiteY6" fmla="*/ 40409 h 118236"/>
                  <a:gd name="connsiteX7" fmla="*/ 32428 w 110036"/>
                  <a:gd name="connsiteY7" fmla="*/ 12718 h 118236"/>
                  <a:gd name="connsiteX8" fmla="*/ 65293 w 110036"/>
                  <a:gd name="connsiteY8" fmla="*/ 3900 h 118236"/>
                  <a:gd name="connsiteX9" fmla="*/ 110037 w 110036"/>
                  <a:gd name="connsiteY9" fmla="*/ 24159 h 118236"/>
                  <a:gd name="connsiteX10" fmla="*/ 102968 w 110036"/>
                  <a:gd name="connsiteY10" fmla="*/ 39754 h 118236"/>
                  <a:gd name="connsiteX11" fmla="*/ 61941 w 110036"/>
                  <a:gd name="connsiteY11" fmla="*/ 21172 h 118236"/>
                  <a:gd name="connsiteX12" fmla="*/ 42994 w 110036"/>
                  <a:gd name="connsiteY12" fmla="*/ 25106 h 118236"/>
                  <a:gd name="connsiteX13" fmla="*/ 54217 w 110036"/>
                  <a:gd name="connsiteY13" fmla="*/ 46239 h 118236"/>
                  <a:gd name="connsiteX14" fmla="*/ 92256 w 110036"/>
                  <a:gd name="connsiteY14" fmla="*/ 63437 h 118236"/>
                  <a:gd name="connsiteX15" fmla="*/ 85260 w 110036"/>
                  <a:gd name="connsiteY15" fmla="*/ 78959 h 118236"/>
                  <a:gd name="connsiteX16" fmla="*/ 44233 w 110036"/>
                  <a:gd name="connsiteY16" fmla="*/ 60376 h 118236"/>
                  <a:gd name="connsiteX17" fmla="*/ 25287 w 110036"/>
                  <a:gd name="connsiteY17" fmla="*/ 64384 h 118236"/>
                  <a:gd name="connsiteX18" fmla="*/ 36509 w 110036"/>
                  <a:gd name="connsiteY18" fmla="*/ 85444 h 118236"/>
                  <a:gd name="connsiteX19" fmla="*/ 74548 w 110036"/>
                  <a:gd name="connsiteY19" fmla="*/ 102642 h 118236"/>
                  <a:gd name="connsiteX20" fmla="*/ 67479 w 110036"/>
                  <a:gd name="connsiteY20" fmla="*/ 118236 h 118236"/>
                  <a:gd name="connsiteX21" fmla="*/ 73 w 110036"/>
                  <a:gd name="connsiteY21" fmla="*/ 87703 h 11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0036" h="118236">
                    <a:moveTo>
                      <a:pt x="0" y="87849"/>
                    </a:moveTo>
                    <a:lnTo>
                      <a:pt x="6850" y="72764"/>
                    </a:lnTo>
                    <a:lnTo>
                      <a:pt x="21060" y="79177"/>
                    </a:lnTo>
                    <a:lnTo>
                      <a:pt x="21206" y="78959"/>
                    </a:lnTo>
                    <a:cubicBezTo>
                      <a:pt x="12898" y="71380"/>
                      <a:pt x="10129" y="62053"/>
                      <a:pt x="14720" y="51996"/>
                    </a:cubicBezTo>
                    <a:cubicBezTo>
                      <a:pt x="18947" y="42668"/>
                      <a:pt x="26744" y="38296"/>
                      <a:pt x="38476" y="40774"/>
                    </a:cubicBezTo>
                    <a:lnTo>
                      <a:pt x="38622" y="40409"/>
                    </a:lnTo>
                    <a:cubicBezTo>
                      <a:pt x="29367" y="32321"/>
                      <a:pt x="28128" y="22337"/>
                      <a:pt x="32428" y="12718"/>
                    </a:cubicBezTo>
                    <a:cubicBezTo>
                      <a:pt x="38403" y="-472"/>
                      <a:pt x="49189" y="-3387"/>
                      <a:pt x="65293" y="3900"/>
                    </a:cubicBezTo>
                    <a:lnTo>
                      <a:pt x="110037" y="24159"/>
                    </a:lnTo>
                    <a:lnTo>
                      <a:pt x="102968" y="39754"/>
                    </a:lnTo>
                    <a:lnTo>
                      <a:pt x="61941" y="21172"/>
                    </a:lnTo>
                    <a:cubicBezTo>
                      <a:pt x="53051" y="17163"/>
                      <a:pt x="46565" y="17309"/>
                      <a:pt x="42994" y="25106"/>
                    </a:cubicBezTo>
                    <a:cubicBezTo>
                      <a:pt x="39278" y="33268"/>
                      <a:pt x="42994" y="41138"/>
                      <a:pt x="54217" y="46239"/>
                    </a:cubicBezTo>
                    <a:lnTo>
                      <a:pt x="92256" y="63437"/>
                    </a:lnTo>
                    <a:lnTo>
                      <a:pt x="85260" y="78959"/>
                    </a:lnTo>
                    <a:lnTo>
                      <a:pt x="44233" y="60376"/>
                    </a:lnTo>
                    <a:cubicBezTo>
                      <a:pt x="35343" y="56368"/>
                      <a:pt x="28784" y="56587"/>
                      <a:pt x="25287" y="64384"/>
                    </a:cubicBezTo>
                    <a:cubicBezTo>
                      <a:pt x="21570" y="72619"/>
                      <a:pt x="25287" y="80343"/>
                      <a:pt x="36509" y="85444"/>
                    </a:cubicBezTo>
                    <a:lnTo>
                      <a:pt x="74548" y="102642"/>
                    </a:lnTo>
                    <a:lnTo>
                      <a:pt x="67479" y="118236"/>
                    </a:lnTo>
                    <a:lnTo>
                      <a:pt x="73" y="87703"/>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19" name="Freeform 73">
                <a:extLst>
                  <a:ext uri="{FF2B5EF4-FFF2-40B4-BE49-F238E27FC236}">
                    <a16:creationId xmlns:a16="http://schemas.microsoft.com/office/drawing/2014/main" id="{671E032A-2A66-ED3C-59A1-E64477CF9CAC}"/>
                  </a:ext>
                </a:extLst>
              </p:cNvPr>
              <p:cNvSpPr/>
              <p:nvPr/>
            </p:nvSpPr>
            <p:spPr>
              <a:xfrm>
                <a:off x="3603754" y="3885903"/>
                <a:ext cx="77561" cy="77681"/>
              </a:xfrm>
              <a:custGeom>
                <a:avLst/>
                <a:gdLst>
                  <a:gd name="connsiteX0" fmla="*/ 48472 w 77561"/>
                  <a:gd name="connsiteY0" fmla="*/ 77609 h 77681"/>
                  <a:gd name="connsiteX1" fmla="*/ 44027 w 77561"/>
                  <a:gd name="connsiteY1" fmla="*/ 63763 h 77681"/>
                  <a:gd name="connsiteX2" fmla="*/ 60714 w 77561"/>
                  <a:gd name="connsiteY2" fmla="*/ 49845 h 77681"/>
                  <a:gd name="connsiteX3" fmla="*/ 59476 w 77561"/>
                  <a:gd name="connsiteY3" fmla="*/ 34177 h 77681"/>
                  <a:gd name="connsiteX4" fmla="*/ 41695 w 77561"/>
                  <a:gd name="connsiteY4" fmla="*/ 44087 h 77681"/>
                  <a:gd name="connsiteX5" fmla="*/ 11162 w 77561"/>
                  <a:gd name="connsiteY5" fmla="*/ 54654 h 77681"/>
                  <a:gd name="connsiteX6" fmla="*/ 4676 w 77561"/>
                  <a:gd name="connsiteY6" fmla="*/ 19821 h 77681"/>
                  <a:gd name="connsiteX7" fmla="*/ 26173 w 77561"/>
                  <a:gd name="connsiteY7" fmla="*/ 0 h 77681"/>
                  <a:gd name="connsiteX8" fmla="*/ 30545 w 77561"/>
                  <a:gd name="connsiteY8" fmla="*/ 13481 h 77681"/>
                  <a:gd name="connsiteX9" fmla="*/ 16481 w 77561"/>
                  <a:gd name="connsiteY9" fmla="*/ 25578 h 77681"/>
                  <a:gd name="connsiteX10" fmla="*/ 18084 w 77561"/>
                  <a:gd name="connsiteY10" fmla="*/ 39642 h 77681"/>
                  <a:gd name="connsiteX11" fmla="*/ 34189 w 77561"/>
                  <a:gd name="connsiteY11" fmla="*/ 29877 h 77681"/>
                  <a:gd name="connsiteX12" fmla="*/ 66034 w 77561"/>
                  <a:gd name="connsiteY12" fmla="*/ 18874 h 77681"/>
                  <a:gd name="connsiteX13" fmla="*/ 72665 w 77561"/>
                  <a:gd name="connsiteY13" fmla="*/ 55674 h 77681"/>
                  <a:gd name="connsiteX14" fmla="*/ 48545 w 77561"/>
                  <a:gd name="connsiteY14" fmla="*/ 77681 h 77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561" h="77681">
                    <a:moveTo>
                      <a:pt x="48472" y="77609"/>
                    </a:moveTo>
                    <a:lnTo>
                      <a:pt x="44027" y="63763"/>
                    </a:lnTo>
                    <a:cubicBezTo>
                      <a:pt x="52480" y="61504"/>
                      <a:pt x="57144" y="56767"/>
                      <a:pt x="60714" y="49845"/>
                    </a:cubicBezTo>
                    <a:cubicBezTo>
                      <a:pt x="64139" y="43140"/>
                      <a:pt x="64868" y="36946"/>
                      <a:pt x="59476" y="34177"/>
                    </a:cubicBezTo>
                    <a:cubicBezTo>
                      <a:pt x="53500" y="31116"/>
                      <a:pt x="49055" y="35926"/>
                      <a:pt x="41695" y="44087"/>
                    </a:cubicBezTo>
                    <a:cubicBezTo>
                      <a:pt x="33825" y="52905"/>
                      <a:pt x="24133" y="61285"/>
                      <a:pt x="11162" y="54654"/>
                    </a:cubicBezTo>
                    <a:cubicBezTo>
                      <a:pt x="-1081" y="48387"/>
                      <a:pt x="-3267" y="35416"/>
                      <a:pt x="4676" y="19821"/>
                    </a:cubicBezTo>
                    <a:cubicBezTo>
                      <a:pt x="9850" y="9619"/>
                      <a:pt x="17283" y="2915"/>
                      <a:pt x="26173" y="0"/>
                    </a:cubicBezTo>
                    <a:lnTo>
                      <a:pt x="30545" y="13481"/>
                    </a:lnTo>
                    <a:cubicBezTo>
                      <a:pt x="23695" y="15595"/>
                      <a:pt x="19177" y="20186"/>
                      <a:pt x="16481" y="25578"/>
                    </a:cubicBezTo>
                    <a:cubicBezTo>
                      <a:pt x="13275" y="31918"/>
                      <a:pt x="13275" y="37164"/>
                      <a:pt x="18084" y="39642"/>
                    </a:cubicBezTo>
                    <a:cubicBezTo>
                      <a:pt x="22967" y="42120"/>
                      <a:pt x="27266" y="37602"/>
                      <a:pt x="34189" y="29877"/>
                    </a:cubicBezTo>
                    <a:cubicBezTo>
                      <a:pt x="42132" y="20841"/>
                      <a:pt x="51533" y="11514"/>
                      <a:pt x="66034" y="18874"/>
                    </a:cubicBezTo>
                    <a:cubicBezTo>
                      <a:pt x="78787" y="25432"/>
                      <a:pt x="80900" y="39496"/>
                      <a:pt x="72665" y="55674"/>
                    </a:cubicBezTo>
                    <a:cubicBezTo>
                      <a:pt x="66763" y="67188"/>
                      <a:pt x="58747" y="74840"/>
                      <a:pt x="48545" y="7768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20" name="Freeform 74">
                <a:extLst>
                  <a:ext uri="{FF2B5EF4-FFF2-40B4-BE49-F238E27FC236}">
                    <a16:creationId xmlns:a16="http://schemas.microsoft.com/office/drawing/2014/main" id="{9AA7ACA9-3468-FAED-DE4C-5AA3EB088748}"/>
                  </a:ext>
                </a:extLst>
              </p:cNvPr>
              <p:cNvSpPr/>
              <p:nvPr/>
            </p:nvSpPr>
            <p:spPr>
              <a:xfrm>
                <a:off x="3640245" y="3815894"/>
                <a:ext cx="77704" cy="77055"/>
              </a:xfrm>
              <a:custGeom>
                <a:avLst/>
                <a:gdLst>
                  <a:gd name="connsiteX0" fmla="*/ 20799 w 77704"/>
                  <a:gd name="connsiteY0" fmla="*/ 71539 h 77055"/>
                  <a:gd name="connsiteX1" fmla="*/ 5204 w 77704"/>
                  <a:gd name="connsiteY1" fmla="*/ 20091 h 77055"/>
                  <a:gd name="connsiteX2" fmla="*/ 56943 w 77704"/>
                  <a:gd name="connsiteY2" fmla="*/ 5517 h 77055"/>
                  <a:gd name="connsiteX3" fmla="*/ 72465 w 77704"/>
                  <a:gd name="connsiteY3" fmla="*/ 56964 h 77055"/>
                  <a:gd name="connsiteX4" fmla="*/ 20799 w 77704"/>
                  <a:gd name="connsiteY4" fmla="*/ 71539 h 77055"/>
                  <a:gd name="connsiteX5" fmla="*/ 60295 w 77704"/>
                  <a:gd name="connsiteY5" fmla="*/ 50260 h 77055"/>
                  <a:gd name="connsiteX6" fmla="*/ 48344 w 77704"/>
                  <a:gd name="connsiteY6" fmla="*/ 21184 h 77055"/>
                  <a:gd name="connsiteX7" fmla="*/ 17374 w 77704"/>
                  <a:gd name="connsiteY7" fmla="*/ 26722 h 77055"/>
                  <a:gd name="connsiteX8" fmla="*/ 29325 w 77704"/>
                  <a:gd name="connsiteY8" fmla="*/ 55798 h 77055"/>
                  <a:gd name="connsiteX9" fmla="*/ 60295 w 77704"/>
                  <a:gd name="connsiteY9" fmla="*/ 50260 h 7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04" h="77055">
                    <a:moveTo>
                      <a:pt x="20799" y="71539"/>
                    </a:moveTo>
                    <a:cubicBezTo>
                      <a:pt x="322" y="60316"/>
                      <a:pt x="-5362" y="39475"/>
                      <a:pt x="5204" y="20091"/>
                    </a:cubicBezTo>
                    <a:cubicBezTo>
                      <a:pt x="15843" y="707"/>
                      <a:pt x="36539" y="-5705"/>
                      <a:pt x="56943" y="5517"/>
                    </a:cubicBezTo>
                    <a:cubicBezTo>
                      <a:pt x="77347" y="16739"/>
                      <a:pt x="83104" y="37580"/>
                      <a:pt x="72465" y="56964"/>
                    </a:cubicBezTo>
                    <a:cubicBezTo>
                      <a:pt x="61826" y="76348"/>
                      <a:pt x="41203" y="82761"/>
                      <a:pt x="20799" y="71539"/>
                    </a:cubicBezTo>
                    <a:close/>
                    <a:moveTo>
                      <a:pt x="60295" y="50260"/>
                    </a:moveTo>
                    <a:cubicBezTo>
                      <a:pt x="65834" y="40203"/>
                      <a:pt x="62263" y="28836"/>
                      <a:pt x="48344" y="21184"/>
                    </a:cubicBezTo>
                    <a:cubicBezTo>
                      <a:pt x="34353" y="13533"/>
                      <a:pt x="22912" y="16666"/>
                      <a:pt x="17374" y="26722"/>
                    </a:cubicBezTo>
                    <a:cubicBezTo>
                      <a:pt x="11836" y="36779"/>
                      <a:pt x="15333" y="48147"/>
                      <a:pt x="29325" y="55798"/>
                    </a:cubicBezTo>
                    <a:cubicBezTo>
                      <a:pt x="43243" y="63450"/>
                      <a:pt x="54757" y="60316"/>
                      <a:pt x="60295" y="5026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21" name="Freeform 75">
                <a:extLst>
                  <a:ext uri="{FF2B5EF4-FFF2-40B4-BE49-F238E27FC236}">
                    <a16:creationId xmlns:a16="http://schemas.microsoft.com/office/drawing/2014/main" id="{9EC11E7E-59B7-E53B-8DAB-549FC91228B5}"/>
                  </a:ext>
                </a:extLst>
              </p:cNvPr>
              <p:cNvSpPr/>
              <p:nvPr/>
            </p:nvSpPr>
            <p:spPr>
              <a:xfrm>
                <a:off x="3649894" y="3761073"/>
                <a:ext cx="101947" cy="59929"/>
              </a:xfrm>
              <a:custGeom>
                <a:avLst/>
                <a:gdLst>
                  <a:gd name="connsiteX0" fmla="*/ 71488 w 101947"/>
                  <a:gd name="connsiteY0" fmla="*/ 56184 h 59929"/>
                  <a:gd name="connsiteX1" fmla="*/ 0 w 101947"/>
                  <a:gd name="connsiteY1" fmla="*/ 14866 h 59929"/>
                  <a:gd name="connsiteX2" fmla="*/ 8599 w 101947"/>
                  <a:gd name="connsiteY2" fmla="*/ 0 h 59929"/>
                  <a:gd name="connsiteX3" fmla="*/ 77536 w 101947"/>
                  <a:gd name="connsiteY3" fmla="*/ 39788 h 59929"/>
                  <a:gd name="connsiteX4" fmla="*/ 87374 w 101947"/>
                  <a:gd name="connsiteY4" fmla="*/ 38258 h 59929"/>
                  <a:gd name="connsiteX5" fmla="*/ 89705 w 101947"/>
                  <a:gd name="connsiteY5" fmla="*/ 32792 h 59929"/>
                  <a:gd name="connsiteX6" fmla="*/ 101948 w 101947"/>
                  <a:gd name="connsiteY6" fmla="*/ 39861 h 59929"/>
                  <a:gd name="connsiteX7" fmla="*/ 97940 w 101947"/>
                  <a:gd name="connsiteY7" fmla="*/ 49189 h 59929"/>
                  <a:gd name="connsiteX8" fmla="*/ 71488 w 101947"/>
                  <a:gd name="connsiteY8" fmla="*/ 56184 h 5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947" h="59929">
                    <a:moveTo>
                      <a:pt x="71488" y="56184"/>
                    </a:moveTo>
                    <a:lnTo>
                      <a:pt x="0" y="14866"/>
                    </a:lnTo>
                    <a:lnTo>
                      <a:pt x="8599" y="0"/>
                    </a:lnTo>
                    <a:lnTo>
                      <a:pt x="77536" y="39788"/>
                    </a:lnTo>
                    <a:cubicBezTo>
                      <a:pt x="82491" y="42630"/>
                      <a:pt x="84969" y="42484"/>
                      <a:pt x="87374" y="38258"/>
                    </a:cubicBezTo>
                    <a:cubicBezTo>
                      <a:pt x="88394" y="36436"/>
                      <a:pt x="89049" y="34687"/>
                      <a:pt x="89705" y="32792"/>
                    </a:cubicBezTo>
                    <a:lnTo>
                      <a:pt x="101948" y="39861"/>
                    </a:lnTo>
                    <a:cubicBezTo>
                      <a:pt x="101219" y="42557"/>
                      <a:pt x="99835" y="45982"/>
                      <a:pt x="97940" y="49189"/>
                    </a:cubicBezTo>
                    <a:cubicBezTo>
                      <a:pt x="90944" y="61212"/>
                      <a:pt x="82564" y="62524"/>
                      <a:pt x="71488" y="56184"/>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22" name="Freeform 76">
                <a:extLst>
                  <a:ext uri="{FF2B5EF4-FFF2-40B4-BE49-F238E27FC236}">
                    <a16:creationId xmlns:a16="http://schemas.microsoft.com/office/drawing/2014/main" id="{221E946F-940B-0AA1-D3C1-038627425CCC}"/>
                  </a:ext>
                </a:extLst>
              </p:cNvPr>
              <p:cNvSpPr/>
              <p:nvPr/>
            </p:nvSpPr>
            <p:spPr>
              <a:xfrm>
                <a:off x="3695439" y="3695999"/>
                <a:ext cx="96263" cy="85463"/>
              </a:xfrm>
              <a:custGeom>
                <a:avLst/>
                <a:gdLst>
                  <a:gd name="connsiteX0" fmla="*/ 41610 w 96263"/>
                  <a:gd name="connsiteY0" fmla="*/ 80013 h 85463"/>
                  <a:gd name="connsiteX1" fmla="*/ 0 w 96263"/>
                  <a:gd name="connsiteY1" fmla="*/ 54654 h 85463"/>
                  <a:gd name="connsiteX2" fmla="*/ 8890 w 96263"/>
                  <a:gd name="connsiteY2" fmla="*/ 40007 h 85463"/>
                  <a:gd name="connsiteX3" fmla="*/ 47002 w 96263"/>
                  <a:gd name="connsiteY3" fmla="*/ 63253 h 85463"/>
                  <a:gd name="connsiteX4" fmla="*/ 67552 w 96263"/>
                  <a:gd name="connsiteY4" fmla="*/ 60192 h 85463"/>
                  <a:gd name="connsiteX5" fmla="*/ 59682 w 96263"/>
                  <a:gd name="connsiteY5" fmla="*/ 36072 h 85463"/>
                  <a:gd name="connsiteX6" fmla="*/ 24339 w 96263"/>
                  <a:gd name="connsiteY6" fmla="*/ 14574 h 85463"/>
                  <a:gd name="connsiteX7" fmla="*/ 33157 w 96263"/>
                  <a:gd name="connsiteY7" fmla="*/ 0 h 85463"/>
                  <a:gd name="connsiteX8" fmla="*/ 96264 w 96263"/>
                  <a:gd name="connsiteY8" fmla="*/ 38476 h 85463"/>
                  <a:gd name="connsiteX9" fmla="*/ 87665 w 96263"/>
                  <a:gd name="connsiteY9" fmla="*/ 52541 h 85463"/>
                  <a:gd name="connsiteX10" fmla="*/ 74329 w 96263"/>
                  <a:gd name="connsiteY10" fmla="*/ 44452 h 85463"/>
                  <a:gd name="connsiteX11" fmla="*/ 74184 w 96263"/>
                  <a:gd name="connsiteY11" fmla="*/ 44743 h 85463"/>
                  <a:gd name="connsiteX12" fmla="*/ 76078 w 96263"/>
                  <a:gd name="connsiteY12" fmla="*/ 74256 h 85463"/>
                  <a:gd name="connsiteX13" fmla="*/ 41464 w 96263"/>
                  <a:gd name="connsiteY13" fmla="*/ 80086 h 8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263" h="85463">
                    <a:moveTo>
                      <a:pt x="41610" y="80013"/>
                    </a:moveTo>
                    <a:lnTo>
                      <a:pt x="0" y="54654"/>
                    </a:lnTo>
                    <a:lnTo>
                      <a:pt x="8890" y="40007"/>
                    </a:lnTo>
                    <a:lnTo>
                      <a:pt x="47002" y="63253"/>
                    </a:lnTo>
                    <a:cubicBezTo>
                      <a:pt x="55456" y="68354"/>
                      <a:pt x="62379" y="68645"/>
                      <a:pt x="67552" y="60192"/>
                    </a:cubicBezTo>
                    <a:cubicBezTo>
                      <a:pt x="72872" y="51448"/>
                      <a:pt x="70322" y="42484"/>
                      <a:pt x="59682" y="36072"/>
                    </a:cubicBezTo>
                    <a:lnTo>
                      <a:pt x="24339" y="14574"/>
                    </a:lnTo>
                    <a:lnTo>
                      <a:pt x="33157" y="0"/>
                    </a:lnTo>
                    <a:lnTo>
                      <a:pt x="96264" y="38476"/>
                    </a:lnTo>
                    <a:lnTo>
                      <a:pt x="87665" y="52541"/>
                    </a:lnTo>
                    <a:lnTo>
                      <a:pt x="74329" y="44452"/>
                    </a:lnTo>
                    <a:lnTo>
                      <a:pt x="74184" y="44743"/>
                    </a:lnTo>
                    <a:cubicBezTo>
                      <a:pt x="79722" y="52031"/>
                      <a:pt x="83438" y="62160"/>
                      <a:pt x="76078" y="74256"/>
                    </a:cubicBezTo>
                    <a:cubicBezTo>
                      <a:pt x="67844" y="87738"/>
                      <a:pt x="54873" y="88248"/>
                      <a:pt x="41464" y="80086"/>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23" name="Freeform 77">
                <a:extLst>
                  <a:ext uri="{FF2B5EF4-FFF2-40B4-BE49-F238E27FC236}">
                    <a16:creationId xmlns:a16="http://schemas.microsoft.com/office/drawing/2014/main" id="{E0773E29-955D-8907-F666-C64240D53900}"/>
                  </a:ext>
                </a:extLst>
              </p:cNvPr>
              <p:cNvSpPr/>
              <p:nvPr/>
            </p:nvSpPr>
            <p:spPr>
              <a:xfrm>
                <a:off x="3732968" y="3648122"/>
                <a:ext cx="88684" cy="62179"/>
              </a:xfrm>
              <a:custGeom>
                <a:avLst/>
                <a:gdLst>
                  <a:gd name="connsiteX0" fmla="*/ 55310 w 88684"/>
                  <a:gd name="connsiteY0" fmla="*/ 57860 h 62179"/>
                  <a:gd name="connsiteX1" fmla="*/ 19821 w 88684"/>
                  <a:gd name="connsiteY1" fmla="*/ 34979 h 62179"/>
                  <a:gd name="connsiteX2" fmla="*/ 13991 w 88684"/>
                  <a:gd name="connsiteY2" fmla="*/ 44088 h 62179"/>
                  <a:gd name="connsiteX3" fmla="*/ 7360 w 88684"/>
                  <a:gd name="connsiteY3" fmla="*/ 39861 h 62179"/>
                  <a:gd name="connsiteX4" fmla="*/ 0 w 88684"/>
                  <a:gd name="connsiteY4" fmla="*/ 5830 h 62179"/>
                  <a:gd name="connsiteX5" fmla="*/ 1749 w 88684"/>
                  <a:gd name="connsiteY5" fmla="*/ 3061 h 62179"/>
                  <a:gd name="connsiteX6" fmla="*/ 17853 w 88684"/>
                  <a:gd name="connsiteY6" fmla="*/ 13481 h 62179"/>
                  <a:gd name="connsiteX7" fmla="*/ 26525 w 88684"/>
                  <a:gd name="connsiteY7" fmla="*/ 0 h 62179"/>
                  <a:gd name="connsiteX8" fmla="*/ 37675 w 88684"/>
                  <a:gd name="connsiteY8" fmla="*/ 7142 h 62179"/>
                  <a:gd name="connsiteX9" fmla="*/ 29003 w 88684"/>
                  <a:gd name="connsiteY9" fmla="*/ 20623 h 62179"/>
                  <a:gd name="connsiteX10" fmla="*/ 61722 w 88684"/>
                  <a:gd name="connsiteY10" fmla="*/ 41683 h 62179"/>
                  <a:gd name="connsiteX11" fmla="*/ 72945 w 88684"/>
                  <a:gd name="connsiteY11" fmla="*/ 39497 h 62179"/>
                  <a:gd name="connsiteX12" fmla="*/ 76370 w 88684"/>
                  <a:gd name="connsiteY12" fmla="*/ 32064 h 62179"/>
                  <a:gd name="connsiteX13" fmla="*/ 88685 w 88684"/>
                  <a:gd name="connsiteY13" fmla="*/ 40007 h 62179"/>
                  <a:gd name="connsiteX14" fmla="*/ 83365 w 88684"/>
                  <a:gd name="connsiteY14" fmla="*/ 50500 h 62179"/>
                  <a:gd name="connsiteX15" fmla="*/ 55237 w 88684"/>
                  <a:gd name="connsiteY15" fmla="*/ 57860 h 62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8684" h="62179">
                    <a:moveTo>
                      <a:pt x="55310" y="57860"/>
                    </a:moveTo>
                    <a:lnTo>
                      <a:pt x="19821" y="34979"/>
                    </a:lnTo>
                    <a:lnTo>
                      <a:pt x="13991" y="44088"/>
                    </a:lnTo>
                    <a:lnTo>
                      <a:pt x="7360" y="39861"/>
                    </a:lnTo>
                    <a:lnTo>
                      <a:pt x="0" y="5830"/>
                    </a:lnTo>
                    <a:lnTo>
                      <a:pt x="1749" y="3061"/>
                    </a:lnTo>
                    <a:lnTo>
                      <a:pt x="17853" y="13481"/>
                    </a:lnTo>
                    <a:lnTo>
                      <a:pt x="26525" y="0"/>
                    </a:lnTo>
                    <a:lnTo>
                      <a:pt x="37675" y="7142"/>
                    </a:lnTo>
                    <a:lnTo>
                      <a:pt x="29003" y="20623"/>
                    </a:lnTo>
                    <a:lnTo>
                      <a:pt x="61722" y="41683"/>
                    </a:lnTo>
                    <a:cubicBezTo>
                      <a:pt x="67188" y="45181"/>
                      <a:pt x="69811" y="44379"/>
                      <a:pt x="72945" y="39497"/>
                    </a:cubicBezTo>
                    <a:cubicBezTo>
                      <a:pt x="74548" y="37019"/>
                      <a:pt x="75641" y="34468"/>
                      <a:pt x="76370" y="32064"/>
                    </a:cubicBezTo>
                    <a:lnTo>
                      <a:pt x="88685" y="40007"/>
                    </a:lnTo>
                    <a:cubicBezTo>
                      <a:pt x="87738" y="42922"/>
                      <a:pt x="85697" y="46857"/>
                      <a:pt x="83365" y="50500"/>
                    </a:cubicBezTo>
                    <a:cubicBezTo>
                      <a:pt x="75349" y="62961"/>
                      <a:pt x="67188" y="65512"/>
                      <a:pt x="55237" y="5786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24" name="Freeform 78">
                <a:extLst>
                  <a:ext uri="{FF2B5EF4-FFF2-40B4-BE49-F238E27FC236}">
                    <a16:creationId xmlns:a16="http://schemas.microsoft.com/office/drawing/2014/main" id="{AD874C48-B343-90D1-9E17-75DF1A21B0CC}"/>
                  </a:ext>
                </a:extLst>
              </p:cNvPr>
              <p:cNvSpPr/>
              <p:nvPr/>
            </p:nvSpPr>
            <p:spPr>
              <a:xfrm>
                <a:off x="3746634" y="3604272"/>
                <a:ext cx="93819" cy="69937"/>
              </a:xfrm>
              <a:custGeom>
                <a:avLst/>
                <a:gdLst>
                  <a:gd name="connsiteX0" fmla="*/ 1928 w 93819"/>
                  <a:gd name="connsiteY0" fmla="*/ 4790 h 69937"/>
                  <a:gd name="connsiteX1" fmla="*/ 15993 w 93819"/>
                  <a:gd name="connsiteY1" fmla="*/ 1802 h 69937"/>
                  <a:gd name="connsiteX2" fmla="*/ 18616 w 93819"/>
                  <a:gd name="connsiteY2" fmla="*/ 15867 h 69937"/>
                  <a:gd name="connsiteX3" fmla="*/ 4625 w 93819"/>
                  <a:gd name="connsiteY3" fmla="*/ 18854 h 69937"/>
                  <a:gd name="connsiteX4" fmla="*/ 1928 w 93819"/>
                  <a:gd name="connsiteY4" fmla="*/ 4790 h 69937"/>
                  <a:gd name="connsiteX5" fmla="*/ 22770 w 93819"/>
                  <a:gd name="connsiteY5" fmla="*/ 28911 h 69937"/>
                  <a:gd name="connsiteX6" fmla="*/ 32243 w 93819"/>
                  <a:gd name="connsiteY6" fmla="*/ 14701 h 69937"/>
                  <a:gd name="connsiteX7" fmla="*/ 93820 w 93819"/>
                  <a:gd name="connsiteY7" fmla="*/ 55728 h 69937"/>
                  <a:gd name="connsiteX8" fmla="*/ 84346 w 93819"/>
                  <a:gd name="connsiteY8" fmla="*/ 69938 h 69937"/>
                  <a:gd name="connsiteX9" fmla="*/ 22770 w 93819"/>
                  <a:gd name="connsiteY9" fmla="*/ 28984 h 6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819" h="69937">
                    <a:moveTo>
                      <a:pt x="1928" y="4790"/>
                    </a:moveTo>
                    <a:cubicBezTo>
                      <a:pt x="5208" y="-165"/>
                      <a:pt x="11037" y="-1477"/>
                      <a:pt x="15993" y="1802"/>
                    </a:cubicBezTo>
                    <a:cubicBezTo>
                      <a:pt x="20948" y="5082"/>
                      <a:pt x="21895" y="10911"/>
                      <a:pt x="18616" y="15867"/>
                    </a:cubicBezTo>
                    <a:cubicBezTo>
                      <a:pt x="15337" y="20822"/>
                      <a:pt x="9580" y="22134"/>
                      <a:pt x="4625" y="18854"/>
                    </a:cubicBezTo>
                    <a:cubicBezTo>
                      <a:pt x="-331" y="15575"/>
                      <a:pt x="-1424" y="9745"/>
                      <a:pt x="1928" y="4790"/>
                    </a:cubicBezTo>
                    <a:close/>
                    <a:moveTo>
                      <a:pt x="22770" y="28911"/>
                    </a:moveTo>
                    <a:lnTo>
                      <a:pt x="32243" y="14701"/>
                    </a:lnTo>
                    <a:lnTo>
                      <a:pt x="93820" y="55728"/>
                    </a:lnTo>
                    <a:lnTo>
                      <a:pt x="84346" y="69938"/>
                    </a:lnTo>
                    <a:lnTo>
                      <a:pt x="22770" y="28984"/>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25" name="Freeform 79">
                <a:extLst>
                  <a:ext uri="{FF2B5EF4-FFF2-40B4-BE49-F238E27FC236}">
                    <a16:creationId xmlns:a16="http://schemas.microsoft.com/office/drawing/2014/main" id="{19E257E2-E791-43A6-31E8-C3FE496F3FE1}"/>
                  </a:ext>
                </a:extLst>
              </p:cNvPr>
              <p:cNvSpPr/>
              <p:nvPr/>
            </p:nvSpPr>
            <p:spPr>
              <a:xfrm>
                <a:off x="3801297" y="3556097"/>
                <a:ext cx="77787" cy="77343"/>
              </a:xfrm>
              <a:custGeom>
                <a:avLst/>
                <a:gdLst>
                  <a:gd name="connsiteX0" fmla="*/ 17368 w 77787"/>
                  <a:gd name="connsiteY0" fmla="*/ 69580 h 77343"/>
                  <a:gd name="connsiteX1" fmla="*/ 7458 w 77787"/>
                  <a:gd name="connsiteY1" fmla="*/ 16748 h 77343"/>
                  <a:gd name="connsiteX2" fmla="*/ 60435 w 77787"/>
                  <a:gd name="connsiteY2" fmla="*/ 7858 h 77343"/>
                  <a:gd name="connsiteX3" fmla="*/ 70273 w 77787"/>
                  <a:gd name="connsiteY3" fmla="*/ 60617 h 77343"/>
                  <a:gd name="connsiteX4" fmla="*/ 17295 w 77787"/>
                  <a:gd name="connsiteY4" fmla="*/ 69507 h 77343"/>
                  <a:gd name="connsiteX5" fmla="*/ 58978 w 77787"/>
                  <a:gd name="connsiteY5" fmla="*/ 52747 h 77343"/>
                  <a:gd name="connsiteX6" fmla="*/ 50233 w 77787"/>
                  <a:gd name="connsiteY6" fmla="*/ 22578 h 77343"/>
                  <a:gd name="connsiteX7" fmla="*/ 18898 w 77787"/>
                  <a:gd name="connsiteY7" fmla="*/ 24764 h 77343"/>
                  <a:gd name="connsiteX8" fmla="*/ 27643 w 77787"/>
                  <a:gd name="connsiteY8" fmla="*/ 54933 h 77343"/>
                  <a:gd name="connsiteX9" fmla="*/ 58978 w 77787"/>
                  <a:gd name="connsiteY9" fmla="*/ 52747 h 77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87" h="77343">
                    <a:moveTo>
                      <a:pt x="17368" y="69580"/>
                    </a:moveTo>
                    <a:cubicBezTo>
                      <a:pt x="-1724" y="56244"/>
                      <a:pt x="-5149" y="34893"/>
                      <a:pt x="7458" y="16748"/>
                    </a:cubicBezTo>
                    <a:cubicBezTo>
                      <a:pt x="20137" y="-1397"/>
                      <a:pt x="41343" y="-5478"/>
                      <a:pt x="60435" y="7858"/>
                    </a:cubicBezTo>
                    <a:cubicBezTo>
                      <a:pt x="79528" y="21193"/>
                      <a:pt x="82953" y="42545"/>
                      <a:pt x="70273" y="60617"/>
                    </a:cubicBezTo>
                    <a:cubicBezTo>
                      <a:pt x="57593" y="78689"/>
                      <a:pt x="36461" y="82843"/>
                      <a:pt x="17295" y="69507"/>
                    </a:cubicBezTo>
                    <a:close/>
                    <a:moveTo>
                      <a:pt x="58978" y="52747"/>
                    </a:moveTo>
                    <a:cubicBezTo>
                      <a:pt x="65536" y="43346"/>
                      <a:pt x="63277" y="31687"/>
                      <a:pt x="50233" y="22578"/>
                    </a:cubicBezTo>
                    <a:cubicBezTo>
                      <a:pt x="37189" y="13469"/>
                      <a:pt x="25457" y="15290"/>
                      <a:pt x="18898" y="24764"/>
                    </a:cubicBezTo>
                    <a:cubicBezTo>
                      <a:pt x="12340" y="34164"/>
                      <a:pt x="14599" y="45824"/>
                      <a:pt x="27643" y="54933"/>
                    </a:cubicBezTo>
                    <a:cubicBezTo>
                      <a:pt x="40687" y="64042"/>
                      <a:pt x="52419" y="62220"/>
                      <a:pt x="58978" y="52747"/>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26" name="Freeform 80">
                <a:extLst>
                  <a:ext uri="{FF2B5EF4-FFF2-40B4-BE49-F238E27FC236}">
                    <a16:creationId xmlns:a16="http://schemas.microsoft.com/office/drawing/2014/main" id="{28658838-06C3-505F-03D4-74C38DAAA251}"/>
                  </a:ext>
                </a:extLst>
              </p:cNvPr>
              <p:cNvSpPr/>
              <p:nvPr/>
            </p:nvSpPr>
            <p:spPr>
              <a:xfrm>
                <a:off x="3841839" y="3485287"/>
                <a:ext cx="97720" cy="87704"/>
              </a:xfrm>
              <a:custGeom>
                <a:avLst/>
                <a:gdLst>
                  <a:gd name="connsiteX0" fmla="*/ 73 w 97720"/>
                  <a:gd name="connsiteY0" fmla="*/ 43325 h 87704"/>
                  <a:gd name="connsiteX1" fmla="*/ 9983 w 97720"/>
                  <a:gd name="connsiteY1" fmla="*/ 30062 h 87704"/>
                  <a:gd name="connsiteX2" fmla="*/ 22444 w 97720"/>
                  <a:gd name="connsiteY2" fmla="*/ 39390 h 87704"/>
                  <a:gd name="connsiteX3" fmla="*/ 22590 w 97720"/>
                  <a:gd name="connsiteY3" fmla="*/ 39171 h 87704"/>
                  <a:gd name="connsiteX4" fmla="*/ 23537 w 97720"/>
                  <a:gd name="connsiteY4" fmla="*/ 9585 h 87704"/>
                  <a:gd name="connsiteX5" fmla="*/ 58589 w 97720"/>
                  <a:gd name="connsiteY5" fmla="*/ 7108 h 87704"/>
                  <a:gd name="connsiteX6" fmla="*/ 97721 w 97720"/>
                  <a:gd name="connsiteY6" fmla="*/ 36329 h 87704"/>
                  <a:gd name="connsiteX7" fmla="*/ 87446 w 97720"/>
                  <a:gd name="connsiteY7" fmla="*/ 50029 h 87704"/>
                  <a:gd name="connsiteX8" fmla="*/ 51666 w 97720"/>
                  <a:gd name="connsiteY8" fmla="*/ 23285 h 87704"/>
                  <a:gd name="connsiteX9" fmla="*/ 30898 w 97720"/>
                  <a:gd name="connsiteY9" fmla="*/ 24451 h 87704"/>
                  <a:gd name="connsiteX10" fmla="*/ 36363 w 97720"/>
                  <a:gd name="connsiteY10" fmla="*/ 49155 h 87704"/>
                  <a:gd name="connsiteX11" fmla="*/ 69520 w 97720"/>
                  <a:gd name="connsiteY11" fmla="*/ 74004 h 87704"/>
                  <a:gd name="connsiteX12" fmla="*/ 59245 w 97720"/>
                  <a:gd name="connsiteY12" fmla="*/ 87704 h 87704"/>
                  <a:gd name="connsiteX13" fmla="*/ 0 w 97720"/>
                  <a:gd name="connsiteY13" fmla="*/ 43398 h 87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720" h="87704">
                    <a:moveTo>
                      <a:pt x="73" y="43325"/>
                    </a:moveTo>
                    <a:lnTo>
                      <a:pt x="9983" y="30062"/>
                    </a:lnTo>
                    <a:lnTo>
                      <a:pt x="22444" y="39390"/>
                    </a:lnTo>
                    <a:lnTo>
                      <a:pt x="22590" y="39171"/>
                    </a:lnTo>
                    <a:cubicBezTo>
                      <a:pt x="17853" y="31374"/>
                      <a:pt x="15084" y="20881"/>
                      <a:pt x="23537" y="9585"/>
                    </a:cubicBezTo>
                    <a:cubicBezTo>
                      <a:pt x="33084" y="-3167"/>
                      <a:pt x="45982" y="-2365"/>
                      <a:pt x="58589" y="7108"/>
                    </a:cubicBezTo>
                    <a:lnTo>
                      <a:pt x="97721" y="36329"/>
                    </a:lnTo>
                    <a:lnTo>
                      <a:pt x="87446" y="50029"/>
                    </a:lnTo>
                    <a:lnTo>
                      <a:pt x="51666" y="23285"/>
                    </a:lnTo>
                    <a:cubicBezTo>
                      <a:pt x="43723" y="17310"/>
                      <a:pt x="36800" y="16508"/>
                      <a:pt x="30898" y="24451"/>
                    </a:cubicBezTo>
                    <a:cubicBezTo>
                      <a:pt x="24776" y="32613"/>
                      <a:pt x="26452" y="41722"/>
                      <a:pt x="36363" y="49155"/>
                    </a:cubicBezTo>
                    <a:lnTo>
                      <a:pt x="69520" y="74004"/>
                    </a:lnTo>
                    <a:lnTo>
                      <a:pt x="59245" y="87704"/>
                    </a:lnTo>
                    <a:lnTo>
                      <a:pt x="0" y="43398"/>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27" name="Freeform 81">
                <a:extLst>
                  <a:ext uri="{FF2B5EF4-FFF2-40B4-BE49-F238E27FC236}">
                    <a16:creationId xmlns:a16="http://schemas.microsoft.com/office/drawing/2014/main" id="{1EBAF9B7-95B8-0B73-D261-C548EEAC4ED6}"/>
                  </a:ext>
                </a:extLst>
              </p:cNvPr>
              <p:cNvSpPr/>
              <p:nvPr/>
            </p:nvSpPr>
            <p:spPr>
              <a:xfrm>
                <a:off x="3899232" y="3424770"/>
                <a:ext cx="76797" cy="80523"/>
              </a:xfrm>
              <a:custGeom>
                <a:avLst/>
                <a:gdLst>
                  <a:gd name="connsiteX0" fmla="*/ 39964 w 76797"/>
                  <a:gd name="connsiteY0" fmla="*/ 80451 h 80523"/>
                  <a:gd name="connsiteX1" fmla="*/ 38288 w 76797"/>
                  <a:gd name="connsiteY1" fmla="*/ 66022 h 80523"/>
                  <a:gd name="connsiteX2" fmla="*/ 57380 w 76797"/>
                  <a:gd name="connsiteY2" fmla="*/ 55601 h 80523"/>
                  <a:gd name="connsiteX3" fmla="*/ 59202 w 76797"/>
                  <a:gd name="connsiteY3" fmla="*/ 40007 h 80523"/>
                  <a:gd name="connsiteX4" fmla="*/ 39891 w 76797"/>
                  <a:gd name="connsiteY4" fmla="*/ 46274 h 80523"/>
                  <a:gd name="connsiteX5" fmla="*/ 7900 w 76797"/>
                  <a:gd name="connsiteY5" fmla="*/ 50719 h 80523"/>
                  <a:gd name="connsiteX6" fmla="*/ 8337 w 76797"/>
                  <a:gd name="connsiteY6" fmla="*/ 15303 h 80523"/>
                  <a:gd name="connsiteX7" fmla="*/ 33260 w 76797"/>
                  <a:gd name="connsiteY7" fmla="*/ 0 h 80523"/>
                  <a:gd name="connsiteX8" fmla="*/ 34936 w 76797"/>
                  <a:gd name="connsiteY8" fmla="*/ 14064 h 80523"/>
                  <a:gd name="connsiteX9" fmla="*/ 18758 w 76797"/>
                  <a:gd name="connsiteY9" fmla="*/ 23173 h 80523"/>
                  <a:gd name="connsiteX10" fmla="*/ 17592 w 76797"/>
                  <a:gd name="connsiteY10" fmla="*/ 37238 h 80523"/>
                  <a:gd name="connsiteX11" fmla="*/ 35300 w 76797"/>
                  <a:gd name="connsiteY11" fmla="*/ 30825 h 80523"/>
                  <a:gd name="connsiteX12" fmla="*/ 68675 w 76797"/>
                  <a:gd name="connsiteY12" fmla="*/ 26234 h 80523"/>
                  <a:gd name="connsiteX13" fmla="*/ 68020 w 76797"/>
                  <a:gd name="connsiteY13" fmla="*/ 63617 h 80523"/>
                  <a:gd name="connsiteX14" fmla="*/ 40110 w 76797"/>
                  <a:gd name="connsiteY14" fmla="*/ 80523 h 8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797" h="80523">
                    <a:moveTo>
                      <a:pt x="39964" y="80451"/>
                    </a:moveTo>
                    <a:lnTo>
                      <a:pt x="38288" y="66022"/>
                    </a:lnTo>
                    <a:cubicBezTo>
                      <a:pt x="47032" y="65439"/>
                      <a:pt x="52571" y="61722"/>
                      <a:pt x="57380" y="55601"/>
                    </a:cubicBezTo>
                    <a:cubicBezTo>
                      <a:pt x="62044" y="49699"/>
                      <a:pt x="64011" y="43796"/>
                      <a:pt x="59202" y="40007"/>
                    </a:cubicBezTo>
                    <a:cubicBezTo>
                      <a:pt x="53955" y="35853"/>
                      <a:pt x="48636" y="39642"/>
                      <a:pt x="39891" y="46274"/>
                    </a:cubicBezTo>
                    <a:cubicBezTo>
                      <a:pt x="30491" y="53415"/>
                      <a:pt x="19341" y="59755"/>
                      <a:pt x="7900" y="50719"/>
                    </a:cubicBezTo>
                    <a:cubicBezTo>
                      <a:pt x="-2885" y="42193"/>
                      <a:pt x="-2520" y="29003"/>
                      <a:pt x="8337" y="15303"/>
                    </a:cubicBezTo>
                    <a:cubicBezTo>
                      <a:pt x="15406" y="6340"/>
                      <a:pt x="24005" y="1166"/>
                      <a:pt x="33260" y="0"/>
                    </a:cubicBezTo>
                    <a:lnTo>
                      <a:pt x="34936" y="14064"/>
                    </a:lnTo>
                    <a:cubicBezTo>
                      <a:pt x="27794" y="14793"/>
                      <a:pt x="22475" y="18437"/>
                      <a:pt x="18758" y="23173"/>
                    </a:cubicBezTo>
                    <a:cubicBezTo>
                      <a:pt x="14386" y="28712"/>
                      <a:pt x="13366" y="33885"/>
                      <a:pt x="17592" y="37238"/>
                    </a:cubicBezTo>
                    <a:cubicBezTo>
                      <a:pt x="21892" y="40662"/>
                      <a:pt x="26993" y="37019"/>
                      <a:pt x="35300" y="30825"/>
                    </a:cubicBezTo>
                    <a:cubicBezTo>
                      <a:pt x="44919" y="23465"/>
                      <a:pt x="55850" y="16178"/>
                      <a:pt x="68675" y="26234"/>
                    </a:cubicBezTo>
                    <a:cubicBezTo>
                      <a:pt x="79898" y="35124"/>
                      <a:pt x="79315" y="49334"/>
                      <a:pt x="68020" y="63617"/>
                    </a:cubicBezTo>
                    <a:cubicBezTo>
                      <a:pt x="60004" y="73746"/>
                      <a:pt x="50676" y="79722"/>
                      <a:pt x="40110" y="80523"/>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28" name="Freeform 82">
                <a:extLst>
                  <a:ext uri="{FF2B5EF4-FFF2-40B4-BE49-F238E27FC236}">
                    <a16:creationId xmlns:a16="http://schemas.microsoft.com/office/drawing/2014/main" id="{FDC990ED-2450-DB54-6CB0-96D90E70B056}"/>
                  </a:ext>
                </a:extLst>
              </p:cNvPr>
              <p:cNvSpPr/>
              <p:nvPr/>
            </p:nvSpPr>
            <p:spPr>
              <a:xfrm>
                <a:off x="4061444" y="3262090"/>
                <a:ext cx="41943" cy="41951"/>
              </a:xfrm>
              <a:custGeom>
                <a:avLst/>
                <a:gdLst>
                  <a:gd name="connsiteX0" fmla="*/ 6807 w 41943"/>
                  <a:gd name="connsiteY0" fmla="*/ 36102 h 41951"/>
                  <a:gd name="connsiteX1" fmla="*/ 5787 w 41943"/>
                  <a:gd name="connsiteY1" fmla="*/ 6807 h 41951"/>
                  <a:gd name="connsiteX2" fmla="*/ 35081 w 41943"/>
                  <a:gd name="connsiteY2" fmla="*/ 5787 h 41951"/>
                  <a:gd name="connsiteX3" fmla="*/ 36102 w 41943"/>
                  <a:gd name="connsiteY3" fmla="*/ 35154 h 41951"/>
                  <a:gd name="connsiteX4" fmla="*/ 6734 w 41943"/>
                  <a:gd name="connsiteY4" fmla="*/ 36102 h 41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43" h="41951">
                    <a:moveTo>
                      <a:pt x="6807" y="36102"/>
                    </a:moveTo>
                    <a:cubicBezTo>
                      <a:pt x="-1865" y="27940"/>
                      <a:pt x="-2302" y="15479"/>
                      <a:pt x="5787" y="6807"/>
                    </a:cubicBezTo>
                    <a:cubicBezTo>
                      <a:pt x="13949" y="-1865"/>
                      <a:pt x="26410" y="-2302"/>
                      <a:pt x="35081" y="5787"/>
                    </a:cubicBezTo>
                    <a:cubicBezTo>
                      <a:pt x="43826" y="13949"/>
                      <a:pt x="44263" y="26482"/>
                      <a:pt x="36102" y="35154"/>
                    </a:cubicBezTo>
                    <a:cubicBezTo>
                      <a:pt x="28013" y="43826"/>
                      <a:pt x="15479" y="44263"/>
                      <a:pt x="6734" y="36102"/>
                    </a:cubicBezTo>
                    <a:close/>
                  </a:path>
                </a:pathLst>
              </a:custGeom>
              <a:solidFill>
                <a:srgbClr val="A6E0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29" name="Freeform 83">
                <a:extLst>
                  <a:ext uri="{FF2B5EF4-FFF2-40B4-BE49-F238E27FC236}">
                    <a16:creationId xmlns:a16="http://schemas.microsoft.com/office/drawing/2014/main" id="{0BB4C002-FCC9-D924-53C5-B2C6A1793EF9}"/>
                  </a:ext>
                </a:extLst>
              </p:cNvPr>
              <p:cNvSpPr/>
              <p:nvPr/>
            </p:nvSpPr>
            <p:spPr>
              <a:xfrm>
                <a:off x="4196652" y="3086498"/>
                <a:ext cx="77681" cy="82345"/>
              </a:xfrm>
              <a:custGeom>
                <a:avLst/>
                <a:gdLst>
                  <a:gd name="connsiteX0" fmla="*/ 0 w 77681"/>
                  <a:gd name="connsiteY0" fmla="*/ 12170 h 82345"/>
                  <a:gd name="connsiteX1" fmla="*/ 13263 w 77681"/>
                  <a:gd name="connsiteY1" fmla="*/ 0 h 82345"/>
                  <a:gd name="connsiteX2" fmla="*/ 77681 w 77681"/>
                  <a:gd name="connsiteY2" fmla="*/ 70176 h 82345"/>
                  <a:gd name="connsiteX3" fmla="*/ 64419 w 77681"/>
                  <a:gd name="connsiteY3" fmla="*/ 82345 h 82345"/>
                  <a:gd name="connsiteX4" fmla="*/ 0 w 77681"/>
                  <a:gd name="connsiteY4" fmla="*/ 12170 h 82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681" h="82345">
                    <a:moveTo>
                      <a:pt x="0" y="12170"/>
                    </a:moveTo>
                    <a:lnTo>
                      <a:pt x="13263" y="0"/>
                    </a:lnTo>
                    <a:lnTo>
                      <a:pt x="77681" y="70176"/>
                    </a:lnTo>
                    <a:lnTo>
                      <a:pt x="64419" y="82345"/>
                    </a:lnTo>
                    <a:lnTo>
                      <a:pt x="0" y="1217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30" name="Freeform 84">
                <a:extLst>
                  <a:ext uri="{FF2B5EF4-FFF2-40B4-BE49-F238E27FC236}">
                    <a16:creationId xmlns:a16="http://schemas.microsoft.com/office/drawing/2014/main" id="{E93BEED6-DDFB-0A34-38DD-BB04A764D4DB}"/>
                  </a:ext>
                </a:extLst>
              </p:cNvPr>
              <p:cNvSpPr/>
              <p:nvPr/>
            </p:nvSpPr>
            <p:spPr>
              <a:xfrm>
                <a:off x="4241031" y="3052346"/>
                <a:ext cx="97065" cy="90045"/>
              </a:xfrm>
              <a:custGeom>
                <a:avLst/>
                <a:gdLst>
                  <a:gd name="connsiteX0" fmla="*/ 0 w 97065"/>
                  <a:gd name="connsiteY0" fmla="*/ 34444 h 90045"/>
                  <a:gd name="connsiteX1" fmla="*/ 12461 w 97065"/>
                  <a:gd name="connsiteY1" fmla="*/ 23514 h 90045"/>
                  <a:gd name="connsiteX2" fmla="*/ 22736 w 97065"/>
                  <a:gd name="connsiteY2" fmla="*/ 35173 h 90045"/>
                  <a:gd name="connsiteX3" fmla="*/ 22955 w 97065"/>
                  <a:gd name="connsiteY3" fmla="*/ 35027 h 90045"/>
                  <a:gd name="connsiteX4" fmla="*/ 30023 w 97065"/>
                  <a:gd name="connsiteY4" fmla="*/ 6243 h 90045"/>
                  <a:gd name="connsiteX5" fmla="*/ 64856 w 97065"/>
                  <a:gd name="connsiteY5" fmla="*/ 11053 h 90045"/>
                  <a:gd name="connsiteX6" fmla="*/ 97065 w 97065"/>
                  <a:gd name="connsiteY6" fmla="*/ 47780 h 90045"/>
                  <a:gd name="connsiteX7" fmla="*/ 84240 w 97065"/>
                  <a:gd name="connsiteY7" fmla="*/ 59075 h 90045"/>
                  <a:gd name="connsiteX8" fmla="*/ 54800 w 97065"/>
                  <a:gd name="connsiteY8" fmla="*/ 25481 h 90045"/>
                  <a:gd name="connsiteX9" fmla="*/ 34177 w 97065"/>
                  <a:gd name="connsiteY9" fmla="*/ 22348 h 90045"/>
                  <a:gd name="connsiteX10" fmla="*/ 34468 w 97065"/>
                  <a:gd name="connsiteY10" fmla="*/ 47634 h 90045"/>
                  <a:gd name="connsiteX11" fmla="*/ 61795 w 97065"/>
                  <a:gd name="connsiteY11" fmla="*/ 78751 h 90045"/>
                  <a:gd name="connsiteX12" fmla="*/ 48970 w 97065"/>
                  <a:gd name="connsiteY12" fmla="*/ 90046 h 90045"/>
                  <a:gd name="connsiteX13" fmla="*/ 219 w 97065"/>
                  <a:gd name="connsiteY13" fmla="*/ 34444 h 9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065" h="90045">
                    <a:moveTo>
                      <a:pt x="0" y="34444"/>
                    </a:moveTo>
                    <a:lnTo>
                      <a:pt x="12461" y="23514"/>
                    </a:lnTo>
                    <a:lnTo>
                      <a:pt x="22736" y="35173"/>
                    </a:lnTo>
                    <a:lnTo>
                      <a:pt x="22955" y="35027"/>
                    </a:lnTo>
                    <a:cubicBezTo>
                      <a:pt x="19894" y="26428"/>
                      <a:pt x="19384" y="15571"/>
                      <a:pt x="30023" y="6243"/>
                    </a:cubicBezTo>
                    <a:cubicBezTo>
                      <a:pt x="41974" y="-4251"/>
                      <a:pt x="54435" y="-753"/>
                      <a:pt x="64856" y="11053"/>
                    </a:cubicBezTo>
                    <a:lnTo>
                      <a:pt x="97065" y="47780"/>
                    </a:lnTo>
                    <a:lnTo>
                      <a:pt x="84240" y="59075"/>
                    </a:lnTo>
                    <a:lnTo>
                      <a:pt x="54800" y="25481"/>
                    </a:lnTo>
                    <a:cubicBezTo>
                      <a:pt x="48241" y="18048"/>
                      <a:pt x="41683" y="15789"/>
                      <a:pt x="34177" y="22348"/>
                    </a:cubicBezTo>
                    <a:cubicBezTo>
                      <a:pt x="26525" y="29052"/>
                      <a:pt x="26234" y="38307"/>
                      <a:pt x="34468" y="47634"/>
                    </a:cubicBezTo>
                    <a:lnTo>
                      <a:pt x="61795" y="78751"/>
                    </a:lnTo>
                    <a:lnTo>
                      <a:pt x="48970" y="90046"/>
                    </a:lnTo>
                    <a:lnTo>
                      <a:pt x="219" y="34444"/>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31" name="Freeform 85">
                <a:extLst>
                  <a:ext uri="{FF2B5EF4-FFF2-40B4-BE49-F238E27FC236}">
                    <a16:creationId xmlns:a16="http://schemas.microsoft.com/office/drawing/2014/main" id="{F6859E47-E0D6-0CDB-D7DD-B5B4DD857E9E}"/>
                  </a:ext>
                </a:extLst>
              </p:cNvPr>
              <p:cNvSpPr/>
              <p:nvPr/>
            </p:nvSpPr>
            <p:spPr>
              <a:xfrm>
                <a:off x="4314469" y="2965458"/>
                <a:ext cx="92126" cy="113148"/>
              </a:xfrm>
              <a:custGeom>
                <a:avLst/>
                <a:gdLst>
                  <a:gd name="connsiteX0" fmla="*/ 11385 w 92126"/>
                  <a:gd name="connsiteY0" fmla="*/ 96410 h 113148"/>
                  <a:gd name="connsiteX1" fmla="*/ 10656 w 92126"/>
                  <a:gd name="connsiteY1" fmla="*/ 47294 h 113148"/>
                  <a:gd name="connsiteX2" fmla="*/ 41044 w 92126"/>
                  <a:gd name="connsiteY2" fmla="*/ 43067 h 113148"/>
                  <a:gd name="connsiteX3" fmla="*/ 41335 w 92126"/>
                  <a:gd name="connsiteY3" fmla="*/ 42849 h 113148"/>
                  <a:gd name="connsiteX4" fmla="*/ 14955 w 92126"/>
                  <a:gd name="connsiteY4" fmla="*/ 10858 h 113148"/>
                  <a:gd name="connsiteX5" fmla="*/ 28145 w 92126"/>
                  <a:gd name="connsiteY5" fmla="*/ 0 h 113148"/>
                  <a:gd name="connsiteX6" fmla="*/ 92127 w 92126"/>
                  <a:gd name="connsiteY6" fmla="*/ 77754 h 113148"/>
                  <a:gd name="connsiteX7" fmla="*/ 79374 w 92126"/>
                  <a:gd name="connsiteY7" fmla="*/ 88248 h 113148"/>
                  <a:gd name="connsiteX8" fmla="*/ 69682 w 92126"/>
                  <a:gd name="connsiteY8" fmla="*/ 76515 h 113148"/>
                  <a:gd name="connsiteX9" fmla="*/ 69391 w 92126"/>
                  <a:gd name="connsiteY9" fmla="*/ 76734 h 113148"/>
                  <a:gd name="connsiteX10" fmla="*/ 59772 w 92126"/>
                  <a:gd name="connsiteY10" fmla="*/ 106101 h 113148"/>
                  <a:gd name="connsiteX11" fmla="*/ 11239 w 92126"/>
                  <a:gd name="connsiteY11" fmla="*/ 96482 h 113148"/>
                  <a:gd name="connsiteX12" fmla="*/ 55982 w 92126"/>
                  <a:gd name="connsiteY12" fmla="*/ 91381 h 113148"/>
                  <a:gd name="connsiteX13" fmla="*/ 55618 w 92126"/>
                  <a:gd name="connsiteY13" fmla="*/ 60046 h 113148"/>
                  <a:gd name="connsiteX14" fmla="*/ 24939 w 92126"/>
                  <a:gd name="connsiteY14" fmla="*/ 53634 h 113148"/>
                  <a:gd name="connsiteX15" fmla="*/ 25230 w 92126"/>
                  <a:gd name="connsiteY15" fmla="*/ 85042 h 113148"/>
                  <a:gd name="connsiteX16" fmla="*/ 55982 w 92126"/>
                  <a:gd name="connsiteY16" fmla="*/ 91381 h 113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126" h="113148">
                    <a:moveTo>
                      <a:pt x="11385" y="96410"/>
                    </a:moveTo>
                    <a:cubicBezTo>
                      <a:pt x="-3263" y="78629"/>
                      <a:pt x="-4064" y="59463"/>
                      <a:pt x="10656" y="47294"/>
                    </a:cubicBezTo>
                    <a:cubicBezTo>
                      <a:pt x="21733" y="38185"/>
                      <a:pt x="33101" y="38841"/>
                      <a:pt x="41044" y="43067"/>
                    </a:cubicBezTo>
                    <a:lnTo>
                      <a:pt x="41335" y="42849"/>
                    </a:lnTo>
                    <a:lnTo>
                      <a:pt x="14955" y="10858"/>
                    </a:lnTo>
                    <a:lnTo>
                      <a:pt x="28145" y="0"/>
                    </a:lnTo>
                    <a:lnTo>
                      <a:pt x="92127" y="77754"/>
                    </a:lnTo>
                    <a:lnTo>
                      <a:pt x="79374" y="88248"/>
                    </a:lnTo>
                    <a:lnTo>
                      <a:pt x="69682" y="76515"/>
                    </a:lnTo>
                    <a:lnTo>
                      <a:pt x="69391" y="76734"/>
                    </a:lnTo>
                    <a:cubicBezTo>
                      <a:pt x="72014" y="85552"/>
                      <a:pt x="71795" y="96191"/>
                      <a:pt x="59772" y="106101"/>
                    </a:cubicBezTo>
                    <a:cubicBezTo>
                      <a:pt x="45270" y="118053"/>
                      <a:pt x="26323" y="114773"/>
                      <a:pt x="11239" y="96482"/>
                    </a:cubicBezTo>
                    <a:close/>
                    <a:moveTo>
                      <a:pt x="55982" y="91381"/>
                    </a:moveTo>
                    <a:cubicBezTo>
                      <a:pt x="64873" y="84094"/>
                      <a:pt x="65674" y="72289"/>
                      <a:pt x="55618" y="60046"/>
                    </a:cubicBezTo>
                    <a:cubicBezTo>
                      <a:pt x="45489" y="47731"/>
                      <a:pt x="33756" y="46346"/>
                      <a:pt x="24939" y="53634"/>
                    </a:cubicBezTo>
                    <a:cubicBezTo>
                      <a:pt x="16049" y="60994"/>
                      <a:pt x="15101" y="72726"/>
                      <a:pt x="25230" y="85042"/>
                    </a:cubicBezTo>
                    <a:cubicBezTo>
                      <a:pt x="35287" y="97284"/>
                      <a:pt x="47092" y="98741"/>
                      <a:pt x="55982" y="9138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32" name="Freeform 86">
                <a:extLst>
                  <a:ext uri="{FF2B5EF4-FFF2-40B4-BE49-F238E27FC236}">
                    <a16:creationId xmlns:a16="http://schemas.microsoft.com/office/drawing/2014/main" id="{0B58EF5A-9B54-1D7E-B2C7-E2871A315338}"/>
                  </a:ext>
                </a:extLst>
              </p:cNvPr>
              <p:cNvSpPr/>
              <p:nvPr/>
            </p:nvSpPr>
            <p:spPr>
              <a:xfrm>
                <a:off x="4376864" y="2933395"/>
                <a:ext cx="95826" cy="89976"/>
              </a:xfrm>
              <a:custGeom>
                <a:avLst/>
                <a:gdLst>
                  <a:gd name="connsiteX0" fmla="*/ 29732 w 95826"/>
                  <a:gd name="connsiteY0" fmla="*/ 77681 h 89976"/>
                  <a:gd name="connsiteX1" fmla="*/ 0 w 95826"/>
                  <a:gd name="connsiteY1" fmla="*/ 39132 h 89976"/>
                  <a:gd name="connsiteX2" fmla="*/ 13554 w 95826"/>
                  <a:gd name="connsiteY2" fmla="*/ 28639 h 89976"/>
                  <a:gd name="connsiteX3" fmla="*/ 40808 w 95826"/>
                  <a:gd name="connsiteY3" fmla="*/ 63981 h 89976"/>
                  <a:gd name="connsiteX4" fmla="*/ 61067 w 95826"/>
                  <a:gd name="connsiteY4" fmla="*/ 68500 h 89976"/>
                  <a:gd name="connsiteX5" fmla="*/ 62451 w 95826"/>
                  <a:gd name="connsiteY5" fmla="*/ 43140 h 89976"/>
                  <a:gd name="connsiteX6" fmla="*/ 37238 w 95826"/>
                  <a:gd name="connsiteY6" fmla="*/ 10421 h 89976"/>
                  <a:gd name="connsiteX7" fmla="*/ 50719 w 95826"/>
                  <a:gd name="connsiteY7" fmla="*/ 0 h 89976"/>
                  <a:gd name="connsiteX8" fmla="*/ 95826 w 95826"/>
                  <a:gd name="connsiteY8" fmla="*/ 58516 h 89976"/>
                  <a:gd name="connsiteX9" fmla="*/ 82783 w 95826"/>
                  <a:gd name="connsiteY9" fmla="*/ 68572 h 89976"/>
                  <a:gd name="connsiteX10" fmla="*/ 73236 w 95826"/>
                  <a:gd name="connsiteY10" fmla="*/ 56184 h 89976"/>
                  <a:gd name="connsiteX11" fmla="*/ 72945 w 95826"/>
                  <a:gd name="connsiteY11" fmla="*/ 56403 h 89976"/>
                  <a:gd name="connsiteX12" fmla="*/ 64127 w 95826"/>
                  <a:gd name="connsiteY12" fmla="*/ 84677 h 89976"/>
                  <a:gd name="connsiteX13" fmla="*/ 29732 w 95826"/>
                  <a:gd name="connsiteY13" fmla="*/ 77681 h 89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826" h="89976">
                    <a:moveTo>
                      <a:pt x="29732" y="77681"/>
                    </a:moveTo>
                    <a:lnTo>
                      <a:pt x="0" y="39132"/>
                    </a:lnTo>
                    <a:lnTo>
                      <a:pt x="13554" y="28639"/>
                    </a:lnTo>
                    <a:lnTo>
                      <a:pt x="40808" y="63981"/>
                    </a:lnTo>
                    <a:cubicBezTo>
                      <a:pt x="46857" y="71779"/>
                      <a:pt x="53197" y="74548"/>
                      <a:pt x="61067" y="68500"/>
                    </a:cubicBezTo>
                    <a:cubicBezTo>
                      <a:pt x="69155" y="62305"/>
                      <a:pt x="70030" y="52978"/>
                      <a:pt x="62451" y="43140"/>
                    </a:cubicBezTo>
                    <a:lnTo>
                      <a:pt x="37238" y="10421"/>
                    </a:lnTo>
                    <a:lnTo>
                      <a:pt x="50719" y="0"/>
                    </a:lnTo>
                    <a:lnTo>
                      <a:pt x="95826" y="58516"/>
                    </a:lnTo>
                    <a:lnTo>
                      <a:pt x="82783" y="68572"/>
                    </a:lnTo>
                    <a:lnTo>
                      <a:pt x="73236" y="56184"/>
                    </a:lnTo>
                    <a:lnTo>
                      <a:pt x="72945" y="56403"/>
                    </a:lnTo>
                    <a:cubicBezTo>
                      <a:pt x="75495" y="65220"/>
                      <a:pt x="75349" y="76005"/>
                      <a:pt x="64127" y="84677"/>
                    </a:cubicBezTo>
                    <a:cubicBezTo>
                      <a:pt x="51593" y="94296"/>
                      <a:pt x="39351" y="90142"/>
                      <a:pt x="29732" y="7768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33" name="Freeform 87">
                <a:extLst>
                  <a:ext uri="{FF2B5EF4-FFF2-40B4-BE49-F238E27FC236}">
                    <a16:creationId xmlns:a16="http://schemas.microsoft.com/office/drawing/2014/main" id="{70DC41CF-B188-77CB-2384-7320470A58B2}"/>
                  </a:ext>
                </a:extLst>
              </p:cNvPr>
              <p:cNvSpPr/>
              <p:nvPr/>
            </p:nvSpPr>
            <p:spPr>
              <a:xfrm>
                <a:off x="4450372" y="2896169"/>
                <a:ext cx="73427" cy="80266"/>
              </a:xfrm>
              <a:custGeom>
                <a:avLst/>
                <a:gdLst>
                  <a:gd name="connsiteX0" fmla="*/ 27055 w 73427"/>
                  <a:gd name="connsiteY0" fmla="*/ 79637 h 80266"/>
                  <a:gd name="connsiteX1" fmla="*/ 29314 w 73427"/>
                  <a:gd name="connsiteY1" fmla="*/ 65282 h 80266"/>
                  <a:gd name="connsiteX2" fmla="*/ 50520 w 73427"/>
                  <a:gd name="connsiteY2" fmla="*/ 60399 h 80266"/>
                  <a:gd name="connsiteX3" fmla="*/ 56495 w 73427"/>
                  <a:gd name="connsiteY3" fmla="*/ 45825 h 80266"/>
                  <a:gd name="connsiteX4" fmla="*/ 36164 w 73427"/>
                  <a:gd name="connsiteY4" fmla="*/ 46626 h 80266"/>
                  <a:gd name="connsiteX5" fmla="*/ 4173 w 73427"/>
                  <a:gd name="connsiteY5" fmla="*/ 42327 h 80266"/>
                  <a:gd name="connsiteX6" fmla="*/ 14084 w 73427"/>
                  <a:gd name="connsiteY6" fmla="*/ 8369 h 80266"/>
                  <a:gd name="connsiteX7" fmla="*/ 42212 w 73427"/>
                  <a:gd name="connsiteY7" fmla="*/ 353 h 80266"/>
                  <a:gd name="connsiteX8" fmla="*/ 40026 w 73427"/>
                  <a:gd name="connsiteY8" fmla="*/ 14344 h 80266"/>
                  <a:gd name="connsiteX9" fmla="*/ 22027 w 73427"/>
                  <a:gd name="connsiteY9" fmla="*/ 18789 h 80266"/>
                  <a:gd name="connsiteX10" fmla="*/ 17145 w 73427"/>
                  <a:gd name="connsiteY10" fmla="*/ 32052 h 80266"/>
                  <a:gd name="connsiteX11" fmla="*/ 35873 w 73427"/>
                  <a:gd name="connsiteY11" fmla="*/ 30594 h 80266"/>
                  <a:gd name="connsiteX12" fmla="*/ 69175 w 73427"/>
                  <a:gd name="connsiteY12" fmla="*/ 35112 h 80266"/>
                  <a:gd name="connsiteX13" fmla="*/ 58463 w 73427"/>
                  <a:gd name="connsiteY13" fmla="*/ 70893 h 80266"/>
                  <a:gd name="connsiteX14" fmla="*/ 27055 w 73427"/>
                  <a:gd name="connsiteY14" fmla="*/ 79637 h 8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427" h="80266">
                    <a:moveTo>
                      <a:pt x="27055" y="79637"/>
                    </a:moveTo>
                    <a:lnTo>
                      <a:pt x="29314" y="65282"/>
                    </a:lnTo>
                    <a:cubicBezTo>
                      <a:pt x="37913" y="67030"/>
                      <a:pt x="44180" y="64990"/>
                      <a:pt x="50520" y="60399"/>
                    </a:cubicBezTo>
                    <a:cubicBezTo>
                      <a:pt x="56568" y="55954"/>
                      <a:pt x="60066" y="50780"/>
                      <a:pt x="56495" y="45825"/>
                    </a:cubicBezTo>
                    <a:cubicBezTo>
                      <a:pt x="52560" y="40432"/>
                      <a:pt x="46366" y="42618"/>
                      <a:pt x="36164" y="46626"/>
                    </a:cubicBezTo>
                    <a:cubicBezTo>
                      <a:pt x="25160" y="50926"/>
                      <a:pt x="12772" y="54059"/>
                      <a:pt x="4173" y="42327"/>
                    </a:cubicBezTo>
                    <a:cubicBezTo>
                      <a:pt x="-3915" y="31250"/>
                      <a:pt x="-53" y="18643"/>
                      <a:pt x="14084" y="8369"/>
                    </a:cubicBezTo>
                    <a:cubicBezTo>
                      <a:pt x="23339" y="1664"/>
                      <a:pt x="32958" y="-1032"/>
                      <a:pt x="42212" y="353"/>
                    </a:cubicBezTo>
                    <a:lnTo>
                      <a:pt x="40026" y="14344"/>
                    </a:lnTo>
                    <a:cubicBezTo>
                      <a:pt x="32958" y="13105"/>
                      <a:pt x="26909" y="15218"/>
                      <a:pt x="22027" y="18789"/>
                    </a:cubicBezTo>
                    <a:cubicBezTo>
                      <a:pt x="16270" y="22943"/>
                      <a:pt x="13938" y="27680"/>
                      <a:pt x="17145" y="32052"/>
                    </a:cubicBezTo>
                    <a:cubicBezTo>
                      <a:pt x="20351" y="36497"/>
                      <a:pt x="26254" y="34384"/>
                      <a:pt x="35873" y="30594"/>
                    </a:cubicBezTo>
                    <a:cubicBezTo>
                      <a:pt x="47095" y="26076"/>
                      <a:pt x="59629" y="21996"/>
                      <a:pt x="69175" y="35112"/>
                    </a:cubicBezTo>
                    <a:cubicBezTo>
                      <a:pt x="77628" y="46699"/>
                      <a:pt x="73183" y="60180"/>
                      <a:pt x="58463" y="70893"/>
                    </a:cubicBezTo>
                    <a:cubicBezTo>
                      <a:pt x="48042" y="78471"/>
                      <a:pt x="37403" y="81750"/>
                      <a:pt x="27055" y="79637"/>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34" name="Freeform 88">
                <a:extLst>
                  <a:ext uri="{FF2B5EF4-FFF2-40B4-BE49-F238E27FC236}">
                    <a16:creationId xmlns:a16="http://schemas.microsoft.com/office/drawing/2014/main" id="{E5A172B9-AB04-29BF-C8C8-B7B05EA16013}"/>
                  </a:ext>
                </a:extLst>
              </p:cNvPr>
              <p:cNvSpPr/>
              <p:nvPr/>
            </p:nvSpPr>
            <p:spPr>
              <a:xfrm>
                <a:off x="4498050" y="2852580"/>
                <a:ext cx="75203" cy="80545"/>
              </a:xfrm>
              <a:custGeom>
                <a:avLst/>
                <a:gdLst>
                  <a:gd name="connsiteX0" fmla="*/ 37456 w 75203"/>
                  <a:gd name="connsiteY0" fmla="*/ 70977 h 80545"/>
                  <a:gd name="connsiteX1" fmla="*/ 13335 w 75203"/>
                  <a:gd name="connsiteY1" fmla="*/ 36290 h 80545"/>
                  <a:gd name="connsiteX2" fmla="*/ 4445 w 75203"/>
                  <a:gd name="connsiteY2" fmla="*/ 42484 h 80545"/>
                  <a:gd name="connsiteX3" fmla="*/ 0 w 75203"/>
                  <a:gd name="connsiteY3" fmla="*/ 36071 h 80545"/>
                  <a:gd name="connsiteX4" fmla="*/ 6194 w 75203"/>
                  <a:gd name="connsiteY4" fmla="*/ 1822 h 80545"/>
                  <a:gd name="connsiteX5" fmla="*/ 8890 w 75203"/>
                  <a:gd name="connsiteY5" fmla="*/ 0 h 80545"/>
                  <a:gd name="connsiteX6" fmla="*/ 19821 w 75203"/>
                  <a:gd name="connsiteY6" fmla="*/ 15740 h 80545"/>
                  <a:gd name="connsiteX7" fmla="*/ 32938 w 75203"/>
                  <a:gd name="connsiteY7" fmla="*/ 6558 h 80545"/>
                  <a:gd name="connsiteX8" fmla="*/ 40517 w 75203"/>
                  <a:gd name="connsiteY8" fmla="*/ 17416 h 80545"/>
                  <a:gd name="connsiteX9" fmla="*/ 27400 w 75203"/>
                  <a:gd name="connsiteY9" fmla="*/ 26598 h 80545"/>
                  <a:gd name="connsiteX10" fmla="*/ 49626 w 75203"/>
                  <a:gd name="connsiteY10" fmla="*/ 58516 h 80545"/>
                  <a:gd name="connsiteX11" fmla="*/ 60848 w 75203"/>
                  <a:gd name="connsiteY11" fmla="*/ 60775 h 80545"/>
                  <a:gd name="connsiteX12" fmla="*/ 66824 w 75203"/>
                  <a:gd name="connsiteY12" fmla="*/ 55164 h 80545"/>
                  <a:gd name="connsiteX13" fmla="*/ 75204 w 75203"/>
                  <a:gd name="connsiteY13" fmla="*/ 67188 h 80545"/>
                  <a:gd name="connsiteX14" fmla="*/ 66313 w 75203"/>
                  <a:gd name="connsiteY14" fmla="*/ 74839 h 80545"/>
                  <a:gd name="connsiteX15" fmla="*/ 37529 w 75203"/>
                  <a:gd name="connsiteY15" fmla="*/ 70904 h 8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203" h="80545">
                    <a:moveTo>
                      <a:pt x="37456" y="70977"/>
                    </a:moveTo>
                    <a:lnTo>
                      <a:pt x="13335" y="36290"/>
                    </a:lnTo>
                    <a:lnTo>
                      <a:pt x="4445" y="42484"/>
                    </a:lnTo>
                    <a:lnTo>
                      <a:pt x="0" y="36071"/>
                    </a:lnTo>
                    <a:lnTo>
                      <a:pt x="6194" y="1822"/>
                    </a:lnTo>
                    <a:lnTo>
                      <a:pt x="8890" y="0"/>
                    </a:lnTo>
                    <a:lnTo>
                      <a:pt x="19821" y="15740"/>
                    </a:lnTo>
                    <a:lnTo>
                      <a:pt x="32938" y="6558"/>
                    </a:lnTo>
                    <a:lnTo>
                      <a:pt x="40517" y="17416"/>
                    </a:lnTo>
                    <a:lnTo>
                      <a:pt x="27400" y="26598"/>
                    </a:lnTo>
                    <a:lnTo>
                      <a:pt x="49626" y="58516"/>
                    </a:lnTo>
                    <a:cubicBezTo>
                      <a:pt x="53342" y="63836"/>
                      <a:pt x="56038" y="64127"/>
                      <a:pt x="60848" y="60775"/>
                    </a:cubicBezTo>
                    <a:cubicBezTo>
                      <a:pt x="63253" y="59099"/>
                      <a:pt x="65220" y="57132"/>
                      <a:pt x="66824" y="55164"/>
                    </a:cubicBezTo>
                    <a:lnTo>
                      <a:pt x="75204" y="67188"/>
                    </a:lnTo>
                    <a:cubicBezTo>
                      <a:pt x="73163" y="69520"/>
                      <a:pt x="69811" y="72362"/>
                      <a:pt x="66313" y="74839"/>
                    </a:cubicBezTo>
                    <a:cubicBezTo>
                      <a:pt x="54144" y="83365"/>
                      <a:pt x="45618" y="82564"/>
                      <a:pt x="37529" y="70904"/>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36" name="Freeform 89">
                <a:extLst>
                  <a:ext uri="{FF2B5EF4-FFF2-40B4-BE49-F238E27FC236}">
                    <a16:creationId xmlns:a16="http://schemas.microsoft.com/office/drawing/2014/main" id="{A502F3DB-B4F2-4196-A977-CA089927CEC1}"/>
                  </a:ext>
                </a:extLst>
              </p:cNvPr>
              <p:cNvSpPr/>
              <p:nvPr/>
            </p:nvSpPr>
            <p:spPr>
              <a:xfrm>
                <a:off x="4545854" y="2825909"/>
                <a:ext cx="55382" cy="84458"/>
              </a:xfrm>
              <a:custGeom>
                <a:avLst/>
                <a:gdLst>
                  <a:gd name="connsiteX0" fmla="*/ 0 w 55382"/>
                  <a:gd name="connsiteY0" fmla="*/ 22955 h 84458"/>
                  <a:gd name="connsiteX1" fmla="*/ 13773 w 55382"/>
                  <a:gd name="connsiteY1" fmla="*/ 13773 h 84458"/>
                  <a:gd name="connsiteX2" fmla="*/ 22590 w 55382"/>
                  <a:gd name="connsiteY2" fmla="*/ 26962 h 84458"/>
                  <a:gd name="connsiteX3" fmla="*/ 22809 w 55382"/>
                  <a:gd name="connsiteY3" fmla="*/ 26817 h 84458"/>
                  <a:gd name="connsiteX4" fmla="*/ 27619 w 55382"/>
                  <a:gd name="connsiteY4" fmla="*/ 2769 h 84458"/>
                  <a:gd name="connsiteX5" fmla="*/ 33448 w 55382"/>
                  <a:gd name="connsiteY5" fmla="*/ 0 h 84458"/>
                  <a:gd name="connsiteX6" fmla="*/ 42339 w 55382"/>
                  <a:gd name="connsiteY6" fmla="*/ 13335 h 84458"/>
                  <a:gd name="connsiteX7" fmla="*/ 35926 w 55382"/>
                  <a:gd name="connsiteY7" fmla="*/ 16542 h 84458"/>
                  <a:gd name="connsiteX8" fmla="*/ 34687 w 55382"/>
                  <a:gd name="connsiteY8" fmla="*/ 44015 h 84458"/>
                  <a:gd name="connsiteX9" fmla="*/ 55383 w 55382"/>
                  <a:gd name="connsiteY9" fmla="*/ 74985 h 84458"/>
                  <a:gd name="connsiteX10" fmla="*/ 41173 w 55382"/>
                  <a:gd name="connsiteY10" fmla="*/ 84458 h 84458"/>
                  <a:gd name="connsiteX11" fmla="*/ 73 w 55382"/>
                  <a:gd name="connsiteY11" fmla="*/ 22882 h 84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82" h="84458">
                    <a:moveTo>
                      <a:pt x="0" y="22955"/>
                    </a:moveTo>
                    <a:lnTo>
                      <a:pt x="13773" y="13773"/>
                    </a:lnTo>
                    <a:lnTo>
                      <a:pt x="22590" y="26962"/>
                    </a:lnTo>
                    <a:lnTo>
                      <a:pt x="22809" y="26817"/>
                    </a:lnTo>
                    <a:cubicBezTo>
                      <a:pt x="18291" y="15594"/>
                      <a:pt x="19894" y="7943"/>
                      <a:pt x="27619" y="2769"/>
                    </a:cubicBezTo>
                    <a:cubicBezTo>
                      <a:pt x="29878" y="1239"/>
                      <a:pt x="32064" y="364"/>
                      <a:pt x="33448" y="0"/>
                    </a:cubicBezTo>
                    <a:lnTo>
                      <a:pt x="42339" y="13335"/>
                    </a:lnTo>
                    <a:cubicBezTo>
                      <a:pt x="40590" y="13919"/>
                      <a:pt x="38112" y="15157"/>
                      <a:pt x="35926" y="16542"/>
                    </a:cubicBezTo>
                    <a:cubicBezTo>
                      <a:pt x="25797" y="23319"/>
                      <a:pt x="27035" y="32574"/>
                      <a:pt x="34687" y="44015"/>
                    </a:cubicBezTo>
                    <a:lnTo>
                      <a:pt x="55383" y="74985"/>
                    </a:lnTo>
                    <a:lnTo>
                      <a:pt x="41173" y="84458"/>
                    </a:lnTo>
                    <a:lnTo>
                      <a:pt x="73" y="22882"/>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37" name="Freeform 90">
                <a:extLst>
                  <a:ext uri="{FF2B5EF4-FFF2-40B4-BE49-F238E27FC236}">
                    <a16:creationId xmlns:a16="http://schemas.microsoft.com/office/drawing/2014/main" id="{3E8D00A8-9448-5CD6-6C52-ABB55FFE60CA}"/>
                  </a:ext>
                </a:extLst>
              </p:cNvPr>
              <p:cNvSpPr/>
              <p:nvPr/>
            </p:nvSpPr>
            <p:spPr>
              <a:xfrm>
                <a:off x="4587172" y="2782258"/>
                <a:ext cx="82223" cy="123444"/>
              </a:xfrm>
              <a:custGeom>
                <a:avLst/>
                <a:gdLst>
                  <a:gd name="connsiteX0" fmla="*/ 59901 w 82223"/>
                  <a:gd name="connsiteY0" fmla="*/ 123299 h 123444"/>
                  <a:gd name="connsiteX1" fmla="*/ 52322 w 82223"/>
                  <a:gd name="connsiteY1" fmla="*/ 111348 h 123444"/>
                  <a:gd name="connsiteX2" fmla="*/ 59463 w 82223"/>
                  <a:gd name="connsiteY2" fmla="*/ 107996 h 123444"/>
                  <a:gd name="connsiteX3" fmla="*/ 65876 w 82223"/>
                  <a:gd name="connsiteY3" fmla="*/ 93859 h 123444"/>
                  <a:gd name="connsiteX4" fmla="*/ 64273 w 82223"/>
                  <a:gd name="connsiteY4" fmla="*/ 86718 h 123444"/>
                  <a:gd name="connsiteX5" fmla="*/ 0 w 82223"/>
                  <a:gd name="connsiteY5" fmla="*/ 38986 h 123444"/>
                  <a:gd name="connsiteX6" fmla="*/ 15522 w 82223"/>
                  <a:gd name="connsiteY6" fmla="*/ 29222 h 123444"/>
                  <a:gd name="connsiteX7" fmla="*/ 47512 w 82223"/>
                  <a:gd name="connsiteY7" fmla="*/ 54435 h 123444"/>
                  <a:gd name="connsiteX8" fmla="*/ 61358 w 82223"/>
                  <a:gd name="connsiteY8" fmla="*/ 66168 h 123444"/>
                  <a:gd name="connsiteX9" fmla="*/ 57059 w 82223"/>
                  <a:gd name="connsiteY9" fmla="*/ 49407 h 123444"/>
                  <a:gd name="connsiteX10" fmla="*/ 46784 w 82223"/>
                  <a:gd name="connsiteY10" fmla="*/ 9473 h 123444"/>
                  <a:gd name="connsiteX11" fmla="*/ 61795 w 82223"/>
                  <a:gd name="connsiteY11" fmla="*/ 0 h 123444"/>
                  <a:gd name="connsiteX12" fmla="*/ 81106 w 82223"/>
                  <a:gd name="connsiteY12" fmla="*/ 89633 h 123444"/>
                  <a:gd name="connsiteX13" fmla="*/ 69301 w 82223"/>
                  <a:gd name="connsiteY13" fmla="*/ 118490 h 123444"/>
                  <a:gd name="connsiteX14" fmla="*/ 59828 w 82223"/>
                  <a:gd name="connsiteY14" fmla="*/ 123445 h 12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223" h="123444">
                    <a:moveTo>
                      <a:pt x="59901" y="123299"/>
                    </a:moveTo>
                    <a:lnTo>
                      <a:pt x="52322" y="111348"/>
                    </a:lnTo>
                    <a:cubicBezTo>
                      <a:pt x="54289" y="110838"/>
                      <a:pt x="56986" y="109599"/>
                      <a:pt x="59463" y="107996"/>
                    </a:cubicBezTo>
                    <a:cubicBezTo>
                      <a:pt x="65876" y="103988"/>
                      <a:pt x="67261" y="99980"/>
                      <a:pt x="65876" y="93859"/>
                    </a:cubicBezTo>
                    <a:lnTo>
                      <a:pt x="64273" y="86718"/>
                    </a:lnTo>
                    <a:lnTo>
                      <a:pt x="0" y="38986"/>
                    </a:lnTo>
                    <a:lnTo>
                      <a:pt x="15522" y="29222"/>
                    </a:lnTo>
                    <a:lnTo>
                      <a:pt x="47512" y="54435"/>
                    </a:lnTo>
                    <a:cubicBezTo>
                      <a:pt x="52030" y="58006"/>
                      <a:pt x="59682" y="64492"/>
                      <a:pt x="61358" y="66168"/>
                    </a:cubicBezTo>
                    <a:cubicBezTo>
                      <a:pt x="60411" y="63617"/>
                      <a:pt x="58516" y="54945"/>
                      <a:pt x="57059" y="49407"/>
                    </a:cubicBezTo>
                    <a:lnTo>
                      <a:pt x="46784" y="9473"/>
                    </a:lnTo>
                    <a:lnTo>
                      <a:pt x="61795" y="0"/>
                    </a:lnTo>
                    <a:lnTo>
                      <a:pt x="81106" y="89633"/>
                    </a:lnTo>
                    <a:cubicBezTo>
                      <a:pt x="84021" y="102895"/>
                      <a:pt x="81616" y="110692"/>
                      <a:pt x="69301" y="118490"/>
                    </a:cubicBezTo>
                    <a:cubicBezTo>
                      <a:pt x="65730" y="120749"/>
                      <a:pt x="62305" y="122425"/>
                      <a:pt x="59828" y="12344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38" name="Freeform 91">
                <a:extLst>
                  <a:ext uri="{FF2B5EF4-FFF2-40B4-BE49-F238E27FC236}">
                    <a16:creationId xmlns:a16="http://schemas.microsoft.com/office/drawing/2014/main" id="{3F6A350A-9B31-E460-5334-41547E4A16DD}"/>
                  </a:ext>
                </a:extLst>
              </p:cNvPr>
              <p:cNvSpPr/>
              <p:nvPr/>
            </p:nvSpPr>
            <p:spPr>
              <a:xfrm>
                <a:off x="4671339" y="2784590"/>
                <a:ext cx="38403" cy="31335"/>
              </a:xfrm>
              <a:custGeom>
                <a:avLst/>
                <a:gdLst>
                  <a:gd name="connsiteX0" fmla="*/ 0 w 38403"/>
                  <a:gd name="connsiteY0" fmla="*/ 18510 h 31335"/>
                  <a:gd name="connsiteX1" fmla="*/ 30679 w 38403"/>
                  <a:gd name="connsiteY1" fmla="*/ 0 h 31335"/>
                  <a:gd name="connsiteX2" fmla="*/ 38403 w 38403"/>
                  <a:gd name="connsiteY2" fmla="*/ 12826 h 31335"/>
                  <a:gd name="connsiteX3" fmla="*/ 7724 w 38403"/>
                  <a:gd name="connsiteY3" fmla="*/ 31335 h 31335"/>
                  <a:gd name="connsiteX4" fmla="*/ 0 w 38403"/>
                  <a:gd name="connsiteY4" fmla="*/ 18510 h 31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03" h="31335">
                    <a:moveTo>
                      <a:pt x="0" y="18510"/>
                    </a:moveTo>
                    <a:lnTo>
                      <a:pt x="30679" y="0"/>
                    </a:lnTo>
                    <a:lnTo>
                      <a:pt x="38403" y="12826"/>
                    </a:lnTo>
                    <a:lnTo>
                      <a:pt x="7724" y="31335"/>
                    </a:lnTo>
                    <a:lnTo>
                      <a:pt x="0" y="1851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39" name="Freeform 92">
                <a:extLst>
                  <a:ext uri="{FF2B5EF4-FFF2-40B4-BE49-F238E27FC236}">
                    <a16:creationId xmlns:a16="http://schemas.microsoft.com/office/drawing/2014/main" id="{E4A8B68A-365A-0EC2-FE94-EB6CBA279C3D}"/>
                  </a:ext>
                </a:extLst>
              </p:cNvPr>
              <p:cNvSpPr/>
              <p:nvPr/>
            </p:nvSpPr>
            <p:spPr>
              <a:xfrm>
                <a:off x="4706417" y="2730693"/>
                <a:ext cx="71401" cy="79860"/>
              </a:xfrm>
              <a:custGeom>
                <a:avLst/>
                <a:gdLst>
                  <a:gd name="connsiteX0" fmla="*/ 21689 w 71401"/>
                  <a:gd name="connsiteY0" fmla="*/ 78455 h 79860"/>
                  <a:gd name="connsiteX1" fmla="*/ 25478 w 71401"/>
                  <a:gd name="connsiteY1" fmla="*/ 64390 h 79860"/>
                  <a:gd name="connsiteX2" fmla="*/ 47048 w 71401"/>
                  <a:gd name="connsiteY2" fmla="*/ 61767 h 79860"/>
                  <a:gd name="connsiteX3" fmla="*/ 54554 w 71401"/>
                  <a:gd name="connsiteY3" fmla="*/ 47921 h 79860"/>
                  <a:gd name="connsiteX4" fmla="*/ 34296 w 71401"/>
                  <a:gd name="connsiteY4" fmla="*/ 46537 h 79860"/>
                  <a:gd name="connsiteX5" fmla="*/ 2961 w 71401"/>
                  <a:gd name="connsiteY5" fmla="*/ 38740 h 79860"/>
                  <a:gd name="connsiteX6" fmla="*/ 16515 w 71401"/>
                  <a:gd name="connsiteY6" fmla="*/ 6020 h 79860"/>
                  <a:gd name="connsiteX7" fmla="*/ 45299 w 71401"/>
                  <a:gd name="connsiteY7" fmla="*/ 1065 h 79860"/>
                  <a:gd name="connsiteX8" fmla="*/ 41583 w 71401"/>
                  <a:gd name="connsiteY8" fmla="*/ 14692 h 79860"/>
                  <a:gd name="connsiteX9" fmla="*/ 23219 w 71401"/>
                  <a:gd name="connsiteY9" fmla="*/ 17170 h 79860"/>
                  <a:gd name="connsiteX10" fmla="*/ 16952 w 71401"/>
                  <a:gd name="connsiteY10" fmla="*/ 29849 h 79860"/>
                  <a:gd name="connsiteX11" fmla="*/ 35753 w 71401"/>
                  <a:gd name="connsiteY11" fmla="*/ 30432 h 79860"/>
                  <a:gd name="connsiteX12" fmla="*/ 68400 w 71401"/>
                  <a:gd name="connsiteY12" fmla="*/ 38594 h 79860"/>
                  <a:gd name="connsiteX13" fmla="*/ 53898 w 71401"/>
                  <a:gd name="connsiteY13" fmla="*/ 73062 h 79860"/>
                  <a:gd name="connsiteX14" fmla="*/ 21689 w 71401"/>
                  <a:gd name="connsiteY14" fmla="*/ 78382 h 7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401" h="79860">
                    <a:moveTo>
                      <a:pt x="21689" y="78455"/>
                    </a:moveTo>
                    <a:lnTo>
                      <a:pt x="25478" y="64390"/>
                    </a:lnTo>
                    <a:cubicBezTo>
                      <a:pt x="33786" y="67087"/>
                      <a:pt x="40344" y="65702"/>
                      <a:pt x="47048" y="61767"/>
                    </a:cubicBezTo>
                    <a:cubicBezTo>
                      <a:pt x="53534" y="58051"/>
                      <a:pt x="57542" y="53241"/>
                      <a:pt x="54554" y="47921"/>
                    </a:cubicBezTo>
                    <a:cubicBezTo>
                      <a:pt x="51202" y="42092"/>
                      <a:pt x="44862" y="43695"/>
                      <a:pt x="34296" y="46537"/>
                    </a:cubicBezTo>
                    <a:cubicBezTo>
                      <a:pt x="22928" y="49670"/>
                      <a:pt x="10175" y="51419"/>
                      <a:pt x="2961" y="38740"/>
                    </a:cubicBezTo>
                    <a:cubicBezTo>
                      <a:pt x="-3889" y="26861"/>
                      <a:pt x="1358" y="14765"/>
                      <a:pt x="16515" y="6020"/>
                    </a:cubicBezTo>
                    <a:cubicBezTo>
                      <a:pt x="26426" y="336"/>
                      <a:pt x="36336" y="-1340"/>
                      <a:pt x="45299" y="1065"/>
                    </a:cubicBezTo>
                    <a:lnTo>
                      <a:pt x="41583" y="14692"/>
                    </a:lnTo>
                    <a:cubicBezTo>
                      <a:pt x="34660" y="12724"/>
                      <a:pt x="28393" y="14182"/>
                      <a:pt x="23219" y="17170"/>
                    </a:cubicBezTo>
                    <a:cubicBezTo>
                      <a:pt x="17098" y="20740"/>
                      <a:pt x="14256" y="25113"/>
                      <a:pt x="16952" y="29849"/>
                    </a:cubicBezTo>
                    <a:cubicBezTo>
                      <a:pt x="19649" y="34586"/>
                      <a:pt x="25770" y="33128"/>
                      <a:pt x="35753" y="30432"/>
                    </a:cubicBezTo>
                    <a:cubicBezTo>
                      <a:pt x="47340" y="27153"/>
                      <a:pt x="60311" y="24457"/>
                      <a:pt x="68400" y="38594"/>
                    </a:cubicBezTo>
                    <a:cubicBezTo>
                      <a:pt x="75541" y="50982"/>
                      <a:pt x="69639" y="63953"/>
                      <a:pt x="53898" y="73062"/>
                    </a:cubicBezTo>
                    <a:cubicBezTo>
                      <a:pt x="42676" y="79475"/>
                      <a:pt x="31818" y="81588"/>
                      <a:pt x="21689" y="78382"/>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40" name="Freeform 93">
                <a:extLst>
                  <a:ext uri="{FF2B5EF4-FFF2-40B4-BE49-F238E27FC236}">
                    <a16:creationId xmlns:a16="http://schemas.microsoft.com/office/drawing/2014/main" id="{E2D9C9D4-E0F4-A126-3654-89590DB71DD0}"/>
                  </a:ext>
                </a:extLst>
              </p:cNvPr>
              <p:cNvSpPr/>
              <p:nvPr/>
            </p:nvSpPr>
            <p:spPr>
              <a:xfrm>
                <a:off x="4763522" y="2690149"/>
                <a:ext cx="89310" cy="115865"/>
              </a:xfrm>
              <a:custGeom>
                <a:avLst/>
                <a:gdLst>
                  <a:gd name="connsiteX0" fmla="*/ 0 w 89310"/>
                  <a:gd name="connsiteY0" fmla="*/ 25286 h 115865"/>
                  <a:gd name="connsiteX1" fmla="*/ 14574 w 89310"/>
                  <a:gd name="connsiteY1" fmla="*/ 17488 h 115865"/>
                  <a:gd name="connsiteX2" fmla="*/ 21789 w 89310"/>
                  <a:gd name="connsiteY2" fmla="*/ 30897 h 115865"/>
                  <a:gd name="connsiteX3" fmla="*/ 21935 w 89310"/>
                  <a:gd name="connsiteY3" fmla="*/ 30897 h 115865"/>
                  <a:gd name="connsiteX4" fmla="*/ 37165 w 89310"/>
                  <a:gd name="connsiteY4" fmla="*/ 3788 h 115865"/>
                  <a:gd name="connsiteX5" fmla="*/ 82928 w 89310"/>
                  <a:gd name="connsiteY5" fmla="*/ 22808 h 115865"/>
                  <a:gd name="connsiteX6" fmla="*/ 73892 w 89310"/>
                  <a:gd name="connsiteY6" fmla="*/ 71122 h 115865"/>
                  <a:gd name="connsiteX7" fmla="*/ 43359 w 89310"/>
                  <a:gd name="connsiteY7" fmla="*/ 69300 h 115865"/>
                  <a:gd name="connsiteX8" fmla="*/ 43067 w 89310"/>
                  <a:gd name="connsiteY8" fmla="*/ 69446 h 115865"/>
                  <a:gd name="connsiteX9" fmla="*/ 63617 w 89310"/>
                  <a:gd name="connsiteY9" fmla="*/ 107777 h 115865"/>
                  <a:gd name="connsiteX10" fmla="*/ 48533 w 89310"/>
                  <a:gd name="connsiteY10" fmla="*/ 115865 h 115865"/>
                  <a:gd name="connsiteX11" fmla="*/ 0 w 89310"/>
                  <a:gd name="connsiteY11" fmla="*/ 25286 h 115865"/>
                  <a:gd name="connsiteX12" fmla="*/ 61285 w 89310"/>
                  <a:gd name="connsiteY12" fmla="*/ 62159 h 115865"/>
                  <a:gd name="connsiteX13" fmla="*/ 67115 w 89310"/>
                  <a:gd name="connsiteY13" fmla="*/ 31261 h 115865"/>
                  <a:gd name="connsiteX14" fmla="*/ 38185 w 89310"/>
                  <a:gd name="connsiteY14" fmla="*/ 19019 h 115865"/>
                  <a:gd name="connsiteX15" fmla="*/ 32428 w 89310"/>
                  <a:gd name="connsiteY15" fmla="*/ 49916 h 115865"/>
                  <a:gd name="connsiteX16" fmla="*/ 61358 w 89310"/>
                  <a:gd name="connsiteY16" fmla="*/ 62232 h 11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9310" h="115865">
                    <a:moveTo>
                      <a:pt x="0" y="25286"/>
                    </a:moveTo>
                    <a:lnTo>
                      <a:pt x="14574" y="17488"/>
                    </a:lnTo>
                    <a:lnTo>
                      <a:pt x="21789" y="30897"/>
                    </a:lnTo>
                    <a:lnTo>
                      <a:pt x="21935" y="30897"/>
                    </a:lnTo>
                    <a:cubicBezTo>
                      <a:pt x="21060" y="21569"/>
                      <a:pt x="23392" y="11149"/>
                      <a:pt x="37165" y="3788"/>
                    </a:cubicBezTo>
                    <a:cubicBezTo>
                      <a:pt x="53707" y="-5102"/>
                      <a:pt x="71706" y="1821"/>
                      <a:pt x="82928" y="22808"/>
                    </a:cubicBezTo>
                    <a:cubicBezTo>
                      <a:pt x="93786" y="43139"/>
                      <a:pt x="90799" y="62086"/>
                      <a:pt x="73892" y="71122"/>
                    </a:cubicBezTo>
                    <a:cubicBezTo>
                      <a:pt x="61285" y="77899"/>
                      <a:pt x="50354" y="75057"/>
                      <a:pt x="43359" y="69300"/>
                    </a:cubicBezTo>
                    <a:lnTo>
                      <a:pt x="43067" y="69446"/>
                    </a:lnTo>
                    <a:lnTo>
                      <a:pt x="63617" y="107777"/>
                    </a:lnTo>
                    <a:lnTo>
                      <a:pt x="48533" y="115865"/>
                    </a:lnTo>
                    <a:lnTo>
                      <a:pt x="0" y="25286"/>
                    </a:lnTo>
                    <a:close/>
                    <a:moveTo>
                      <a:pt x="61285" y="62159"/>
                    </a:moveTo>
                    <a:cubicBezTo>
                      <a:pt x="71415" y="56766"/>
                      <a:pt x="74621" y="45253"/>
                      <a:pt x="67115" y="31261"/>
                    </a:cubicBezTo>
                    <a:cubicBezTo>
                      <a:pt x="59609" y="17197"/>
                      <a:pt x="48314" y="13553"/>
                      <a:pt x="38185" y="19019"/>
                    </a:cubicBezTo>
                    <a:cubicBezTo>
                      <a:pt x="28056" y="24484"/>
                      <a:pt x="24849" y="35779"/>
                      <a:pt x="32428" y="49916"/>
                    </a:cubicBezTo>
                    <a:cubicBezTo>
                      <a:pt x="39934" y="63908"/>
                      <a:pt x="51229" y="67624"/>
                      <a:pt x="61358" y="62232"/>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41" name="Freeform 94">
                <a:extLst>
                  <a:ext uri="{FF2B5EF4-FFF2-40B4-BE49-F238E27FC236}">
                    <a16:creationId xmlns:a16="http://schemas.microsoft.com/office/drawing/2014/main" id="{6349BD96-0050-C225-D313-097C6CB802B9}"/>
                  </a:ext>
                </a:extLst>
              </p:cNvPr>
              <p:cNvSpPr/>
              <p:nvPr/>
            </p:nvSpPr>
            <p:spPr>
              <a:xfrm>
                <a:off x="4852284" y="2652284"/>
                <a:ext cx="77968" cy="77495"/>
              </a:xfrm>
              <a:custGeom>
                <a:avLst/>
                <a:gdLst>
                  <a:gd name="connsiteX0" fmla="*/ 4951 w 77968"/>
                  <a:gd name="connsiteY0" fmla="*/ 55062 h 77495"/>
                  <a:gd name="connsiteX1" fmla="*/ 21201 w 77968"/>
                  <a:gd name="connsiteY1" fmla="*/ 4197 h 77495"/>
                  <a:gd name="connsiteX2" fmla="*/ 67329 w 77968"/>
                  <a:gd name="connsiteY2" fmla="*/ 21687 h 77495"/>
                  <a:gd name="connsiteX3" fmla="*/ 69953 w 77968"/>
                  <a:gd name="connsiteY3" fmla="*/ 27589 h 77495"/>
                  <a:gd name="connsiteX4" fmla="*/ 23023 w 77968"/>
                  <a:gd name="connsiteY4" fmla="*/ 50835 h 77495"/>
                  <a:gd name="connsiteX5" fmla="*/ 51371 w 77968"/>
                  <a:gd name="connsiteY5" fmla="*/ 59944 h 77495"/>
                  <a:gd name="connsiteX6" fmla="*/ 64633 w 77968"/>
                  <a:gd name="connsiteY6" fmla="*/ 44204 h 77495"/>
                  <a:gd name="connsiteX7" fmla="*/ 77969 w 77968"/>
                  <a:gd name="connsiteY7" fmla="*/ 48722 h 77495"/>
                  <a:gd name="connsiteX8" fmla="*/ 56617 w 77968"/>
                  <a:gd name="connsiteY8" fmla="*/ 72333 h 77495"/>
                  <a:gd name="connsiteX9" fmla="*/ 5024 w 77968"/>
                  <a:gd name="connsiteY9" fmla="*/ 55135 h 77495"/>
                  <a:gd name="connsiteX10" fmla="*/ 50205 w 77968"/>
                  <a:gd name="connsiteY10" fmla="*/ 25476 h 77495"/>
                  <a:gd name="connsiteX11" fmla="*/ 26740 w 77968"/>
                  <a:gd name="connsiteY11" fmla="*/ 16148 h 77495"/>
                  <a:gd name="connsiteX12" fmla="*/ 18578 w 77968"/>
                  <a:gd name="connsiteY12" fmla="*/ 41143 h 77495"/>
                  <a:gd name="connsiteX13" fmla="*/ 50205 w 77968"/>
                  <a:gd name="connsiteY13" fmla="*/ 25476 h 7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968" h="77495">
                    <a:moveTo>
                      <a:pt x="4951" y="55062"/>
                    </a:moveTo>
                    <a:cubicBezTo>
                      <a:pt x="-6490" y="31961"/>
                      <a:pt x="3129" y="13088"/>
                      <a:pt x="21201" y="4197"/>
                    </a:cubicBezTo>
                    <a:cubicBezTo>
                      <a:pt x="43355" y="-6806"/>
                      <a:pt x="59314" y="5509"/>
                      <a:pt x="67329" y="21687"/>
                    </a:cubicBezTo>
                    <a:cubicBezTo>
                      <a:pt x="68277" y="23654"/>
                      <a:pt x="69151" y="25694"/>
                      <a:pt x="69953" y="27589"/>
                    </a:cubicBezTo>
                    <a:lnTo>
                      <a:pt x="23023" y="50835"/>
                    </a:lnTo>
                    <a:cubicBezTo>
                      <a:pt x="30383" y="62932"/>
                      <a:pt x="39857" y="65628"/>
                      <a:pt x="51371" y="59944"/>
                    </a:cubicBezTo>
                    <a:cubicBezTo>
                      <a:pt x="58803" y="56228"/>
                      <a:pt x="62739" y="51637"/>
                      <a:pt x="64633" y="44204"/>
                    </a:cubicBezTo>
                    <a:lnTo>
                      <a:pt x="77969" y="48722"/>
                    </a:lnTo>
                    <a:cubicBezTo>
                      <a:pt x="75200" y="58778"/>
                      <a:pt x="69443" y="65993"/>
                      <a:pt x="56617" y="72333"/>
                    </a:cubicBezTo>
                    <a:cubicBezTo>
                      <a:pt x="35339" y="82899"/>
                      <a:pt x="15955" y="77288"/>
                      <a:pt x="5024" y="55135"/>
                    </a:cubicBezTo>
                    <a:close/>
                    <a:moveTo>
                      <a:pt x="50205" y="25476"/>
                    </a:moveTo>
                    <a:cubicBezTo>
                      <a:pt x="43573" y="14181"/>
                      <a:pt x="35339" y="11849"/>
                      <a:pt x="26740" y="16148"/>
                    </a:cubicBezTo>
                    <a:cubicBezTo>
                      <a:pt x="18287" y="20375"/>
                      <a:pt x="14351" y="28682"/>
                      <a:pt x="18578" y="41143"/>
                    </a:cubicBezTo>
                    <a:lnTo>
                      <a:pt x="50205" y="25476"/>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42" name="Freeform 95">
                <a:extLst>
                  <a:ext uri="{FF2B5EF4-FFF2-40B4-BE49-F238E27FC236}">
                    <a16:creationId xmlns:a16="http://schemas.microsoft.com/office/drawing/2014/main" id="{53AC352C-1434-873A-8686-B56148B64223}"/>
                  </a:ext>
                </a:extLst>
              </p:cNvPr>
              <p:cNvSpPr/>
              <p:nvPr/>
            </p:nvSpPr>
            <p:spPr>
              <a:xfrm>
                <a:off x="4926277" y="2616559"/>
                <a:ext cx="75536" cy="77786"/>
              </a:xfrm>
              <a:custGeom>
                <a:avLst/>
                <a:gdLst>
                  <a:gd name="connsiteX0" fmla="*/ 4486 w 75536"/>
                  <a:gd name="connsiteY0" fmla="*/ 54569 h 77786"/>
                  <a:gd name="connsiteX1" fmla="*/ 22194 w 75536"/>
                  <a:gd name="connsiteY1" fmla="*/ 4069 h 77786"/>
                  <a:gd name="connsiteX2" fmla="*/ 54695 w 75536"/>
                  <a:gd name="connsiteY2" fmla="*/ 3924 h 77786"/>
                  <a:gd name="connsiteX3" fmla="*/ 48792 w 75536"/>
                  <a:gd name="connsiteY3" fmla="*/ 17259 h 77786"/>
                  <a:gd name="connsiteX4" fmla="*/ 28680 w 75536"/>
                  <a:gd name="connsiteY4" fmla="*/ 16312 h 77786"/>
                  <a:gd name="connsiteX5" fmla="*/ 20736 w 75536"/>
                  <a:gd name="connsiteY5" fmla="*/ 46991 h 77786"/>
                  <a:gd name="connsiteX6" fmla="*/ 49229 w 75536"/>
                  <a:gd name="connsiteY6" fmla="*/ 60764 h 77786"/>
                  <a:gd name="connsiteX7" fmla="*/ 61545 w 75536"/>
                  <a:gd name="connsiteY7" fmla="*/ 44805 h 77786"/>
                  <a:gd name="connsiteX8" fmla="*/ 75536 w 75536"/>
                  <a:gd name="connsiteY8" fmla="*/ 49031 h 77786"/>
                  <a:gd name="connsiteX9" fmla="*/ 54330 w 75536"/>
                  <a:gd name="connsiteY9" fmla="*/ 73662 h 77786"/>
                  <a:gd name="connsiteX10" fmla="*/ 4413 w 75536"/>
                  <a:gd name="connsiteY10" fmla="*/ 54497 h 7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536" h="77786">
                    <a:moveTo>
                      <a:pt x="4486" y="54569"/>
                    </a:moveTo>
                    <a:cubicBezTo>
                      <a:pt x="-5862" y="32198"/>
                      <a:pt x="2373" y="13251"/>
                      <a:pt x="22194" y="4069"/>
                    </a:cubicBezTo>
                    <a:cubicBezTo>
                      <a:pt x="34874" y="-1833"/>
                      <a:pt x="46023" y="-813"/>
                      <a:pt x="54695" y="3924"/>
                    </a:cubicBezTo>
                    <a:lnTo>
                      <a:pt x="48792" y="17259"/>
                    </a:lnTo>
                    <a:cubicBezTo>
                      <a:pt x="42452" y="13615"/>
                      <a:pt x="35894" y="13033"/>
                      <a:pt x="28680" y="16312"/>
                    </a:cubicBezTo>
                    <a:cubicBezTo>
                      <a:pt x="17822" y="21340"/>
                      <a:pt x="13887" y="32125"/>
                      <a:pt x="20736" y="46991"/>
                    </a:cubicBezTo>
                    <a:cubicBezTo>
                      <a:pt x="27586" y="61857"/>
                      <a:pt x="38371" y="65792"/>
                      <a:pt x="49229" y="60764"/>
                    </a:cubicBezTo>
                    <a:cubicBezTo>
                      <a:pt x="56371" y="57484"/>
                      <a:pt x="60087" y="52019"/>
                      <a:pt x="61545" y="44805"/>
                    </a:cubicBezTo>
                    <a:lnTo>
                      <a:pt x="75536" y="49031"/>
                    </a:lnTo>
                    <a:cubicBezTo>
                      <a:pt x="73568" y="58723"/>
                      <a:pt x="67083" y="67759"/>
                      <a:pt x="54330" y="73662"/>
                    </a:cubicBezTo>
                    <a:cubicBezTo>
                      <a:pt x="34509" y="82844"/>
                      <a:pt x="14761" y="76795"/>
                      <a:pt x="4413" y="54497"/>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43" name="Freeform 96">
                <a:extLst>
                  <a:ext uri="{FF2B5EF4-FFF2-40B4-BE49-F238E27FC236}">
                    <a16:creationId xmlns:a16="http://schemas.microsoft.com/office/drawing/2014/main" id="{3D66F9FA-FF38-6921-29A8-D3DBB025EC17}"/>
                  </a:ext>
                </a:extLst>
              </p:cNvPr>
              <p:cNvSpPr/>
              <p:nvPr/>
            </p:nvSpPr>
            <p:spPr>
              <a:xfrm>
                <a:off x="4977683" y="2571609"/>
                <a:ext cx="56047" cy="100321"/>
              </a:xfrm>
              <a:custGeom>
                <a:avLst/>
                <a:gdLst>
                  <a:gd name="connsiteX0" fmla="*/ 6203 w 56047"/>
                  <a:gd name="connsiteY0" fmla="*/ 997 h 100321"/>
                  <a:gd name="connsiteX1" fmla="*/ 19685 w 56047"/>
                  <a:gd name="connsiteY1" fmla="*/ 6098 h 100321"/>
                  <a:gd name="connsiteX2" fmla="*/ 14292 w 56047"/>
                  <a:gd name="connsiteY2" fmla="*/ 19360 h 100321"/>
                  <a:gd name="connsiteX3" fmla="*/ 957 w 56047"/>
                  <a:gd name="connsiteY3" fmla="*/ 14260 h 100321"/>
                  <a:gd name="connsiteX4" fmla="*/ 6276 w 56047"/>
                  <a:gd name="connsiteY4" fmla="*/ 924 h 100321"/>
                  <a:gd name="connsiteX5" fmla="*/ 10721 w 56047"/>
                  <a:gd name="connsiteY5" fmla="*/ 32550 h 100321"/>
                  <a:gd name="connsiteX6" fmla="*/ 26389 w 56047"/>
                  <a:gd name="connsiteY6" fmla="*/ 25701 h 100321"/>
                  <a:gd name="connsiteX7" fmla="*/ 56048 w 56047"/>
                  <a:gd name="connsiteY7" fmla="*/ 93471 h 100321"/>
                  <a:gd name="connsiteX8" fmla="*/ 40380 w 56047"/>
                  <a:gd name="connsiteY8" fmla="*/ 100321 h 100321"/>
                  <a:gd name="connsiteX9" fmla="*/ 10721 w 56047"/>
                  <a:gd name="connsiteY9" fmla="*/ 32550 h 10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047" h="100321">
                    <a:moveTo>
                      <a:pt x="6203" y="997"/>
                    </a:moveTo>
                    <a:cubicBezTo>
                      <a:pt x="11669" y="-1408"/>
                      <a:pt x="17280" y="633"/>
                      <a:pt x="19685" y="6098"/>
                    </a:cubicBezTo>
                    <a:cubicBezTo>
                      <a:pt x="22089" y="11563"/>
                      <a:pt x="19685" y="17029"/>
                      <a:pt x="14292" y="19360"/>
                    </a:cubicBezTo>
                    <a:cubicBezTo>
                      <a:pt x="8900" y="21692"/>
                      <a:pt x="3288" y="19725"/>
                      <a:pt x="957" y="14260"/>
                    </a:cubicBezTo>
                    <a:cubicBezTo>
                      <a:pt x="-1448" y="8794"/>
                      <a:pt x="811" y="3329"/>
                      <a:pt x="6276" y="924"/>
                    </a:cubicBezTo>
                    <a:close/>
                    <a:moveTo>
                      <a:pt x="10721" y="32550"/>
                    </a:moveTo>
                    <a:lnTo>
                      <a:pt x="26389" y="25701"/>
                    </a:lnTo>
                    <a:lnTo>
                      <a:pt x="56048" y="93471"/>
                    </a:lnTo>
                    <a:lnTo>
                      <a:pt x="40380" y="100321"/>
                    </a:lnTo>
                    <a:lnTo>
                      <a:pt x="10721" y="3255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44" name="Freeform 97">
                <a:extLst>
                  <a:ext uri="{FF2B5EF4-FFF2-40B4-BE49-F238E27FC236}">
                    <a16:creationId xmlns:a16="http://schemas.microsoft.com/office/drawing/2014/main" id="{D43A2BC2-2B87-D6D3-24E9-415B3C53794B}"/>
                  </a:ext>
                </a:extLst>
              </p:cNvPr>
              <p:cNvSpPr/>
              <p:nvPr/>
            </p:nvSpPr>
            <p:spPr>
              <a:xfrm>
                <a:off x="5017043" y="2538787"/>
                <a:ext cx="93203" cy="117403"/>
              </a:xfrm>
              <a:custGeom>
                <a:avLst/>
                <a:gdLst>
                  <a:gd name="connsiteX0" fmla="*/ 19748 w 93203"/>
                  <a:gd name="connsiteY0" fmla="*/ 14144 h 117403"/>
                  <a:gd name="connsiteX1" fmla="*/ 28930 w 93203"/>
                  <a:gd name="connsiteY1" fmla="*/ 11447 h 117403"/>
                  <a:gd name="connsiteX2" fmla="*/ 34104 w 93203"/>
                  <a:gd name="connsiteY2" fmla="*/ 23909 h 117403"/>
                  <a:gd name="connsiteX3" fmla="*/ 27108 w 93203"/>
                  <a:gd name="connsiteY3" fmla="*/ 25585 h 117403"/>
                  <a:gd name="connsiteX4" fmla="*/ 22299 w 93203"/>
                  <a:gd name="connsiteY4" fmla="*/ 37317 h 117403"/>
                  <a:gd name="connsiteX5" fmla="*/ 24485 w 93203"/>
                  <a:gd name="connsiteY5" fmla="*/ 42637 h 117403"/>
                  <a:gd name="connsiteX6" fmla="*/ 39278 w 93203"/>
                  <a:gd name="connsiteY6" fmla="*/ 36515 h 117403"/>
                  <a:gd name="connsiteX7" fmla="*/ 44306 w 93203"/>
                  <a:gd name="connsiteY7" fmla="*/ 48758 h 117403"/>
                  <a:gd name="connsiteX8" fmla="*/ 29513 w 93203"/>
                  <a:gd name="connsiteY8" fmla="*/ 54806 h 117403"/>
                  <a:gd name="connsiteX9" fmla="*/ 52614 w 93203"/>
                  <a:gd name="connsiteY9" fmla="*/ 110918 h 117403"/>
                  <a:gd name="connsiteX10" fmla="*/ 36800 w 93203"/>
                  <a:gd name="connsiteY10" fmla="*/ 117403 h 117403"/>
                  <a:gd name="connsiteX11" fmla="*/ 13700 w 93203"/>
                  <a:gd name="connsiteY11" fmla="*/ 61292 h 117403"/>
                  <a:gd name="connsiteX12" fmla="*/ 5028 w 93203"/>
                  <a:gd name="connsiteY12" fmla="*/ 64863 h 117403"/>
                  <a:gd name="connsiteX13" fmla="*/ 0 w 93203"/>
                  <a:gd name="connsiteY13" fmla="*/ 52620 h 117403"/>
                  <a:gd name="connsiteX14" fmla="*/ 8672 w 93203"/>
                  <a:gd name="connsiteY14" fmla="*/ 49049 h 117403"/>
                  <a:gd name="connsiteX15" fmla="*/ 5976 w 93203"/>
                  <a:gd name="connsiteY15" fmla="*/ 42491 h 117403"/>
                  <a:gd name="connsiteX16" fmla="*/ 19748 w 93203"/>
                  <a:gd name="connsiteY16" fmla="*/ 13998 h 117403"/>
                  <a:gd name="connsiteX17" fmla="*/ 45472 w 93203"/>
                  <a:gd name="connsiteY17" fmla="*/ 881 h 117403"/>
                  <a:gd name="connsiteX18" fmla="*/ 58808 w 93203"/>
                  <a:gd name="connsiteY18" fmla="*/ 6274 h 117403"/>
                  <a:gd name="connsiteX19" fmla="*/ 53124 w 93203"/>
                  <a:gd name="connsiteY19" fmla="*/ 19390 h 117403"/>
                  <a:gd name="connsiteX20" fmla="*/ 39861 w 93203"/>
                  <a:gd name="connsiteY20" fmla="*/ 13998 h 117403"/>
                  <a:gd name="connsiteX21" fmla="*/ 45472 w 93203"/>
                  <a:gd name="connsiteY21" fmla="*/ 808 h 117403"/>
                  <a:gd name="connsiteX22" fmla="*/ 49261 w 93203"/>
                  <a:gd name="connsiteY22" fmla="*/ 32508 h 117403"/>
                  <a:gd name="connsiteX23" fmla="*/ 65075 w 93203"/>
                  <a:gd name="connsiteY23" fmla="*/ 26022 h 117403"/>
                  <a:gd name="connsiteX24" fmla="*/ 93203 w 93203"/>
                  <a:gd name="connsiteY24" fmla="*/ 94376 h 117403"/>
                  <a:gd name="connsiteX25" fmla="*/ 77390 w 93203"/>
                  <a:gd name="connsiteY25" fmla="*/ 100861 h 117403"/>
                  <a:gd name="connsiteX26" fmla="*/ 49261 w 93203"/>
                  <a:gd name="connsiteY26" fmla="*/ 32508 h 11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3203" h="117403">
                    <a:moveTo>
                      <a:pt x="19748" y="14144"/>
                    </a:moveTo>
                    <a:cubicBezTo>
                      <a:pt x="23319" y="12686"/>
                      <a:pt x="26744" y="11739"/>
                      <a:pt x="28930" y="11447"/>
                    </a:cubicBezTo>
                    <a:lnTo>
                      <a:pt x="34104" y="23909"/>
                    </a:lnTo>
                    <a:cubicBezTo>
                      <a:pt x="32282" y="23981"/>
                      <a:pt x="29659" y="24565"/>
                      <a:pt x="27108" y="25585"/>
                    </a:cubicBezTo>
                    <a:cubicBezTo>
                      <a:pt x="20258" y="28427"/>
                      <a:pt x="20113" y="32070"/>
                      <a:pt x="22299" y="37317"/>
                    </a:cubicBezTo>
                    <a:lnTo>
                      <a:pt x="24485" y="42637"/>
                    </a:lnTo>
                    <a:lnTo>
                      <a:pt x="39278" y="36515"/>
                    </a:lnTo>
                    <a:lnTo>
                      <a:pt x="44306" y="48758"/>
                    </a:lnTo>
                    <a:lnTo>
                      <a:pt x="29513" y="54806"/>
                    </a:lnTo>
                    <a:lnTo>
                      <a:pt x="52614" y="110918"/>
                    </a:lnTo>
                    <a:lnTo>
                      <a:pt x="36800" y="117403"/>
                    </a:lnTo>
                    <a:lnTo>
                      <a:pt x="13700" y="61292"/>
                    </a:lnTo>
                    <a:lnTo>
                      <a:pt x="5028" y="64863"/>
                    </a:lnTo>
                    <a:lnTo>
                      <a:pt x="0" y="52620"/>
                    </a:lnTo>
                    <a:lnTo>
                      <a:pt x="8672" y="49049"/>
                    </a:lnTo>
                    <a:lnTo>
                      <a:pt x="5976" y="42491"/>
                    </a:lnTo>
                    <a:cubicBezTo>
                      <a:pt x="1312" y="31050"/>
                      <a:pt x="3498" y="20702"/>
                      <a:pt x="19748" y="13998"/>
                    </a:cubicBezTo>
                    <a:close/>
                    <a:moveTo>
                      <a:pt x="45472" y="881"/>
                    </a:moveTo>
                    <a:cubicBezTo>
                      <a:pt x="50937" y="-1378"/>
                      <a:pt x="56549" y="808"/>
                      <a:pt x="58808" y="6274"/>
                    </a:cubicBezTo>
                    <a:cubicBezTo>
                      <a:pt x="61067" y="11739"/>
                      <a:pt x="58589" y="17204"/>
                      <a:pt x="53124" y="19390"/>
                    </a:cubicBezTo>
                    <a:cubicBezTo>
                      <a:pt x="47658" y="21650"/>
                      <a:pt x="42120" y="19536"/>
                      <a:pt x="39861" y="13998"/>
                    </a:cubicBezTo>
                    <a:cubicBezTo>
                      <a:pt x="37602" y="8533"/>
                      <a:pt x="40007" y="3067"/>
                      <a:pt x="45472" y="808"/>
                    </a:cubicBezTo>
                    <a:close/>
                    <a:moveTo>
                      <a:pt x="49261" y="32508"/>
                    </a:moveTo>
                    <a:lnTo>
                      <a:pt x="65075" y="26022"/>
                    </a:lnTo>
                    <a:lnTo>
                      <a:pt x="93203" y="94376"/>
                    </a:lnTo>
                    <a:lnTo>
                      <a:pt x="77390" y="100861"/>
                    </a:lnTo>
                    <a:lnTo>
                      <a:pt x="49261" y="32508"/>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45" name="Freeform 98">
                <a:extLst>
                  <a:ext uri="{FF2B5EF4-FFF2-40B4-BE49-F238E27FC236}">
                    <a16:creationId xmlns:a16="http://schemas.microsoft.com/office/drawing/2014/main" id="{1BCCE5FB-993C-F626-D847-B23A24C1B8C9}"/>
                  </a:ext>
                </a:extLst>
              </p:cNvPr>
              <p:cNvSpPr/>
              <p:nvPr/>
            </p:nvSpPr>
            <p:spPr>
              <a:xfrm>
                <a:off x="5108210" y="2540824"/>
                <a:ext cx="74544" cy="77721"/>
              </a:xfrm>
              <a:custGeom>
                <a:avLst/>
                <a:gdLst>
                  <a:gd name="connsiteX0" fmla="*/ 3203 w 74544"/>
                  <a:gd name="connsiteY0" fmla="*/ 52041 h 77721"/>
                  <a:gd name="connsiteX1" fmla="*/ 24481 w 74544"/>
                  <a:gd name="connsiteY1" fmla="*/ 2925 h 77721"/>
                  <a:gd name="connsiteX2" fmla="*/ 56909 w 74544"/>
                  <a:gd name="connsiteY2" fmla="*/ 5111 h 77721"/>
                  <a:gd name="connsiteX3" fmla="*/ 50060 w 74544"/>
                  <a:gd name="connsiteY3" fmla="*/ 18010 h 77721"/>
                  <a:gd name="connsiteX4" fmla="*/ 30093 w 74544"/>
                  <a:gd name="connsiteY4" fmla="*/ 15678 h 77721"/>
                  <a:gd name="connsiteX5" fmla="*/ 19963 w 74544"/>
                  <a:gd name="connsiteY5" fmla="*/ 45701 h 77721"/>
                  <a:gd name="connsiteX6" fmla="*/ 47436 w 74544"/>
                  <a:gd name="connsiteY6" fmla="*/ 61514 h 77721"/>
                  <a:gd name="connsiteX7" fmla="*/ 60845 w 74544"/>
                  <a:gd name="connsiteY7" fmla="*/ 46502 h 77721"/>
                  <a:gd name="connsiteX8" fmla="*/ 74545 w 74544"/>
                  <a:gd name="connsiteY8" fmla="*/ 51749 h 77721"/>
                  <a:gd name="connsiteX9" fmla="*/ 51663 w 74544"/>
                  <a:gd name="connsiteY9" fmla="*/ 74777 h 77721"/>
                  <a:gd name="connsiteX10" fmla="*/ 3276 w 74544"/>
                  <a:gd name="connsiteY10" fmla="*/ 52041 h 7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544" h="77721">
                    <a:moveTo>
                      <a:pt x="3203" y="52041"/>
                    </a:moveTo>
                    <a:cubicBezTo>
                      <a:pt x="-5469" y="29013"/>
                      <a:pt x="4077" y="10650"/>
                      <a:pt x="24481" y="2925"/>
                    </a:cubicBezTo>
                    <a:cubicBezTo>
                      <a:pt x="37599" y="-2030"/>
                      <a:pt x="48602" y="-281"/>
                      <a:pt x="56909" y="5111"/>
                    </a:cubicBezTo>
                    <a:lnTo>
                      <a:pt x="50060" y="18010"/>
                    </a:lnTo>
                    <a:cubicBezTo>
                      <a:pt x="43938" y="13929"/>
                      <a:pt x="37453" y="12836"/>
                      <a:pt x="30093" y="15678"/>
                    </a:cubicBezTo>
                    <a:cubicBezTo>
                      <a:pt x="18870" y="19904"/>
                      <a:pt x="14134" y="30398"/>
                      <a:pt x="19963" y="45701"/>
                    </a:cubicBezTo>
                    <a:cubicBezTo>
                      <a:pt x="25793" y="61004"/>
                      <a:pt x="36214" y="65741"/>
                      <a:pt x="47436" y="61514"/>
                    </a:cubicBezTo>
                    <a:cubicBezTo>
                      <a:pt x="54796" y="58745"/>
                      <a:pt x="58877" y="53571"/>
                      <a:pt x="60845" y="46502"/>
                    </a:cubicBezTo>
                    <a:lnTo>
                      <a:pt x="74545" y="51749"/>
                    </a:lnTo>
                    <a:cubicBezTo>
                      <a:pt x="71848" y="61296"/>
                      <a:pt x="64780" y="69821"/>
                      <a:pt x="51663" y="74777"/>
                    </a:cubicBezTo>
                    <a:cubicBezTo>
                      <a:pt x="31258" y="82501"/>
                      <a:pt x="11947" y="75068"/>
                      <a:pt x="3276" y="5204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46" name="Freeform 99">
                <a:extLst>
                  <a:ext uri="{FF2B5EF4-FFF2-40B4-BE49-F238E27FC236}">
                    <a16:creationId xmlns:a16="http://schemas.microsoft.com/office/drawing/2014/main" id="{603EC999-F734-4566-90BC-F2B48B74EF71}"/>
                  </a:ext>
                </a:extLst>
              </p:cNvPr>
              <p:cNvSpPr/>
              <p:nvPr/>
            </p:nvSpPr>
            <p:spPr>
              <a:xfrm>
                <a:off x="5189556" y="2578108"/>
                <a:ext cx="25959" cy="45363"/>
              </a:xfrm>
              <a:custGeom>
                <a:avLst/>
                <a:gdLst>
                  <a:gd name="connsiteX0" fmla="*/ 16663 w 25959"/>
                  <a:gd name="connsiteY0" fmla="*/ 18619 h 45363"/>
                  <a:gd name="connsiteX1" fmla="*/ 13457 w 25959"/>
                  <a:gd name="connsiteY1" fmla="*/ 20368 h 45363"/>
                  <a:gd name="connsiteX2" fmla="*/ 704 w 25959"/>
                  <a:gd name="connsiteY2" fmla="*/ 14174 h 45363"/>
                  <a:gd name="connsiteX3" fmla="*/ 7044 w 25959"/>
                  <a:gd name="connsiteY3" fmla="*/ 693 h 45363"/>
                  <a:gd name="connsiteX4" fmla="*/ 23804 w 25959"/>
                  <a:gd name="connsiteY4" fmla="*/ 12935 h 45363"/>
                  <a:gd name="connsiteX5" fmla="*/ 18995 w 25959"/>
                  <a:gd name="connsiteY5" fmla="*/ 45363 h 45363"/>
                  <a:gd name="connsiteX6" fmla="*/ 11198 w 25959"/>
                  <a:gd name="connsiteY6" fmla="*/ 41428 h 45363"/>
                  <a:gd name="connsiteX7" fmla="*/ 16590 w 25959"/>
                  <a:gd name="connsiteY7" fmla="*/ 18546 h 45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59" h="45363">
                    <a:moveTo>
                      <a:pt x="16663" y="18619"/>
                    </a:moveTo>
                    <a:cubicBezTo>
                      <a:pt x="15789" y="19275"/>
                      <a:pt x="14768" y="19931"/>
                      <a:pt x="13457" y="20368"/>
                    </a:cubicBezTo>
                    <a:cubicBezTo>
                      <a:pt x="8137" y="22263"/>
                      <a:pt x="2745" y="19931"/>
                      <a:pt x="704" y="14174"/>
                    </a:cubicBezTo>
                    <a:cubicBezTo>
                      <a:pt x="-1336" y="8417"/>
                      <a:pt x="1141" y="2806"/>
                      <a:pt x="7044" y="693"/>
                    </a:cubicBezTo>
                    <a:cubicBezTo>
                      <a:pt x="13311" y="-1566"/>
                      <a:pt x="19724" y="1494"/>
                      <a:pt x="23804" y="12935"/>
                    </a:cubicBezTo>
                    <a:cubicBezTo>
                      <a:pt x="27448" y="23210"/>
                      <a:pt x="26865" y="33631"/>
                      <a:pt x="18995" y="45363"/>
                    </a:cubicBezTo>
                    <a:lnTo>
                      <a:pt x="11198" y="41428"/>
                    </a:lnTo>
                    <a:cubicBezTo>
                      <a:pt x="17756" y="32027"/>
                      <a:pt x="18485" y="24376"/>
                      <a:pt x="16590" y="18546"/>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47" name="Freeform 100">
                <a:extLst>
                  <a:ext uri="{FF2B5EF4-FFF2-40B4-BE49-F238E27FC236}">
                    <a16:creationId xmlns:a16="http://schemas.microsoft.com/office/drawing/2014/main" id="{67C765C1-668B-C51F-AD2B-95BC5191A936}"/>
                  </a:ext>
                </a:extLst>
              </p:cNvPr>
              <p:cNvSpPr/>
              <p:nvPr/>
            </p:nvSpPr>
            <p:spPr>
              <a:xfrm>
                <a:off x="5237262" y="2492809"/>
                <a:ext cx="83656" cy="85626"/>
              </a:xfrm>
              <a:custGeom>
                <a:avLst/>
                <a:gdLst>
                  <a:gd name="connsiteX0" fmla="*/ 146 w 83656"/>
                  <a:gd name="connsiteY0" fmla="*/ 15232 h 85626"/>
                  <a:gd name="connsiteX1" fmla="*/ 15886 w 83656"/>
                  <a:gd name="connsiteY1" fmla="*/ 10204 h 85626"/>
                  <a:gd name="connsiteX2" fmla="*/ 20623 w 83656"/>
                  <a:gd name="connsiteY2" fmla="*/ 24997 h 85626"/>
                  <a:gd name="connsiteX3" fmla="*/ 20914 w 83656"/>
                  <a:gd name="connsiteY3" fmla="*/ 24997 h 85626"/>
                  <a:gd name="connsiteX4" fmla="*/ 38841 w 83656"/>
                  <a:gd name="connsiteY4" fmla="*/ 1386 h 85626"/>
                  <a:gd name="connsiteX5" fmla="*/ 68791 w 83656"/>
                  <a:gd name="connsiteY5" fmla="*/ 19677 h 85626"/>
                  <a:gd name="connsiteX6" fmla="*/ 83657 w 83656"/>
                  <a:gd name="connsiteY6" fmla="*/ 66170 h 85626"/>
                  <a:gd name="connsiteX7" fmla="*/ 67334 w 83656"/>
                  <a:gd name="connsiteY7" fmla="*/ 71343 h 85626"/>
                  <a:gd name="connsiteX8" fmla="*/ 53707 w 83656"/>
                  <a:gd name="connsiteY8" fmla="*/ 28786 h 85626"/>
                  <a:gd name="connsiteX9" fmla="*/ 36072 w 83656"/>
                  <a:gd name="connsiteY9" fmla="*/ 17637 h 85626"/>
                  <a:gd name="connsiteX10" fmla="*/ 26234 w 83656"/>
                  <a:gd name="connsiteY10" fmla="*/ 40956 h 85626"/>
                  <a:gd name="connsiteX11" fmla="*/ 38841 w 83656"/>
                  <a:gd name="connsiteY11" fmla="*/ 80452 h 85626"/>
                  <a:gd name="connsiteX12" fmla="*/ 22518 w 83656"/>
                  <a:gd name="connsiteY12" fmla="*/ 85627 h 85626"/>
                  <a:gd name="connsiteX13" fmla="*/ 0 w 83656"/>
                  <a:gd name="connsiteY13" fmla="*/ 15159 h 8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656" h="85626">
                    <a:moveTo>
                      <a:pt x="146" y="15232"/>
                    </a:moveTo>
                    <a:lnTo>
                      <a:pt x="15886" y="10204"/>
                    </a:lnTo>
                    <a:lnTo>
                      <a:pt x="20623" y="24997"/>
                    </a:lnTo>
                    <a:lnTo>
                      <a:pt x="20914" y="24997"/>
                    </a:lnTo>
                    <a:cubicBezTo>
                      <a:pt x="21570" y="15815"/>
                      <a:pt x="25432" y="5686"/>
                      <a:pt x="38841" y="1386"/>
                    </a:cubicBezTo>
                    <a:cubicBezTo>
                      <a:pt x="53998" y="-3423"/>
                      <a:pt x="64054" y="4666"/>
                      <a:pt x="68791" y="19677"/>
                    </a:cubicBezTo>
                    <a:lnTo>
                      <a:pt x="83657" y="66170"/>
                    </a:lnTo>
                    <a:lnTo>
                      <a:pt x="67334" y="71343"/>
                    </a:lnTo>
                    <a:lnTo>
                      <a:pt x="53707" y="28786"/>
                    </a:lnTo>
                    <a:cubicBezTo>
                      <a:pt x="50646" y="19313"/>
                      <a:pt x="45545" y="14649"/>
                      <a:pt x="36072" y="17637"/>
                    </a:cubicBezTo>
                    <a:cubicBezTo>
                      <a:pt x="26380" y="20770"/>
                      <a:pt x="22445" y="29078"/>
                      <a:pt x="26234" y="40956"/>
                    </a:cubicBezTo>
                    <a:lnTo>
                      <a:pt x="38841" y="80452"/>
                    </a:lnTo>
                    <a:lnTo>
                      <a:pt x="22518" y="85627"/>
                    </a:lnTo>
                    <a:lnTo>
                      <a:pt x="0" y="15159"/>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48" name="Freeform 101">
                <a:extLst>
                  <a:ext uri="{FF2B5EF4-FFF2-40B4-BE49-F238E27FC236}">
                    <a16:creationId xmlns:a16="http://schemas.microsoft.com/office/drawing/2014/main" id="{76B4405B-D21F-11D6-D722-D794B1EA839D}"/>
                  </a:ext>
                </a:extLst>
              </p:cNvPr>
              <p:cNvSpPr/>
              <p:nvPr/>
            </p:nvSpPr>
            <p:spPr>
              <a:xfrm>
                <a:off x="5322888" y="2470307"/>
                <a:ext cx="74910" cy="77165"/>
              </a:xfrm>
              <a:custGeom>
                <a:avLst/>
                <a:gdLst>
                  <a:gd name="connsiteX0" fmla="*/ 1966 w 74910"/>
                  <a:gd name="connsiteY0" fmla="*/ 48811 h 77165"/>
                  <a:gd name="connsiteX1" fmla="*/ 27107 w 74910"/>
                  <a:gd name="connsiteY1" fmla="*/ 1663 h 77165"/>
                  <a:gd name="connsiteX2" fmla="*/ 69300 w 74910"/>
                  <a:gd name="connsiteY2" fmla="*/ 27168 h 77165"/>
                  <a:gd name="connsiteX3" fmla="*/ 70830 w 74910"/>
                  <a:gd name="connsiteY3" fmla="*/ 33508 h 77165"/>
                  <a:gd name="connsiteX4" fmla="*/ 20475 w 74910"/>
                  <a:gd name="connsiteY4" fmla="*/ 47864 h 77165"/>
                  <a:gd name="connsiteX5" fmla="*/ 46709 w 74910"/>
                  <a:gd name="connsiteY5" fmla="*/ 62001 h 77165"/>
                  <a:gd name="connsiteX6" fmla="*/ 62596 w 74910"/>
                  <a:gd name="connsiteY6" fmla="*/ 48884 h 77165"/>
                  <a:gd name="connsiteX7" fmla="*/ 74911 w 74910"/>
                  <a:gd name="connsiteY7" fmla="*/ 55734 h 77165"/>
                  <a:gd name="connsiteX8" fmla="*/ 49624 w 74910"/>
                  <a:gd name="connsiteY8" fmla="*/ 75118 h 77165"/>
                  <a:gd name="connsiteX9" fmla="*/ 1966 w 74910"/>
                  <a:gd name="connsiteY9" fmla="*/ 48811 h 77165"/>
                  <a:gd name="connsiteX10" fmla="*/ 51737 w 74910"/>
                  <a:gd name="connsiteY10" fmla="*/ 27970 h 77165"/>
                  <a:gd name="connsiteX11" fmla="*/ 30313 w 74910"/>
                  <a:gd name="connsiteY11" fmla="*/ 14562 h 77165"/>
                  <a:gd name="connsiteX12" fmla="*/ 17779 w 74910"/>
                  <a:gd name="connsiteY12" fmla="*/ 37662 h 77165"/>
                  <a:gd name="connsiteX13" fmla="*/ 51737 w 74910"/>
                  <a:gd name="connsiteY13" fmla="*/ 27970 h 77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910" h="77165">
                    <a:moveTo>
                      <a:pt x="1966" y="48811"/>
                    </a:moveTo>
                    <a:cubicBezTo>
                      <a:pt x="-5103" y="24035"/>
                      <a:pt x="7723" y="7202"/>
                      <a:pt x="27107" y="1663"/>
                    </a:cubicBezTo>
                    <a:cubicBezTo>
                      <a:pt x="50936" y="-5114"/>
                      <a:pt x="64344" y="9898"/>
                      <a:pt x="69300" y="27168"/>
                    </a:cubicBezTo>
                    <a:cubicBezTo>
                      <a:pt x="69883" y="29282"/>
                      <a:pt x="70392" y="31468"/>
                      <a:pt x="70830" y="33508"/>
                    </a:cubicBezTo>
                    <a:lnTo>
                      <a:pt x="20475" y="47864"/>
                    </a:lnTo>
                    <a:cubicBezTo>
                      <a:pt x="25504" y="61054"/>
                      <a:pt x="34394" y="65499"/>
                      <a:pt x="46709" y="62001"/>
                    </a:cubicBezTo>
                    <a:cubicBezTo>
                      <a:pt x="54725" y="59742"/>
                      <a:pt x="59389" y="55880"/>
                      <a:pt x="62596" y="48884"/>
                    </a:cubicBezTo>
                    <a:lnTo>
                      <a:pt x="74911" y="55734"/>
                    </a:lnTo>
                    <a:cubicBezTo>
                      <a:pt x="70392" y="65135"/>
                      <a:pt x="63324" y="71183"/>
                      <a:pt x="49624" y="75118"/>
                    </a:cubicBezTo>
                    <a:cubicBezTo>
                      <a:pt x="26815" y="81604"/>
                      <a:pt x="8743" y="72640"/>
                      <a:pt x="1966" y="48811"/>
                    </a:cubicBezTo>
                    <a:close/>
                    <a:moveTo>
                      <a:pt x="51737" y="27970"/>
                    </a:moveTo>
                    <a:cubicBezTo>
                      <a:pt x="47219" y="15655"/>
                      <a:pt x="39568" y="11865"/>
                      <a:pt x="30313" y="14562"/>
                    </a:cubicBezTo>
                    <a:cubicBezTo>
                      <a:pt x="21204" y="17185"/>
                      <a:pt x="15812" y="24691"/>
                      <a:pt x="17779" y="37662"/>
                    </a:cubicBezTo>
                    <a:lnTo>
                      <a:pt x="51737" y="2797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49" name="Freeform 102">
                <a:extLst>
                  <a:ext uri="{FF2B5EF4-FFF2-40B4-BE49-F238E27FC236}">
                    <a16:creationId xmlns:a16="http://schemas.microsoft.com/office/drawing/2014/main" id="{093D4A67-5129-0145-D90B-BDC82047AB91}"/>
                  </a:ext>
                </a:extLst>
              </p:cNvPr>
              <p:cNvSpPr/>
              <p:nvPr/>
            </p:nvSpPr>
            <p:spPr>
              <a:xfrm>
                <a:off x="5391751" y="2436554"/>
                <a:ext cx="59755" cy="91655"/>
              </a:xfrm>
              <a:custGeom>
                <a:avLst/>
                <a:gdLst>
                  <a:gd name="connsiteX0" fmla="*/ 23100 w 59755"/>
                  <a:gd name="connsiteY0" fmla="*/ 76588 h 91655"/>
                  <a:gd name="connsiteX1" fmla="*/ 12461 w 59755"/>
                  <a:gd name="connsiteY1" fmla="*/ 35707 h 91655"/>
                  <a:gd name="connsiteX2" fmla="*/ 1967 w 59755"/>
                  <a:gd name="connsiteY2" fmla="*/ 38403 h 91655"/>
                  <a:gd name="connsiteX3" fmla="*/ 0 w 59755"/>
                  <a:gd name="connsiteY3" fmla="*/ 30825 h 91655"/>
                  <a:gd name="connsiteX4" fmla="*/ 17708 w 59755"/>
                  <a:gd name="connsiteY4" fmla="*/ 801 h 91655"/>
                  <a:gd name="connsiteX5" fmla="*/ 20841 w 59755"/>
                  <a:gd name="connsiteY5" fmla="*/ 0 h 91655"/>
                  <a:gd name="connsiteX6" fmla="*/ 25651 w 59755"/>
                  <a:gd name="connsiteY6" fmla="*/ 18582 h 91655"/>
                  <a:gd name="connsiteX7" fmla="*/ 41172 w 59755"/>
                  <a:gd name="connsiteY7" fmla="*/ 14574 h 91655"/>
                  <a:gd name="connsiteX8" fmla="*/ 44525 w 59755"/>
                  <a:gd name="connsiteY8" fmla="*/ 27400 h 91655"/>
                  <a:gd name="connsiteX9" fmla="*/ 29003 w 59755"/>
                  <a:gd name="connsiteY9" fmla="*/ 31408 h 91655"/>
                  <a:gd name="connsiteX10" fmla="*/ 38768 w 59755"/>
                  <a:gd name="connsiteY10" fmla="*/ 69082 h 91655"/>
                  <a:gd name="connsiteX11" fmla="*/ 48460 w 59755"/>
                  <a:gd name="connsiteY11" fmla="*/ 75058 h 91655"/>
                  <a:gd name="connsiteX12" fmla="*/ 56038 w 59755"/>
                  <a:gd name="connsiteY12" fmla="*/ 71924 h 91655"/>
                  <a:gd name="connsiteX13" fmla="*/ 59755 w 59755"/>
                  <a:gd name="connsiteY13" fmla="*/ 86134 h 91655"/>
                  <a:gd name="connsiteX14" fmla="*/ 48751 w 59755"/>
                  <a:gd name="connsiteY14" fmla="*/ 90288 h 91655"/>
                  <a:gd name="connsiteX15" fmla="*/ 23100 w 59755"/>
                  <a:gd name="connsiteY15" fmla="*/ 76661 h 91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755" h="91655">
                    <a:moveTo>
                      <a:pt x="23100" y="76588"/>
                    </a:moveTo>
                    <a:lnTo>
                      <a:pt x="12461" y="35707"/>
                    </a:lnTo>
                    <a:lnTo>
                      <a:pt x="1967" y="38403"/>
                    </a:lnTo>
                    <a:lnTo>
                      <a:pt x="0" y="30825"/>
                    </a:lnTo>
                    <a:lnTo>
                      <a:pt x="17708" y="801"/>
                    </a:lnTo>
                    <a:lnTo>
                      <a:pt x="20841" y="0"/>
                    </a:lnTo>
                    <a:lnTo>
                      <a:pt x="25651" y="18582"/>
                    </a:lnTo>
                    <a:lnTo>
                      <a:pt x="41172" y="14574"/>
                    </a:lnTo>
                    <a:lnTo>
                      <a:pt x="44525" y="27400"/>
                    </a:lnTo>
                    <a:lnTo>
                      <a:pt x="29003" y="31408"/>
                    </a:lnTo>
                    <a:lnTo>
                      <a:pt x="38768" y="69082"/>
                    </a:lnTo>
                    <a:cubicBezTo>
                      <a:pt x="40371" y="75349"/>
                      <a:pt x="42849" y="76515"/>
                      <a:pt x="48460" y="75058"/>
                    </a:cubicBezTo>
                    <a:cubicBezTo>
                      <a:pt x="51302" y="74329"/>
                      <a:pt x="53852" y="73163"/>
                      <a:pt x="56038" y="71924"/>
                    </a:cubicBezTo>
                    <a:lnTo>
                      <a:pt x="59755" y="86134"/>
                    </a:lnTo>
                    <a:cubicBezTo>
                      <a:pt x="57058" y="87592"/>
                      <a:pt x="52905" y="89195"/>
                      <a:pt x="48751" y="90288"/>
                    </a:cubicBezTo>
                    <a:cubicBezTo>
                      <a:pt x="34395" y="94005"/>
                      <a:pt x="26671" y="90361"/>
                      <a:pt x="23100" y="7666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50" name="Freeform 103">
                <a:extLst>
                  <a:ext uri="{FF2B5EF4-FFF2-40B4-BE49-F238E27FC236}">
                    <a16:creationId xmlns:a16="http://schemas.microsoft.com/office/drawing/2014/main" id="{AA906F85-D379-01A4-7E13-77C412E8664D}"/>
                  </a:ext>
                </a:extLst>
              </p:cNvPr>
              <p:cNvSpPr/>
              <p:nvPr/>
            </p:nvSpPr>
            <p:spPr>
              <a:xfrm>
                <a:off x="5442178" y="2424603"/>
                <a:ext cx="103624" cy="91381"/>
              </a:xfrm>
              <a:custGeom>
                <a:avLst/>
                <a:gdLst>
                  <a:gd name="connsiteX0" fmla="*/ 73 w 103624"/>
                  <a:gd name="connsiteY0" fmla="*/ 23683 h 91381"/>
                  <a:gd name="connsiteX1" fmla="*/ 16688 w 103624"/>
                  <a:gd name="connsiteY1" fmla="*/ 19894 h 91381"/>
                  <a:gd name="connsiteX2" fmla="*/ 36436 w 103624"/>
                  <a:gd name="connsiteY2" fmla="*/ 60411 h 91381"/>
                  <a:gd name="connsiteX3" fmla="*/ 42557 w 103624"/>
                  <a:gd name="connsiteY3" fmla="*/ 74256 h 91381"/>
                  <a:gd name="connsiteX4" fmla="*/ 42193 w 103624"/>
                  <a:gd name="connsiteY4" fmla="*/ 59391 h 91381"/>
                  <a:gd name="connsiteX5" fmla="*/ 42922 w 103624"/>
                  <a:gd name="connsiteY5" fmla="*/ 13919 h 91381"/>
                  <a:gd name="connsiteX6" fmla="*/ 61358 w 103624"/>
                  <a:gd name="connsiteY6" fmla="*/ 9692 h 91381"/>
                  <a:gd name="connsiteX7" fmla="*/ 81471 w 103624"/>
                  <a:gd name="connsiteY7" fmla="*/ 50427 h 91381"/>
                  <a:gd name="connsiteX8" fmla="*/ 87519 w 103624"/>
                  <a:gd name="connsiteY8" fmla="*/ 64054 h 91381"/>
                  <a:gd name="connsiteX9" fmla="*/ 87228 w 103624"/>
                  <a:gd name="connsiteY9" fmla="*/ 49116 h 91381"/>
                  <a:gd name="connsiteX10" fmla="*/ 87811 w 103624"/>
                  <a:gd name="connsiteY10" fmla="*/ 3644 h 91381"/>
                  <a:gd name="connsiteX11" fmla="*/ 103624 w 103624"/>
                  <a:gd name="connsiteY11" fmla="*/ 0 h 91381"/>
                  <a:gd name="connsiteX12" fmla="*/ 100709 w 103624"/>
                  <a:gd name="connsiteY12" fmla="*/ 76588 h 91381"/>
                  <a:gd name="connsiteX13" fmla="*/ 81252 w 103624"/>
                  <a:gd name="connsiteY13" fmla="*/ 81033 h 91381"/>
                  <a:gd name="connsiteX14" fmla="*/ 62087 w 103624"/>
                  <a:gd name="connsiteY14" fmla="*/ 41683 h 91381"/>
                  <a:gd name="connsiteX15" fmla="*/ 55382 w 103624"/>
                  <a:gd name="connsiteY15" fmla="*/ 27254 h 91381"/>
                  <a:gd name="connsiteX16" fmla="*/ 55674 w 103624"/>
                  <a:gd name="connsiteY16" fmla="*/ 43140 h 91381"/>
                  <a:gd name="connsiteX17" fmla="*/ 55237 w 103624"/>
                  <a:gd name="connsiteY17" fmla="*/ 86936 h 91381"/>
                  <a:gd name="connsiteX18" fmla="*/ 35780 w 103624"/>
                  <a:gd name="connsiteY18" fmla="*/ 91381 h 91381"/>
                  <a:gd name="connsiteX19" fmla="*/ 0 w 103624"/>
                  <a:gd name="connsiteY19" fmla="*/ 23683 h 9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3624" h="91381">
                    <a:moveTo>
                      <a:pt x="73" y="23683"/>
                    </a:moveTo>
                    <a:lnTo>
                      <a:pt x="16688" y="19894"/>
                    </a:lnTo>
                    <a:lnTo>
                      <a:pt x="36436" y="60411"/>
                    </a:lnTo>
                    <a:cubicBezTo>
                      <a:pt x="38695" y="65220"/>
                      <a:pt x="41464" y="71342"/>
                      <a:pt x="42557" y="74256"/>
                    </a:cubicBezTo>
                    <a:cubicBezTo>
                      <a:pt x="42339" y="71123"/>
                      <a:pt x="42266" y="64492"/>
                      <a:pt x="42193" y="59391"/>
                    </a:cubicBezTo>
                    <a:lnTo>
                      <a:pt x="42922" y="13919"/>
                    </a:lnTo>
                    <a:lnTo>
                      <a:pt x="61358" y="9692"/>
                    </a:lnTo>
                    <a:lnTo>
                      <a:pt x="81471" y="50427"/>
                    </a:lnTo>
                    <a:cubicBezTo>
                      <a:pt x="83730" y="55018"/>
                      <a:pt x="86426" y="61285"/>
                      <a:pt x="87519" y="64054"/>
                    </a:cubicBezTo>
                    <a:cubicBezTo>
                      <a:pt x="87300" y="61140"/>
                      <a:pt x="87155" y="55310"/>
                      <a:pt x="87228" y="49116"/>
                    </a:cubicBezTo>
                    <a:lnTo>
                      <a:pt x="87811" y="3644"/>
                    </a:lnTo>
                    <a:lnTo>
                      <a:pt x="103624" y="0"/>
                    </a:lnTo>
                    <a:lnTo>
                      <a:pt x="100709" y="76588"/>
                    </a:lnTo>
                    <a:lnTo>
                      <a:pt x="81252" y="81033"/>
                    </a:lnTo>
                    <a:lnTo>
                      <a:pt x="62087" y="41683"/>
                    </a:lnTo>
                    <a:cubicBezTo>
                      <a:pt x="59609" y="36582"/>
                      <a:pt x="56257" y="29513"/>
                      <a:pt x="55382" y="27254"/>
                    </a:cubicBezTo>
                    <a:cubicBezTo>
                      <a:pt x="55674" y="29659"/>
                      <a:pt x="55747" y="37456"/>
                      <a:pt x="55674" y="43140"/>
                    </a:cubicBezTo>
                    <a:lnTo>
                      <a:pt x="55237" y="86936"/>
                    </a:lnTo>
                    <a:lnTo>
                      <a:pt x="35780" y="91381"/>
                    </a:lnTo>
                    <a:lnTo>
                      <a:pt x="0" y="23683"/>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51" name="Freeform 104">
                <a:extLst>
                  <a:ext uri="{FF2B5EF4-FFF2-40B4-BE49-F238E27FC236}">
                    <a16:creationId xmlns:a16="http://schemas.microsoft.com/office/drawing/2014/main" id="{20D9383B-E90F-C41A-FECE-244B992B0A79}"/>
                  </a:ext>
                </a:extLst>
              </p:cNvPr>
              <p:cNvSpPr/>
              <p:nvPr/>
            </p:nvSpPr>
            <p:spPr>
              <a:xfrm>
                <a:off x="5558825" y="2414090"/>
                <a:ext cx="75732" cy="76996"/>
              </a:xfrm>
              <a:custGeom>
                <a:avLst/>
                <a:gdLst>
                  <a:gd name="connsiteX0" fmla="*/ 895 w 75732"/>
                  <a:gd name="connsiteY0" fmla="*/ 45638 h 76996"/>
                  <a:gd name="connsiteX1" fmla="*/ 30627 w 75732"/>
                  <a:gd name="connsiteY1" fmla="*/ 822 h 76996"/>
                  <a:gd name="connsiteX2" fmla="*/ 74860 w 75732"/>
                  <a:gd name="connsiteY2" fmla="*/ 31428 h 76996"/>
                  <a:gd name="connsiteX3" fmla="*/ 45128 w 75732"/>
                  <a:gd name="connsiteY3" fmla="*/ 76171 h 76996"/>
                  <a:gd name="connsiteX4" fmla="*/ 895 w 75732"/>
                  <a:gd name="connsiteY4" fmla="*/ 45638 h 76996"/>
                  <a:gd name="connsiteX5" fmla="*/ 42505 w 75732"/>
                  <a:gd name="connsiteY5" fmla="*/ 62544 h 76996"/>
                  <a:gd name="connsiteX6" fmla="*/ 57298 w 75732"/>
                  <a:gd name="connsiteY6" fmla="*/ 34780 h 76996"/>
                  <a:gd name="connsiteX7" fmla="*/ 33250 w 75732"/>
                  <a:gd name="connsiteY7" fmla="*/ 14449 h 76996"/>
                  <a:gd name="connsiteX8" fmla="*/ 18530 w 75732"/>
                  <a:gd name="connsiteY8" fmla="*/ 42213 h 76996"/>
                  <a:gd name="connsiteX9" fmla="*/ 42505 w 75732"/>
                  <a:gd name="connsiteY9" fmla="*/ 62544 h 76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732" h="76996">
                    <a:moveTo>
                      <a:pt x="895" y="45638"/>
                    </a:moveTo>
                    <a:cubicBezTo>
                      <a:pt x="-3550" y="22756"/>
                      <a:pt x="8910" y="4975"/>
                      <a:pt x="30627" y="822"/>
                    </a:cubicBezTo>
                    <a:cubicBezTo>
                      <a:pt x="52342" y="-3332"/>
                      <a:pt x="70487" y="8473"/>
                      <a:pt x="74860" y="31428"/>
                    </a:cubicBezTo>
                    <a:cubicBezTo>
                      <a:pt x="79232" y="54382"/>
                      <a:pt x="66844" y="72018"/>
                      <a:pt x="45128" y="76171"/>
                    </a:cubicBezTo>
                    <a:cubicBezTo>
                      <a:pt x="23412" y="80325"/>
                      <a:pt x="5340" y="68593"/>
                      <a:pt x="895" y="45638"/>
                    </a:cubicBezTo>
                    <a:close/>
                    <a:moveTo>
                      <a:pt x="42505" y="62544"/>
                    </a:moveTo>
                    <a:cubicBezTo>
                      <a:pt x="53800" y="60358"/>
                      <a:pt x="60286" y="50375"/>
                      <a:pt x="57298" y="34780"/>
                    </a:cubicBezTo>
                    <a:cubicBezTo>
                      <a:pt x="54310" y="19112"/>
                      <a:pt x="44545" y="12335"/>
                      <a:pt x="33250" y="14449"/>
                    </a:cubicBezTo>
                    <a:cubicBezTo>
                      <a:pt x="21955" y="16635"/>
                      <a:pt x="15469" y="26546"/>
                      <a:pt x="18530" y="42213"/>
                    </a:cubicBezTo>
                    <a:cubicBezTo>
                      <a:pt x="21518" y="57807"/>
                      <a:pt x="31282" y="64657"/>
                      <a:pt x="42505" y="62544"/>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52" name="Freeform 105">
                <a:extLst>
                  <a:ext uri="{FF2B5EF4-FFF2-40B4-BE49-F238E27FC236}">
                    <a16:creationId xmlns:a16="http://schemas.microsoft.com/office/drawing/2014/main" id="{62C53A28-BB00-0158-1A66-C177D0CBD742}"/>
                  </a:ext>
                </a:extLst>
              </p:cNvPr>
              <p:cNvSpPr/>
              <p:nvPr/>
            </p:nvSpPr>
            <p:spPr>
              <a:xfrm>
                <a:off x="5643741" y="2398924"/>
                <a:ext cx="42557" cy="80332"/>
              </a:xfrm>
              <a:custGeom>
                <a:avLst/>
                <a:gdLst>
                  <a:gd name="connsiteX0" fmla="*/ 73 w 42557"/>
                  <a:gd name="connsiteY0" fmla="*/ 7315 h 80332"/>
                  <a:gd name="connsiteX1" fmla="*/ 16396 w 42557"/>
                  <a:gd name="connsiteY1" fmla="*/ 4619 h 80332"/>
                  <a:gd name="connsiteX2" fmla="*/ 19020 w 42557"/>
                  <a:gd name="connsiteY2" fmla="*/ 20287 h 80332"/>
                  <a:gd name="connsiteX3" fmla="*/ 19311 w 42557"/>
                  <a:gd name="connsiteY3" fmla="*/ 20287 h 80332"/>
                  <a:gd name="connsiteX4" fmla="*/ 33521 w 42557"/>
                  <a:gd name="connsiteY4" fmla="*/ 320 h 80332"/>
                  <a:gd name="connsiteX5" fmla="*/ 39934 w 42557"/>
                  <a:gd name="connsiteY5" fmla="*/ 174 h 80332"/>
                  <a:gd name="connsiteX6" fmla="*/ 42557 w 42557"/>
                  <a:gd name="connsiteY6" fmla="*/ 15987 h 80332"/>
                  <a:gd name="connsiteX7" fmla="*/ 35416 w 42557"/>
                  <a:gd name="connsiteY7" fmla="*/ 16278 h 80332"/>
                  <a:gd name="connsiteX8" fmla="*/ 22955 w 42557"/>
                  <a:gd name="connsiteY8" fmla="*/ 40764 h 80332"/>
                  <a:gd name="connsiteX9" fmla="*/ 29076 w 42557"/>
                  <a:gd name="connsiteY9" fmla="*/ 77491 h 80332"/>
                  <a:gd name="connsiteX10" fmla="*/ 12170 w 42557"/>
                  <a:gd name="connsiteY10" fmla="*/ 80333 h 80332"/>
                  <a:gd name="connsiteX11" fmla="*/ 0 w 42557"/>
                  <a:gd name="connsiteY11" fmla="*/ 7315 h 8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557" h="80332">
                    <a:moveTo>
                      <a:pt x="73" y="7315"/>
                    </a:moveTo>
                    <a:lnTo>
                      <a:pt x="16396" y="4619"/>
                    </a:lnTo>
                    <a:lnTo>
                      <a:pt x="19020" y="20287"/>
                    </a:lnTo>
                    <a:lnTo>
                      <a:pt x="19311" y="20287"/>
                    </a:lnTo>
                    <a:cubicBezTo>
                      <a:pt x="19821" y="8190"/>
                      <a:pt x="24412" y="1850"/>
                      <a:pt x="33521" y="320"/>
                    </a:cubicBezTo>
                    <a:cubicBezTo>
                      <a:pt x="36218" y="-118"/>
                      <a:pt x="38550" y="-45"/>
                      <a:pt x="39934" y="174"/>
                    </a:cubicBezTo>
                    <a:lnTo>
                      <a:pt x="42557" y="15987"/>
                    </a:lnTo>
                    <a:cubicBezTo>
                      <a:pt x="40663" y="15841"/>
                      <a:pt x="37966" y="15841"/>
                      <a:pt x="35416" y="16278"/>
                    </a:cubicBezTo>
                    <a:cubicBezTo>
                      <a:pt x="23392" y="18319"/>
                      <a:pt x="20696" y="27209"/>
                      <a:pt x="22955" y="40764"/>
                    </a:cubicBezTo>
                    <a:lnTo>
                      <a:pt x="29076" y="77491"/>
                    </a:lnTo>
                    <a:lnTo>
                      <a:pt x="12170" y="80333"/>
                    </a:lnTo>
                    <a:lnTo>
                      <a:pt x="0" y="731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53" name="Freeform 106">
                <a:extLst>
                  <a:ext uri="{FF2B5EF4-FFF2-40B4-BE49-F238E27FC236}">
                    <a16:creationId xmlns:a16="http://schemas.microsoft.com/office/drawing/2014/main" id="{852CF1F9-9BB6-DAED-2837-310DF10E2BC7}"/>
                  </a:ext>
                </a:extLst>
              </p:cNvPr>
              <p:cNvSpPr/>
              <p:nvPr/>
            </p:nvSpPr>
            <p:spPr>
              <a:xfrm>
                <a:off x="5695408" y="2368273"/>
                <a:ext cx="79794" cy="102093"/>
              </a:xfrm>
              <a:custGeom>
                <a:avLst/>
                <a:gdLst>
                  <a:gd name="connsiteX0" fmla="*/ 0 w 79794"/>
                  <a:gd name="connsiteY0" fmla="*/ 2405 h 102093"/>
                  <a:gd name="connsiteX1" fmla="*/ 16906 w 79794"/>
                  <a:gd name="connsiteY1" fmla="*/ 0 h 102093"/>
                  <a:gd name="connsiteX2" fmla="*/ 25141 w 79794"/>
                  <a:gd name="connsiteY2" fmla="*/ 58516 h 102093"/>
                  <a:gd name="connsiteX3" fmla="*/ 47804 w 79794"/>
                  <a:gd name="connsiteY3" fmla="*/ 22736 h 102093"/>
                  <a:gd name="connsiteX4" fmla="*/ 67844 w 79794"/>
                  <a:gd name="connsiteY4" fmla="*/ 19894 h 102093"/>
                  <a:gd name="connsiteX5" fmla="*/ 44452 w 79794"/>
                  <a:gd name="connsiteY5" fmla="*/ 54581 h 102093"/>
                  <a:gd name="connsiteX6" fmla="*/ 79795 w 79794"/>
                  <a:gd name="connsiteY6" fmla="*/ 92839 h 102093"/>
                  <a:gd name="connsiteX7" fmla="*/ 59901 w 79794"/>
                  <a:gd name="connsiteY7" fmla="*/ 95608 h 102093"/>
                  <a:gd name="connsiteX8" fmla="*/ 34031 w 79794"/>
                  <a:gd name="connsiteY8" fmla="*/ 66459 h 102093"/>
                  <a:gd name="connsiteX9" fmla="*/ 27546 w 79794"/>
                  <a:gd name="connsiteY9" fmla="*/ 75204 h 102093"/>
                  <a:gd name="connsiteX10" fmla="*/ 30971 w 79794"/>
                  <a:gd name="connsiteY10" fmla="*/ 99689 h 102093"/>
                  <a:gd name="connsiteX11" fmla="*/ 14064 w 79794"/>
                  <a:gd name="connsiteY11" fmla="*/ 102094 h 102093"/>
                  <a:gd name="connsiteX12" fmla="*/ 0 w 79794"/>
                  <a:gd name="connsiteY12" fmla="*/ 2259 h 10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94" h="102093">
                    <a:moveTo>
                      <a:pt x="0" y="2405"/>
                    </a:moveTo>
                    <a:lnTo>
                      <a:pt x="16906" y="0"/>
                    </a:lnTo>
                    <a:lnTo>
                      <a:pt x="25141" y="58516"/>
                    </a:lnTo>
                    <a:lnTo>
                      <a:pt x="47804" y="22736"/>
                    </a:lnTo>
                    <a:lnTo>
                      <a:pt x="67844" y="19894"/>
                    </a:lnTo>
                    <a:lnTo>
                      <a:pt x="44452" y="54581"/>
                    </a:lnTo>
                    <a:lnTo>
                      <a:pt x="79795" y="92839"/>
                    </a:lnTo>
                    <a:lnTo>
                      <a:pt x="59901" y="95608"/>
                    </a:lnTo>
                    <a:lnTo>
                      <a:pt x="34031" y="66459"/>
                    </a:lnTo>
                    <a:lnTo>
                      <a:pt x="27546" y="75204"/>
                    </a:lnTo>
                    <a:lnTo>
                      <a:pt x="30971" y="99689"/>
                    </a:lnTo>
                    <a:lnTo>
                      <a:pt x="14064" y="102094"/>
                    </a:lnTo>
                    <a:lnTo>
                      <a:pt x="0" y="2259"/>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54" name="Freeform 107">
                <a:extLst>
                  <a:ext uri="{FF2B5EF4-FFF2-40B4-BE49-F238E27FC236}">
                    <a16:creationId xmlns:a16="http://schemas.microsoft.com/office/drawing/2014/main" id="{5210F4E3-CA0B-C412-9073-D4684F2D65D3}"/>
                  </a:ext>
                </a:extLst>
              </p:cNvPr>
              <p:cNvSpPr/>
              <p:nvPr/>
            </p:nvSpPr>
            <p:spPr>
              <a:xfrm>
                <a:off x="5773609" y="2381370"/>
                <a:ext cx="71112" cy="76840"/>
              </a:xfrm>
              <a:custGeom>
                <a:avLst/>
                <a:gdLst>
                  <a:gd name="connsiteX0" fmla="*/ 354 w 71112"/>
                  <a:gd name="connsiteY0" fmla="*/ 42650 h 76840"/>
                  <a:gd name="connsiteX1" fmla="*/ 32855 w 71112"/>
                  <a:gd name="connsiteY1" fmla="*/ 312 h 76840"/>
                  <a:gd name="connsiteX2" fmla="*/ 70238 w 71112"/>
                  <a:gd name="connsiteY2" fmla="*/ 32375 h 76840"/>
                  <a:gd name="connsiteX3" fmla="*/ 70675 w 71112"/>
                  <a:gd name="connsiteY3" fmla="*/ 38861 h 76840"/>
                  <a:gd name="connsiteX4" fmla="*/ 18718 w 71112"/>
                  <a:gd name="connsiteY4" fmla="*/ 44836 h 76840"/>
                  <a:gd name="connsiteX5" fmla="*/ 42328 w 71112"/>
                  <a:gd name="connsiteY5" fmla="*/ 63054 h 76840"/>
                  <a:gd name="connsiteX6" fmla="*/ 60109 w 71112"/>
                  <a:gd name="connsiteY6" fmla="*/ 52707 h 76840"/>
                  <a:gd name="connsiteX7" fmla="*/ 71113 w 71112"/>
                  <a:gd name="connsiteY7" fmla="*/ 61451 h 76840"/>
                  <a:gd name="connsiteX8" fmla="*/ 43057 w 71112"/>
                  <a:gd name="connsiteY8" fmla="*/ 76463 h 76840"/>
                  <a:gd name="connsiteX9" fmla="*/ 354 w 71112"/>
                  <a:gd name="connsiteY9" fmla="*/ 42796 h 76840"/>
                  <a:gd name="connsiteX10" fmla="*/ 52895 w 71112"/>
                  <a:gd name="connsiteY10" fmla="*/ 30189 h 76840"/>
                  <a:gd name="connsiteX11" fmla="*/ 33948 w 71112"/>
                  <a:gd name="connsiteY11" fmla="*/ 13429 h 76840"/>
                  <a:gd name="connsiteX12" fmla="*/ 17843 w 71112"/>
                  <a:gd name="connsiteY12" fmla="*/ 34197 h 76840"/>
                  <a:gd name="connsiteX13" fmla="*/ 52895 w 71112"/>
                  <a:gd name="connsiteY13" fmla="*/ 30189 h 7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112" h="76840">
                    <a:moveTo>
                      <a:pt x="354" y="42650"/>
                    </a:moveTo>
                    <a:cubicBezTo>
                      <a:pt x="-2561" y="17072"/>
                      <a:pt x="12888" y="2571"/>
                      <a:pt x="32855" y="312"/>
                    </a:cubicBezTo>
                    <a:cubicBezTo>
                      <a:pt x="57413" y="-2530"/>
                      <a:pt x="68198" y="14522"/>
                      <a:pt x="70238" y="32375"/>
                    </a:cubicBezTo>
                    <a:cubicBezTo>
                      <a:pt x="70457" y="34489"/>
                      <a:pt x="70602" y="36748"/>
                      <a:pt x="70675" y="38861"/>
                    </a:cubicBezTo>
                    <a:lnTo>
                      <a:pt x="18718" y="44836"/>
                    </a:lnTo>
                    <a:cubicBezTo>
                      <a:pt x="21487" y="58682"/>
                      <a:pt x="29503" y="64512"/>
                      <a:pt x="42328" y="63054"/>
                    </a:cubicBezTo>
                    <a:cubicBezTo>
                      <a:pt x="50563" y="62107"/>
                      <a:pt x="55810" y="59047"/>
                      <a:pt x="60109" y="52707"/>
                    </a:cubicBezTo>
                    <a:lnTo>
                      <a:pt x="71113" y="61451"/>
                    </a:lnTo>
                    <a:cubicBezTo>
                      <a:pt x="65137" y="69977"/>
                      <a:pt x="57194" y="74787"/>
                      <a:pt x="43057" y="76463"/>
                    </a:cubicBezTo>
                    <a:cubicBezTo>
                      <a:pt x="19519" y="79159"/>
                      <a:pt x="3196" y="67354"/>
                      <a:pt x="354" y="42796"/>
                    </a:cubicBezTo>
                    <a:close/>
                    <a:moveTo>
                      <a:pt x="52895" y="30189"/>
                    </a:moveTo>
                    <a:cubicBezTo>
                      <a:pt x="50490" y="17364"/>
                      <a:pt x="43494" y="12336"/>
                      <a:pt x="33948" y="13429"/>
                    </a:cubicBezTo>
                    <a:cubicBezTo>
                      <a:pt x="24547" y="14522"/>
                      <a:pt x="17989" y="21007"/>
                      <a:pt x="17843" y="34197"/>
                    </a:cubicBezTo>
                    <a:lnTo>
                      <a:pt x="52895" y="30189"/>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55" name="Freeform 108">
                <a:extLst>
                  <a:ext uri="{FF2B5EF4-FFF2-40B4-BE49-F238E27FC236}">
                    <a16:creationId xmlns:a16="http://schemas.microsoft.com/office/drawing/2014/main" id="{66B775FE-047B-0A64-4A22-62CAD1C6875B}"/>
                  </a:ext>
                </a:extLst>
              </p:cNvPr>
              <p:cNvSpPr/>
              <p:nvPr/>
            </p:nvSpPr>
            <p:spPr>
              <a:xfrm>
                <a:off x="5855430" y="2345173"/>
                <a:ext cx="77321" cy="105490"/>
              </a:xfrm>
              <a:custGeom>
                <a:avLst/>
                <a:gdLst>
                  <a:gd name="connsiteX0" fmla="*/ 223 w 77321"/>
                  <a:gd name="connsiteY0" fmla="*/ 69665 h 105490"/>
                  <a:gd name="connsiteX1" fmla="*/ 27623 w 77321"/>
                  <a:gd name="connsiteY1" fmla="*/ 28857 h 105490"/>
                  <a:gd name="connsiteX2" fmla="*/ 55023 w 77321"/>
                  <a:gd name="connsiteY2" fmla="*/ 42776 h 105490"/>
                  <a:gd name="connsiteX3" fmla="*/ 55387 w 77321"/>
                  <a:gd name="connsiteY3" fmla="*/ 42776 h 105490"/>
                  <a:gd name="connsiteX4" fmla="*/ 51962 w 77321"/>
                  <a:gd name="connsiteY4" fmla="*/ 1385 h 105490"/>
                  <a:gd name="connsiteX5" fmla="*/ 69014 w 77321"/>
                  <a:gd name="connsiteY5" fmla="*/ 0 h 105490"/>
                  <a:gd name="connsiteX6" fmla="*/ 77321 w 77321"/>
                  <a:gd name="connsiteY6" fmla="*/ 100490 h 105490"/>
                  <a:gd name="connsiteX7" fmla="*/ 60852 w 77321"/>
                  <a:gd name="connsiteY7" fmla="*/ 101875 h 105490"/>
                  <a:gd name="connsiteX8" fmla="*/ 59614 w 77321"/>
                  <a:gd name="connsiteY8" fmla="*/ 86717 h 105490"/>
                  <a:gd name="connsiteX9" fmla="*/ 59249 w 77321"/>
                  <a:gd name="connsiteY9" fmla="*/ 86717 h 105490"/>
                  <a:gd name="connsiteX10" fmla="*/ 34619 w 77321"/>
                  <a:gd name="connsiteY10" fmla="*/ 105373 h 105490"/>
                  <a:gd name="connsiteX11" fmla="*/ 223 w 77321"/>
                  <a:gd name="connsiteY11" fmla="*/ 69738 h 105490"/>
                  <a:gd name="connsiteX12" fmla="*/ 39719 w 77321"/>
                  <a:gd name="connsiteY12" fmla="*/ 90944 h 105490"/>
                  <a:gd name="connsiteX13" fmla="*/ 57355 w 77321"/>
                  <a:gd name="connsiteY13" fmla="*/ 64929 h 105490"/>
                  <a:gd name="connsiteX14" fmla="*/ 35711 w 77321"/>
                  <a:gd name="connsiteY14" fmla="*/ 42120 h 105490"/>
                  <a:gd name="connsiteX15" fmla="*/ 18077 w 77321"/>
                  <a:gd name="connsiteY15" fmla="*/ 68135 h 105490"/>
                  <a:gd name="connsiteX16" fmla="*/ 39792 w 77321"/>
                  <a:gd name="connsiteY16" fmla="*/ 90871 h 10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321" h="105490">
                    <a:moveTo>
                      <a:pt x="223" y="69665"/>
                    </a:moveTo>
                    <a:cubicBezTo>
                      <a:pt x="-1672" y="46711"/>
                      <a:pt x="8603" y="30460"/>
                      <a:pt x="27623" y="28857"/>
                    </a:cubicBezTo>
                    <a:cubicBezTo>
                      <a:pt x="41979" y="27691"/>
                      <a:pt x="50869" y="34687"/>
                      <a:pt x="55023" y="42776"/>
                    </a:cubicBezTo>
                    <a:lnTo>
                      <a:pt x="55387" y="42776"/>
                    </a:lnTo>
                    <a:cubicBezTo>
                      <a:pt x="55387" y="42776"/>
                      <a:pt x="51962" y="1385"/>
                      <a:pt x="51962" y="1385"/>
                    </a:cubicBezTo>
                    <a:lnTo>
                      <a:pt x="69014" y="0"/>
                    </a:lnTo>
                    <a:lnTo>
                      <a:pt x="77321" y="100490"/>
                    </a:lnTo>
                    <a:lnTo>
                      <a:pt x="60852" y="101875"/>
                    </a:lnTo>
                    <a:lnTo>
                      <a:pt x="59614" y="86717"/>
                    </a:lnTo>
                    <a:lnTo>
                      <a:pt x="59249" y="86717"/>
                    </a:lnTo>
                    <a:cubicBezTo>
                      <a:pt x="56407" y="95535"/>
                      <a:pt x="50140" y="104134"/>
                      <a:pt x="34619" y="105373"/>
                    </a:cubicBezTo>
                    <a:cubicBezTo>
                      <a:pt x="15891" y="106903"/>
                      <a:pt x="2118" y="93495"/>
                      <a:pt x="223" y="69738"/>
                    </a:cubicBezTo>
                    <a:close/>
                    <a:moveTo>
                      <a:pt x="39719" y="90944"/>
                    </a:moveTo>
                    <a:cubicBezTo>
                      <a:pt x="51160" y="89997"/>
                      <a:pt x="58593" y="80742"/>
                      <a:pt x="57355" y="64929"/>
                    </a:cubicBezTo>
                    <a:cubicBezTo>
                      <a:pt x="56043" y="49043"/>
                      <a:pt x="47152" y="41173"/>
                      <a:pt x="35711" y="42120"/>
                    </a:cubicBezTo>
                    <a:cubicBezTo>
                      <a:pt x="24198" y="43067"/>
                      <a:pt x="16765" y="52249"/>
                      <a:pt x="18077" y="68135"/>
                    </a:cubicBezTo>
                    <a:cubicBezTo>
                      <a:pt x="19388" y="83948"/>
                      <a:pt x="28279" y="91891"/>
                      <a:pt x="39792" y="9087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56" name="Freeform 109">
                <a:extLst>
                  <a:ext uri="{FF2B5EF4-FFF2-40B4-BE49-F238E27FC236}">
                    <a16:creationId xmlns:a16="http://schemas.microsoft.com/office/drawing/2014/main" id="{D9542CE2-E356-B0B8-8C88-A3AE8EDD4B6C}"/>
                  </a:ext>
                </a:extLst>
              </p:cNvPr>
              <p:cNvSpPr/>
              <p:nvPr/>
            </p:nvSpPr>
            <p:spPr>
              <a:xfrm>
                <a:off x="5947011" y="2423628"/>
                <a:ext cx="22690" cy="46228"/>
              </a:xfrm>
              <a:custGeom>
                <a:avLst/>
                <a:gdLst>
                  <a:gd name="connsiteX0" fmla="*/ 14161 w 22690"/>
                  <a:gd name="connsiteY0" fmla="*/ 19922 h 46228"/>
                  <a:gd name="connsiteX1" fmla="*/ 10589 w 22690"/>
                  <a:gd name="connsiteY1" fmla="*/ 20723 h 46228"/>
                  <a:gd name="connsiteX2" fmla="*/ 23 w 22690"/>
                  <a:gd name="connsiteY2" fmla="*/ 11177 h 46228"/>
                  <a:gd name="connsiteX3" fmla="*/ 9861 w 22690"/>
                  <a:gd name="connsiteY3" fmla="*/ 28 h 46228"/>
                  <a:gd name="connsiteX4" fmla="*/ 22613 w 22690"/>
                  <a:gd name="connsiteY4" fmla="*/ 16424 h 46228"/>
                  <a:gd name="connsiteX5" fmla="*/ 8986 w 22690"/>
                  <a:gd name="connsiteY5" fmla="*/ 46228 h 46228"/>
                  <a:gd name="connsiteX6" fmla="*/ 2574 w 22690"/>
                  <a:gd name="connsiteY6" fmla="*/ 40326 h 46228"/>
                  <a:gd name="connsiteX7" fmla="*/ 14161 w 22690"/>
                  <a:gd name="connsiteY7" fmla="*/ 19849 h 4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90" h="46228">
                    <a:moveTo>
                      <a:pt x="14161" y="19922"/>
                    </a:moveTo>
                    <a:cubicBezTo>
                      <a:pt x="13140" y="20286"/>
                      <a:pt x="11974" y="20650"/>
                      <a:pt x="10589" y="20723"/>
                    </a:cubicBezTo>
                    <a:cubicBezTo>
                      <a:pt x="4979" y="21088"/>
                      <a:pt x="388" y="17371"/>
                      <a:pt x="23" y="11177"/>
                    </a:cubicBezTo>
                    <a:cubicBezTo>
                      <a:pt x="-341" y="5129"/>
                      <a:pt x="3594" y="392"/>
                      <a:pt x="9861" y="28"/>
                    </a:cubicBezTo>
                    <a:cubicBezTo>
                      <a:pt x="16492" y="-410"/>
                      <a:pt x="21812" y="4327"/>
                      <a:pt x="22613" y="16424"/>
                    </a:cubicBezTo>
                    <a:cubicBezTo>
                      <a:pt x="23269" y="27282"/>
                      <a:pt x="19844" y="37192"/>
                      <a:pt x="8986" y="46228"/>
                    </a:cubicBezTo>
                    <a:lnTo>
                      <a:pt x="2574" y="40326"/>
                    </a:lnTo>
                    <a:cubicBezTo>
                      <a:pt x="11464" y="33111"/>
                      <a:pt x="14306" y="25897"/>
                      <a:pt x="14161" y="1984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57" name="Freeform 110">
                <a:extLst>
                  <a:ext uri="{FF2B5EF4-FFF2-40B4-BE49-F238E27FC236}">
                    <a16:creationId xmlns:a16="http://schemas.microsoft.com/office/drawing/2014/main" id="{B1141313-7168-D7AB-40DE-0F28DEE3812B}"/>
                  </a:ext>
                </a:extLst>
              </p:cNvPr>
              <p:cNvSpPr/>
              <p:nvPr/>
            </p:nvSpPr>
            <p:spPr>
              <a:xfrm>
                <a:off x="6013410" y="2364823"/>
                <a:ext cx="63263" cy="77209"/>
              </a:xfrm>
              <a:custGeom>
                <a:avLst/>
                <a:gdLst>
                  <a:gd name="connsiteX0" fmla="*/ 11 w 63263"/>
                  <a:gd name="connsiteY0" fmla="*/ 56137 h 77209"/>
                  <a:gd name="connsiteX1" fmla="*/ 31492 w 63263"/>
                  <a:gd name="connsiteY1" fmla="*/ 31870 h 77209"/>
                  <a:gd name="connsiteX2" fmla="*/ 44900 w 63263"/>
                  <a:gd name="connsiteY2" fmla="*/ 31506 h 77209"/>
                  <a:gd name="connsiteX3" fmla="*/ 44754 w 63263"/>
                  <a:gd name="connsiteY3" fmla="*/ 27279 h 77209"/>
                  <a:gd name="connsiteX4" fmla="*/ 31054 w 63263"/>
                  <a:gd name="connsiteY4" fmla="*/ 13871 h 77209"/>
                  <a:gd name="connsiteX5" fmla="*/ 12472 w 63263"/>
                  <a:gd name="connsiteY5" fmla="*/ 23854 h 77209"/>
                  <a:gd name="connsiteX6" fmla="*/ 1978 w 63263"/>
                  <a:gd name="connsiteY6" fmla="*/ 14017 h 77209"/>
                  <a:gd name="connsiteX7" fmla="*/ 32511 w 63263"/>
                  <a:gd name="connsiteY7" fmla="*/ 25 h 77209"/>
                  <a:gd name="connsiteX8" fmla="*/ 61879 w 63263"/>
                  <a:gd name="connsiteY8" fmla="*/ 26915 h 77209"/>
                  <a:gd name="connsiteX9" fmla="*/ 63264 w 63263"/>
                  <a:gd name="connsiteY9" fmla="*/ 74573 h 77209"/>
                  <a:gd name="connsiteX10" fmla="*/ 46795 w 63263"/>
                  <a:gd name="connsiteY10" fmla="*/ 75083 h 77209"/>
                  <a:gd name="connsiteX11" fmla="*/ 46357 w 63263"/>
                  <a:gd name="connsiteY11" fmla="*/ 61383 h 77209"/>
                  <a:gd name="connsiteX12" fmla="*/ 45920 w 63263"/>
                  <a:gd name="connsiteY12" fmla="*/ 61383 h 77209"/>
                  <a:gd name="connsiteX13" fmla="*/ 22747 w 63263"/>
                  <a:gd name="connsiteY13" fmla="*/ 77197 h 77209"/>
                  <a:gd name="connsiteX14" fmla="*/ 11 w 63263"/>
                  <a:gd name="connsiteY14" fmla="*/ 56355 h 77209"/>
                  <a:gd name="connsiteX15" fmla="*/ 28504 w 63263"/>
                  <a:gd name="connsiteY15" fmla="*/ 63569 h 77209"/>
                  <a:gd name="connsiteX16" fmla="*/ 45337 w 63263"/>
                  <a:gd name="connsiteY16" fmla="*/ 46008 h 77209"/>
                  <a:gd name="connsiteX17" fmla="*/ 45192 w 63263"/>
                  <a:gd name="connsiteY17" fmla="*/ 41198 h 77209"/>
                  <a:gd name="connsiteX18" fmla="*/ 34698 w 63263"/>
                  <a:gd name="connsiteY18" fmla="*/ 41489 h 77209"/>
                  <a:gd name="connsiteX19" fmla="*/ 16990 w 63263"/>
                  <a:gd name="connsiteY19" fmla="*/ 53951 h 77209"/>
                  <a:gd name="connsiteX20" fmla="*/ 28431 w 63263"/>
                  <a:gd name="connsiteY20" fmla="*/ 63569 h 7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3263" h="77209">
                    <a:moveTo>
                      <a:pt x="11" y="56137"/>
                    </a:moveTo>
                    <a:cubicBezTo>
                      <a:pt x="-426" y="40251"/>
                      <a:pt x="12326" y="32453"/>
                      <a:pt x="31492" y="31870"/>
                    </a:cubicBezTo>
                    <a:lnTo>
                      <a:pt x="44900" y="31506"/>
                    </a:lnTo>
                    <a:lnTo>
                      <a:pt x="44754" y="27279"/>
                    </a:lnTo>
                    <a:cubicBezTo>
                      <a:pt x="44463" y="18389"/>
                      <a:pt x="40017" y="13579"/>
                      <a:pt x="31054" y="13871"/>
                    </a:cubicBezTo>
                    <a:cubicBezTo>
                      <a:pt x="22674" y="14162"/>
                      <a:pt x="16917" y="17879"/>
                      <a:pt x="12472" y="23854"/>
                    </a:cubicBezTo>
                    <a:lnTo>
                      <a:pt x="1978" y="14017"/>
                    </a:lnTo>
                    <a:cubicBezTo>
                      <a:pt x="8610" y="6365"/>
                      <a:pt x="17646" y="463"/>
                      <a:pt x="32511" y="25"/>
                    </a:cubicBezTo>
                    <a:cubicBezTo>
                      <a:pt x="51313" y="-558"/>
                      <a:pt x="61369" y="8989"/>
                      <a:pt x="61879" y="26915"/>
                    </a:cubicBezTo>
                    <a:lnTo>
                      <a:pt x="63264" y="74573"/>
                    </a:lnTo>
                    <a:lnTo>
                      <a:pt x="46795" y="75083"/>
                    </a:lnTo>
                    <a:lnTo>
                      <a:pt x="46357" y="61383"/>
                    </a:lnTo>
                    <a:lnTo>
                      <a:pt x="45920" y="61383"/>
                    </a:lnTo>
                    <a:cubicBezTo>
                      <a:pt x="41693" y="71877"/>
                      <a:pt x="34406" y="76832"/>
                      <a:pt x="22747" y="77197"/>
                    </a:cubicBezTo>
                    <a:cubicBezTo>
                      <a:pt x="9848" y="77561"/>
                      <a:pt x="375" y="70128"/>
                      <a:pt x="11" y="56355"/>
                    </a:cubicBezTo>
                    <a:close/>
                    <a:moveTo>
                      <a:pt x="28504" y="63569"/>
                    </a:moveTo>
                    <a:cubicBezTo>
                      <a:pt x="39507" y="63278"/>
                      <a:pt x="45629" y="54752"/>
                      <a:pt x="45337" y="46008"/>
                    </a:cubicBezTo>
                    <a:lnTo>
                      <a:pt x="45192" y="41198"/>
                    </a:lnTo>
                    <a:lnTo>
                      <a:pt x="34698" y="41489"/>
                    </a:lnTo>
                    <a:cubicBezTo>
                      <a:pt x="24860" y="41781"/>
                      <a:pt x="16698" y="44623"/>
                      <a:pt x="16990" y="53951"/>
                    </a:cubicBezTo>
                    <a:cubicBezTo>
                      <a:pt x="17209" y="60072"/>
                      <a:pt x="21508" y="63788"/>
                      <a:pt x="28431" y="6356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58" name="Freeform 111">
                <a:extLst>
                  <a:ext uri="{FF2B5EF4-FFF2-40B4-BE49-F238E27FC236}">
                    <a16:creationId xmlns:a16="http://schemas.microsoft.com/office/drawing/2014/main" id="{7F902E96-5DAC-00E3-1A1E-2AD2281DFD02}"/>
                  </a:ext>
                </a:extLst>
              </p:cNvPr>
              <p:cNvSpPr/>
              <p:nvPr/>
            </p:nvSpPr>
            <p:spPr>
              <a:xfrm>
                <a:off x="6094745" y="2363385"/>
                <a:ext cx="65366" cy="76084"/>
              </a:xfrm>
              <a:custGeom>
                <a:avLst/>
                <a:gdLst>
                  <a:gd name="connsiteX0" fmla="*/ 73 w 65366"/>
                  <a:gd name="connsiteY0" fmla="*/ 2119 h 76084"/>
                  <a:gd name="connsiteX1" fmla="*/ 16615 w 65366"/>
                  <a:gd name="connsiteY1" fmla="*/ 1828 h 76084"/>
                  <a:gd name="connsiteX2" fmla="*/ 16906 w 65366"/>
                  <a:gd name="connsiteY2" fmla="*/ 17349 h 76084"/>
                  <a:gd name="connsiteX3" fmla="*/ 17198 w 65366"/>
                  <a:gd name="connsiteY3" fmla="*/ 17349 h 76084"/>
                  <a:gd name="connsiteX4" fmla="*/ 41173 w 65366"/>
                  <a:gd name="connsiteY4" fmla="*/ 6 h 76084"/>
                  <a:gd name="connsiteX5" fmla="*/ 64564 w 65366"/>
                  <a:gd name="connsiteY5" fmla="*/ 26167 h 76084"/>
                  <a:gd name="connsiteX6" fmla="*/ 65366 w 65366"/>
                  <a:gd name="connsiteY6" fmla="*/ 74991 h 76084"/>
                  <a:gd name="connsiteX7" fmla="*/ 48241 w 65366"/>
                  <a:gd name="connsiteY7" fmla="*/ 75282 h 76084"/>
                  <a:gd name="connsiteX8" fmla="*/ 47513 w 65366"/>
                  <a:gd name="connsiteY8" fmla="*/ 30612 h 76084"/>
                  <a:gd name="connsiteX9" fmla="*/ 33886 w 65366"/>
                  <a:gd name="connsiteY9" fmla="*/ 14872 h 76084"/>
                  <a:gd name="connsiteX10" fmla="*/ 17708 w 65366"/>
                  <a:gd name="connsiteY10" fmla="*/ 34328 h 76084"/>
                  <a:gd name="connsiteX11" fmla="*/ 18364 w 65366"/>
                  <a:gd name="connsiteY11" fmla="*/ 75793 h 76084"/>
                  <a:gd name="connsiteX12" fmla="*/ 1239 w 65366"/>
                  <a:gd name="connsiteY12" fmla="*/ 76084 h 76084"/>
                  <a:gd name="connsiteX13" fmla="*/ 0 w 65366"/>
                  <a:gd name="connsiteY13" fmla="*/ 2119 h 7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366" h="76084">
                    <a:moveTo>
                      <a:pt x="73" y="2119"/>
                    </a:moveTo>
                    <a:lnTo>
                      <a:pt x="16615" y="1828"/>
                    </a:lnTo>
                    <a:lnTo>
                      <a:pt x="16906" y="17349"/>
                    </a:lnTo>
                    <a:lnTo>
                      <a:pt x="17198" y="17349"/>
                    </a:lnTo>
                    <a:cubicBezTo>
                      <a:pt x="20404" y="8823"/>
                      <a:pt x="27036" y="224"/>
                      <a:pt x="41173" y="6"/>
                    </a:cubicBezTo>
                    <a:cubicBezTo>
                      <a:pt x="57059" y="-286"/>
                      <a:pt x="64346" y="10426"/>
                      <a:pt x="64564" y="26167"/>
                    </a:cubicBezTo>
                    <a:lnTo>
                      <a:pt x="65366" y="74991"/>
                    </a:lnTo>
                    <a:lnTo>
                      <a:pt x="48241" y="75282"/>
                    </a:lnTo>
                    <a:lnTo>
                      <a:pt x="47513" y="30612"/>
                    </a:lnTo>
                    <a:cubicBezTo>
                      <a:pt x="47367" y="20701"/>
                      <a:pt x="43796" y="14726"/>
                      <a:pt x="33886" y="14872"/>
                    </a:cubicBezTo>
                    <a:cubicBezTo>
                      <a:pt x="23683" y="15017"/>
                      <a:pt x="17489" y="21867"/>
                      <a:pt x="17708" y="34328"/>
                    </a:cubicBezTo>
                    <a:lnTo>
                      <a:pt x="18364" y="75793"/>
                    </a:lnTo>
                    <a:lnTo>
                      <a:pt x="1239" y="76084"/>
                    </a:lnTo>
                    <a:lnTo>
                      <a:pt x="0" y="2119"/>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59" name="Freeform 112">
                <a:extLst>
                  <a:ext uri="{FF2B5EF4-FFF2-40B4-BE49-F238E27FC236}">
                    <a16:creationId xmlns:a16="http://schemas.microsoft.com/office/drawing/2014/main" id="{426C6A3E-FCEC-202B-119E-D4080FBEEA43}"/>
                  </a:ext>
                </a:extLst>
              </p:cNvPr>
              <p:cNvSpPr/>
              <p:nvPr/>
            </p:nvSpPr>
            <p:spPr>
              <a:xfrm>
                <a:off x="6176362" y="2339999"/>
                <a:ext cx="76369" cy="101315"/>
              </a:xfrm>
              <a:custGeom>
                <a:avLst/>
                <a:gdLst>
                  <a:gd name="connsiteX0" fmla="*/ 0 w 76369"/>
                  <a:gd name="connsiteY0" fmla="*/ 62087 h 101315"/>
                  <a:gd name="connsiteX1" fmla="*/ 31918 w 76369"/>
                  <a:gd name="connsiteY1" fmla="*/ 24631 h 101315"/>
                  <a:gd name="connsiteX2" fmla="*/ 57569 w 76369"/>
                  <a:gd name="connsiteY2" fmla="*/ 41537 h 101315"/>
                  <a:gd name="connsiteX3" fmla="*/ 57933 w 76369"/>
                  <a:gd name="connsiteY3" fmla="*/ 41537 h 101315"/>
                  <a:gd name="connsiteX4" fmla="*/ 59245 w 76369"/>
                  <a:gd name="connsiteY4" fmla="*/ 0 h 101315"/>
                  <a:gd name="connsiteX5" fmla="*/ 76370 w 76369"/>
                  <a:gd name="connsiteY5" fmla="*/ 510 h 101315"/>
                  <a:gd name="connsiteX6" fmla="*/ 73236 w 76369"/>
                  <a:gd name="connsiteY6" fmla="*/ 101292 h 101315"/>
                  <a:gd name="connsiteX7" fmla="*/ 56767 w 76369"/>
                  <a:gd name="connsiteY7" fmla="*/ 100782 h 101315"/>
                  <a:gd name="connsiteX8" fmla="*/ 57277 w 76369"/>
                  <a:gd name="connsiteY8" fmla="*/ 85552 h 101315"/>
                  <a:gd name="connsiteX9" fmla="*/ 56913 w 76369"/>
                  <a:gd name="connsiteY9" fmla="*/ 85552 h 101315"/>
                  <a:gd name="connsiteX10" fmla="*/ 30315 w 76369"/>
                  <a:gd name="connsiteY10" fmla="*/ 101292 h 101315"/>
                  <a:gd name="connsiteX11" fmla="*/ 146 w 76369"/>
                  <a:gd name="connsiteY11" fmla="*/ 62014 h 101315"/>
                  <a:gd name="connsiteX12" fmla="*/ 36946 w 76369"/>
                  <a:gd name="connsiteY12" fmla="*/ 87738 h 101315"/>
                  <a:gd name="connsiteX13" fmla="*/ 57350 w 76369"/>
                  <a:gd name="connsiteY13" fmla="*/ 63836 h 101315"/>
                  <a:gd name="connsiteX14" fmla="*/ 38477 w 76369"/>
                  <a:gd name="connsiteY14" fmla="*/ 38768 h 101315"/>
                  <a:gd name="connsiteX15" fmla="*/ 18000 w 76369"/>
                  <a:gd name="connsiteY15" fmla="*/ 62597 h 101315"/>
                  <a:gd name="connsiteX16" fmla="*/ 36946 w 76369"/>
                  <a:gd name="connsiteY16" fmla="*/ 87665 h 10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369" h="101315">
                    <a:moveTo>
                      <a:pt x="0" y="62087"/>
                    </a:moveTo>
                    <a:cubicBezTo>
                      <a:pt x="729" y="39059"/>
                      <a:pt x="12753" y="24048"/>
                      <a:pt x="31918" y="24631"/>
                    </a:cubicBezTo>
                    <a:cubicBezTo>
                      <a:pt x="46346" y="25068"/>
                      <a:pt x="54363" y="33011"/>
                      <a:pt x="57569" y="41537"/>
                    </a:cubicBezTo>
                    <a:lnTo>
                      <a:pt x="57933" y="41537"/>
                    </a:lnTo>
                    <a:cubicBezTo>
                      <a:pt x="57933" y="41537"/>
                      <a:pt x="59245" y="0"/>
                      <a:pt x="59245" y="0"/>
                    </a:cubicBezTo>
                    <a:lnTo>
                      <a:pt x="76370" y="510"/>
                    </a:lnTo>
                    <a:lnTo>
                      <a:pt x="73236" y="101292"/>
                    </a:lnTo>
                    <a:lnTo>
                      <a:pt x="56767" y="100782"/>
                    </a:lnTo>
                    <a:lnTo>
                      <a:pt x="57277" y="85552"/>
                    </a:lnTo>
                    <a:lnTo>
                      <a:pt x="56913" y="85552"/>
                    </a:lnTo>
                    <a:cubicBezTo>
                      <a:pt x="53051" y="93932"/>
                      <a:pt x="45909" y="101802"/>
                      <a:pt x="30315" y="101292"/>
                    </a:cubicBezTo>
                    <a:cubicBezTo>
                      <a:pt x="11514" y="100709"/>
                      <a:pt x="-583" y="85770"/>
                      <a:pt x="146" y="62014"/>
                    </a:cubicBezTo>
                    <a:close/>
                    <a:moveTo>
                      <a:pt x="36946" y="87738"/>
                    </a:moveTo>
                    <a:cubicBezTo>
                      <a:pt x="48460" y="88102"/>
                      <a:pt x="56913" y="79795"/>
                      <a:pt x="57350" y="63836"/>
                    </a:cubicBezTo>
                    <a:cubicBezTo>
                      <a:pt x="57860" y="47877"/>
                      <a:pt x="49917" y="39132"/>
                      <a:pt x="38477" y="38768"/>
                    </a:cubicBezTo>
                    <a:cubicBezTo>
                      <a:pt x="26890" y="38403"/>
                      <a:pt x="18437" y="46638"/>
                      <a:pt x="18000" y="62597"/>
                    </a:cubicBezTo>
                    <a:cubicBezTo>
                      <a:pt x="17489" y="78483"/>
                      <a:pt x="25432" y="87300"/>
                      <a:pt x="36946" y="8766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60" name="Freeform 113">
                <a:extLst>
                  <a:ext uri="{FF2B5EF4-FFF2-40B4-BE49-F238E27FC236}">
                    <a16:creationId xmlns:a16="http://schemas.microsoft.com/office/drawing/2014/main" id="{3FFD31A0-7022-7CB8-33D0-B6A4C31A0DBD}"/>
                  </a:ext>
                </a:extLst>
              </p:cNvPr>
              <p:cNvSpPr/>
              <p:nvPr/>
            </p:nvSpPr>
            <p:spPr>
              <a:xfrm>
                <a:off x="6297111" y="2370686"/>
                <a:ext cx="62669" cy="76714"/>
              </a:xfrm>
              <a:custGeom>
                <a:avLst/>
                <a:gdLst>
                  <a:gd name="connsiteX0" fmla="*/ 0 w 62669"/>
                  <a:gd name="connsiteY0" fmla="*/ 63099 h 76714"/>
                  <a:gd name="connsiteX1" fmla="*/ 10931 w 62669"/>
                  <a:gd name="connsiteY1" fmla="*/ 53553 h 76714"/>
                  <a:gd name="connsiteX2" fmla="*/ 30242 w 62669"/>
                  <a:gd name="connsiteY2" fmla="*/ 63464 h 76714"/>
                  <a:gd name="connsiteX3" fmla="*/ 44160 w 62669"/>
                  <a:gd name="connsiteY3" fmla="*/ 56177 h 76714"/>
                  <a:gd name="connsiteX4" fmla="*/ 28128 w 62669"/>
                  <a:gd name="connsiteY4" fmla="*/ 43716 h 76714"/>
                  <a:gd name="connsiteX5" fmla="*/ 6486 w 62669"/>
                  <a:gd name="connsiteY5" fmla="*/ 19741 h 76714"/>
                  <a:gd name="connsiteX6" fmla="*/ 35999 w 62669"/>
                  <a:gd name="connsiteY6" fmla="*/ 138 h 76714"/>
                  <a:gd name="connsiteX7" fmla="*/ 62670 w 62669"/>
                  <a:gd name="connsiteY7" fmla="*/ 12089 h 76714"/>
                  <a:gd name="connsiteX8" fmla="*/ 52031 w 62669"/>
                  <a:gd name="connsiteY8" fmla="*/ 21344 h 76714"/>
                  <a:gd name="connsiteX9" fmla="*/ 35416 w 62669"/>
                  <a:gd name="connsiteY9" fmla="*/ 13109 h 76714"/>
                  <a:gd name="connsiteX10" fmla="*/ 23173 w 62669"/>
                  <a:gd name="connsiteY10" fmla="*/ 20105 h 76714"/>
                  <a:gd name="connsiteX11" fmla="*/ 38476 w 62669"/>
                  <a:gd name="connsiteY11" fmla="*/ 31109 h 76714"/>
                  <a:gd name="connsiteX12" fmla="*/ 60994 w 62669"/>
                  <a:gd name="connsiteY12" fmla="*/ 56104 h 76714"/>
                  <a:gd name="connsiteX13" fmla="*/ 29732 w 62669"/>
                  <a:gd name="connsiteY13" fmla="*/ 76581 h 76714"/>
                  <a:gd name="connsiteX14" fmla="*/ 73 w 62669"/>
                  <a:gd name="connsiteY14" fmla="*/ 63027 h 7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69" h="76714">
                    <a:moveTo>
                      <a:pt x="0" y="63099"/>
                    </a:moveTo>
                    <a:lnTo>
                      <a:pt x="10931" y="53553"/>
                    </a:lnTo>
                    <a:cubicBezTo>
                      <a:pt x="16323" y="60403"/>
                      <a:pt x="22517" y="62881"/>
                      <a:pt x="30242" y="63464"/>
                    </a:cubicBezTo>
                    <a:cubicBezTo>
                      <a:pt x="37748" y="63974"/>
                      <a:pt x="43723" y="62225"/>
                      <a:pt x="44160" y="56177"/>
                    </a:cubicBezTo>
                    <a:cubicBezTo>
                      <a:pt x="44598" y="49472"/>
                      <a:pt x="38476" y="47213"/>
                      <a:pt x="28128" y="43716"/>
                    </a:cubicBezTo>
                    <a:cubicBezTo>
                      <a:pt x="16979" y="39926"/>
                      <a:pt x="5392" y="34315"/>
                      <a:pt x="6486" y="19741"/>
                    </a:cubicBezTo>
                    <a:cubicBezTo>
                      <a:pt x="7433" y="6041"/>
                      <a:pt x="18509" y="-1101"/>
                      <a:pt x="35999" y="138"/>
                    </a:cubicBezTo>
                    <a:cubicBezTo>
                      <a:pt x="47367" y="940"/>
                      <a:pt x="56476" y="5093"/>
                      <a:pt x="62670" y="12089"/>
                    </a:cubicBezTo>
                    <a:lnTo>
                      <a:pt x="52031" y="21344"/>
                    </a:lnTo>
                    <a:cubicBezTo>
                      <a:pt x="47440" y="15878"/>
                      <a:pt x="41391" y="13546"/>
                      <a:pt x="35416" y="13109"/>
                    </a:cubicBezTo>
                    <a:cubicBezTo>
                      <a:pt x="28347" y="12599"/>
                      <a:pt x="23537" y="14712"/>
                      <a:pt x="23173" y="20105"/>
                    </a:cubicBezTo>
                    <a:cubicBezTo>
                      <a:pt x="22809" y="25571"/>
                      <a:pt x="28639" y="27757"/>
                      <a:pt x="38476" y="31109"/>
                    </a:cubicBezTo>
                    <a:cubicBezTo>
                      <a:pt x="49917" y="34898"/>
                      <a:pt x="62159" y="39853"/>
                      <a:pt x="60994" y="56104"/>
                    </a:cubicBezTo>
                    <a:cubicBezTo>
                      <a:pt x="59973" y="70387"/>
                      <a:pt x="47877" y="77820"/>
                      <a:pt x="29732" y="76581"/>
                    </a:cubicBezTo>
                    <a:cubicBezTo>
                      <a:pt x="16833" y="75706"/>
                      <a:pt x="6704" y="71261"/>
                      <a:pt x="73" y="63027"/>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61" name="Freeform 114">
                <a:extLst>
                  <a:ext uri="{FF2B5EF4-FFF2-40B4-BE49-F238E27FC236}">
                    <a16:creationId xmlns:a16="http://schemas.microsoft.com/office/drawing/2014/main" id="{197C87D0-BE22-986F-9D5F-983AE1F5190D}"/>
                  </a:ext>
                </a:extLst>
              </p:cNvPr>
              <p:cNvSpPr/>
              <p:nvPr/>
            </p:nvSpPr>
            <p:spPr>
              <a:xfrm>
                <a:off x="6373032" y="2375633"/>
                <a:ext cx="68801" cy="79867"/>
              </a:xfrm>
              <a:custGeom>
                <a:avLst/>
                <a:gdLst>
                  <a:gd name="connsiteX0" fmla="*/ 303 w 68801"/>
                  <a:gd name="connsiteY0" fmla="*/ 48533 h 79867"/>
                  <a:gd name="connsiteX1" fmla="*/ 5112 w 68801"/>
                  <a:gd name="connsiteY1" fmla="*/ 0 h 79867"/>
                  <a:gd name="connsiteX2" fmla="*/ 22164 w 68801"/>
                  <a:gd name="connsiteY2" fmla="*/ 1676 h 79867"/>
                  <a:gd name="connsiteX3" fmla="*/ 17719 w 68801"/>
                  <a:gd name="connsiteY3" fmla="*/ 46128 h 79867"/>
                  <a:gd name="connsiteX4" fmla="*/ 29378 w 68801"/>
                  <a:gd name="connsiteY4" fmla="*/ 63326 h 79867"/>
                  <a:gd name="connsiteX5" fmla="*/ 47742 w 68801"/>
                  <a:gd name="connsiteY5" fmla="*/ 45764 h 79867"/>
                  <a:gd name="connsiteX6" fmla="*/ 51823 w 68801"/>
                  <a:gd name="connsiteY6" fmla="*/ 4591 h 79867"/>
                  <a:gd name="connsiteX7" fmla="*/ 68802 w 68801"/>
                  <a:gd name="connsiteY7" fmla="*/ 6267 h 79867"/>
                  <a:gd name="connsiteX8" fmla="*/ 61515 w 68801"/>
                  <a:gd name="connsiteY8" fmla="*/ 79868 h 79867"/>
                  <a:gd name="connsiteX9" fmla="*/ 45119 w 68801"/>
                  <a:gd name="connsiteY9" fmla="*/ 78264 h 79867"/>
                  <a:gd name="connsiteX10" fmla="*/ 46649 w 68801"/>
                  <a:gd name="connsiteY10" fmla="*/ 62743 h 79867"/>
                  <a:gd name="connsiteX11" fmla="*/ 46285 w 68801"/>
                  <a:gd name="connsiteY11" fmla="*/ 62743 h 79867"/>
                  <a:gd name="connsiteX12" fmla="*/ 20488 w 68801"/>
                  <a:gd name="connsiteY12" fmla="*/ 77171 h 79867"/>
                  <a:gd name="connsiteX13" fmla="*/ 230 w 68801"/>
                  <a:gd name="connsiteY13" fmla="*/ 48460 h 7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801" h="79867">
                    <a:moveTo>
                      <a:pt x="303" y="48533"/>
                    </a:moveTo>
                    <a:lnTo>
                      <a:pt x="5112" y="0"/>
                    </a:lnTo>
                    <a:lnTo>
                      <a:pt x="22164" y="1676"/>
                    </a:lnTo>
                    <a:lnTo>
                      <a:pt x="17719" y="46128"/>
                    </a:lnTo>
                    <a:cubicBezTo>
                      <a:pt x="16771" y="55966"/>
                      <a:pt x="19540" y="62305"/>
                      <a:pt x="29378" y="63326"/>
                    </a:cubicBezTo>
                    <a:cubicBezTo>
                      <a:pt x="39507" y="64346"/>
                      <a:pt x="46503" y="58152"/>
                      <a:pt x="47742" y="45764"/>
                    </a:cubicBezTo>
                    <a:lnTo>
                      <a:pt x="51823" y="4591"/>
                    </a:lnTo>
                    <a:lnTo>
                      <a:pt x="68802" y="6267"/>
                    </a:lnTo>
                    <a:lnTo>
                      <a:pt x="61515" y="79868"/>
                    </a:lnTo>
                    <a:lnTo>
                      <a:pt x="45119" y="78264"/>
                    </a:lnTo>
                    <a:lnTo>
                      <a:pt x="46649" y="62743"/>
                    </a:lnTo>
                    <a:lnTo>
                      <a:pt x="46285" y="62743"/>
                    </a:lnTo>
                    <a:cubicBezTo>
                      <a:pt x="42058" y="70831"/>
                      <a:pt x="34625" y="78629"/>
                      <a:pt x="20488" y="77171"/>
                    </a:cubicBezTo>
                    <a:cubicBezTo>
                      <a:pt x="4748" y="75641"/>
                      <a:pt x="-1301" y="64127"/>
                      <a:pt x="230" y="4846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62" name="Freeform 115">
                <a:extLst>
                  <a:ext uri="{FF2B5EF4-FFF2-40B4-BE49-F238E27FC236}">
                    <a16:creationId xmlns:a16="http://schemas.microsoft.com/office/drawing/2014/main" id="{9E163541-8919-101F-BBC6-5D361F613C74}"/>
                  </a:ext>
                </a:extLst>
              </p:cNvPr>
              <p:cNvSpPr/>
              <p:nvPr/>
            </p:nvSpPr>
            <p:spPr>
              <a:xfrm>
                <a:off x="6449048" y="2385929"/>
                <a:ext cx="65439" cy="76921"/>
              </a:xfrm>
              <a:custGeom>
                <a:avLst/>
                <a:gdLst>
                  <a:gd name="connsiteX0" fmla="*/ 0 w 65439"/>
                  <a:gd name="connsiteY0" fmla="*/ 61192 h 76921"/>
                  <a:gd name="connsiteX1" fmla="*/ 11514 w 65439"/>
                  <a:gd name="connsiteY1" fmla="*/ 52301 h 76921"/>
                  <a:gd name="connsiteX2" fmla="*/ 30315 w 65439"/>
                  <a:gd name="connsiteY2" fmla="*/ 63305 h 76921"/>
                  <a:gd name="connsiteX3" fmla="*/ 44598 w 65439"/>
                  <a:gd name="connsiteY3" fmla="*/ 56819 h 76921"/>
                  <a:gd name="connsiteX4" fmla="*/ 29295 w 65439"/>
                  <a:gd name="connsiteY4" fmla="*/ 43484 h 76921"/>
                  <a:gd name="connsiteX5" fmla="*/ 8964 w 65439"/>
                  <a:gd name="connsiteY5" fmla="*/ 18343 h 76921"/>
                  <a:gd name="connsiteX6" fmla="*/ 39497 w 65439"/>
                  <a:gd name="connsiteY6" fmla="*/ 416 h 76921"/>
                  <a:gd name="connsiteX7" fmla="*/ 65439 w 65439"/>
                  <a:gd name="connsiteY7" fmla="*/ 13898 h 76921"/>
                  <a:gd name="connsiteX8" fmla="*/ 54217 w 65439"/>
                  <a:gd name="connsiteY8" fmla="*/ 22570 h 76921"/>
                  <a:gd name="connsiteX9" fmla="*/ 38112 w 65439"/>
                  <a:gd name="connsiteY9" fmla="*/ 13461 h 76921"/>
                  <a:gd name="connsiteX10" fmla="*/ 25432 w 65439"/>
                  <a:gd name="connsiteY10" fmla="*/ 19727 h 76921"/>
                  <a:gd name="connsiteX11" fmla="*/ 40080 w 65439"/>
                  <a:gd name="connsiteY11" fmla="*/ 31533 h 76921"/>
                  <a:gd name="connsiteX12" fmla="*/ 61213 w 65439"/>
                  <a:gd name="connsiteY12" fmla="*/ 57767 h 76921"/>
                  <a:gd name="connsiteX13" fmla="*/ 28857 w 65439"/>
                  <a:gd name="connsiteY13" fmla="*/ 76495 h 76921"/>
                  <a:gd name="connsiteX14" fmla="*/ 0 w 65439"/>
                  <a:gd name="connsiteY14" fmla="*/ 61264 h 76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439" h="76921">
                    <a:moveTo>
                      <a:pt x="0" y="61192"/>
                    </a:moveTo>
                    <a:lnTo>
                      <a:pt x="11514" y="52301"/>
                    </a:lnTo>
                    <a:cubicBezTo>
                      <a:pt x="16542" y="59516"/>
                      <a:pt x="22591" y="62285"/>
                      <a:pt x="30315" y="63305"/>
                    </a:cubicBezTo>
                    <a:cubicBezTo>
                      <a:pt x="37748" y="64252"/>
                      <a:pt x="43869" y="62868"/>
                      <a:pt x="44598" y="56819"/>
                    </a:cubicBezTo>
                    <a:cubicBezTo>
                      <a:pt x="45472" y="50188"/>
                      <a:pt x="39424" y="47565"/>
                      <a:pt x="29295" y="43484"/>
                    </a:cubicBezTo>
                    <a:cubicBezTo>
                      <a:pt x="18364" y="39111"/>
                      <a:pt x="7142" y="32845"/>
                      <a:pt x="8964" y="18343"/>
                    </a:cubicBezTo>
                    <a:cubicBezTo>
                      <a:pt x="10712" y="4716"/>
                      <a:pt x="22153" y="-1770"/>
                      <a:pt x="39497" y="416"/>
                    </a:cubicBezTo>
                    <a:cubicBezTo>
                      <a:pt x="50792" y="1874"/>
                      <a:pt x="59682" y="6538"/>
                      <a:pt x="65439" y="13898"/>
                    </a:cubicBezTo>
                    <a:lnTo>
                      <a:pt x="54217" y="22570"/>
                    </a:lnTo>
                    <a:cubicBezTo>
                      <a:pt x="49918" y="16813"/>
                      <a:pt x="44015" y="14189"/>
                      <a:pt x="38112" y="13461"/>
                    </a:cubicBezTo>
                    <a:cubicBezTo>
                      <a:pt x="31043" y="12586"/>
                      <a:pt x="26161" y="14408"/>
                      <a:pt x="25432" y="19727"/>
                    </a:cubicBezTo>
                    <a:cubicBezTo>
                      <a:pt x="24704" y="25193"/>
                      <a:pt x="30460" y="27670"/>
                      <a:pt x="40080" y="31533"/>
                    </a:cubicBezTo>
                    <a:cubicBezTo>
                      <a:pt x="51302" y="35978"/>
                      <a:pt x="63253" y="41589"/>
                      <a:pt x="61213" y="57767"/>
                    </a:cubicBezTo>
                    <a:cubicBezTo>
                      <a:pt x="59391" y="71977"/>
                      <a:pt x="46857" y="78754"/>
                      <a:pt x="28857" y="76495"/>
                    </a:cubicBezTo>
                    <a:cubicBezTo>
                      <a:pt x="16032" y="74892"/>
                      <a:pt x="6121" y="69936"/>
                      <a:pt x="0" y="61264"/>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63" name="Freeform 116">
                <a:extLst>
                  <a:ext uri="{FF2B5EF4-FFF2-40B4-BE49-F238E27FC236}">
                    <a16:creationId xmlns:a16="http://schemas.microsoft.com/office/drawing/2014/main" id="{EFF13534-5EE1-44C5-3E8F-47993485A180}"/>
                  </a:ext>
                </a:extLst>
              </p:cNvPr>
              <p:cNvSpPr/>
              <p:nvPr/>
            </p:nvSpPr>
            <p:spPr>
              <a:xfrm>
                <a:off x="6522868" y="2377237"/>
                <a:ext cx="45399" cy="95007"/>
              </a:xfrm>
              <a:custGeom>
                <a:avLst/>
                <a:gdLst>
                  <a:gd name="connsiteX0" fmla="*/ 4445 w 45399"/>
                  <a:gd name="connsiteY0" fmla="*/ 71779 h 95007"/>
                  <a:gd name="connsiteX1" fmla="*/ 10712 w 45399"/>
                  <a:gd name="connsiteY1" fmla="*/ 30023 h 95007"/>
                  <a:gd name="connsiteX2" fmla="*/ 0 w 45399"/>
                  <a:gd name="connsiteY2" fmla="*/ 28420 h 95007"/>
                  <a:gd name="connsiteX3" fmla="*/ 1166 w 45399"/>
                  <a:gd name="connsiteY3" fmla="*/ 20696 h 95007"/>
                  <a:gd name="connsiteX4" fmla="*/ 29222 w 45399"/>
                  <a:gd name="connsiteY4" fmla="*/ 0 h 95007"/>
                  <a:gd name="connsiteX5" fmla="*/ 32428 w 45399"/>
                  <a:gd name="connsiteY5" fmla="*/ 510 h 95007"/>
                  <a:gd name="connsiteX6" fmla="*/ 29586 w 45399"/>
                  <a:gd name="connsiteY6" fmla="*/ 19457 h 95007"/>
                  <a:gd name="connsiteX7" fmla="*/ 45399 w 45399"/>
                  <a:gd name="connsiteY7" fmla="*/ 21862 h 95007"/>
                  <a:gd name="connsiteX8" fmla="*/ 43432 w 45399"/>
                  <a:gd name="connsiteY8" fmla="*/ 34978 h 95007"/>
                  <a:gd name="connsiteX9" fmla="*/ 27619 w 45399"/>
                  <a:gd name="connsiteY9" fmla="*/ 32574 h 95007"/>
                  <a:gd name="connsiteX10" fmla="*/ 21862 w 45399"/>
                  <a:gd name="connsiteY10" fmla="*/ 71050 h 95007"/>
                  <a:gd name="connsiteX11" fmla="*/ 28493 w 45399"/>
                  <a:gd name="connsiteY11" fmla="*/ 80378 h 95007"/>
                  <a:gd name="connsiteX12" fmla="*/ 36655 w 45399"/>
                  <a:gd name="connsiteY12" fmla="*/ 80378 h 95007"/>
                  <a:gd name="connsiteX13" fmla="*/ 34469 w 45399"/>
                  <a:gd name="connsiteY13" fmla="*/ 94879 h 95007"/>
                  <a:gd name="connsiteX14" fmla="*/ 22736 w 45399"/>
                  <a:gd name="connsiteY14" fmla="*/ 94369 h 95007"/>
                  <a:gd name="connsiteX15" fmla="*/ 4445 w 45399"/>
                  <a:gd name="connsiteY15" fmla="*/ 71779 h 95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399" h="95007">
                    <a:moveTo>
                      <a:pt x="4445" y="71779"/>
                    </a:moveTo>
                    <a:lnTo>
                      <a:pt x="10712" y="30023"/>
                    </a:lnTo>
                    <a:lnTo>
                      <a:pt x="0" y="28420"/>
                    </a:lnTo>
                    <a:lnTo>
                      <a:pt x="1166" y="20696"/>
                    </a:lnTo>
                    <a:lnTo>
                      <a:pt x="29222" y="0"/>
                    </a:lnTo>
                    <a:lnTo>
                      <a:pt x="32428" y="510"/>
                    </a:lnTo>
                    <a:lnTo>
                      <a:pt x="29586" y="19457"/>
                    </a:lnTo>
                    <a:lnTo>
                      <a:pt x="45399" y="21862"/>
                    </a:lnTo>
                    <a:lnTo>
                      <a:pt x="43432" y="34978"/>
                    </a:lnTo>
                    <a:lnTo>
                      <a:pt x="27619" y="32574"/>
                    </a:lnTo>
                    <a:lnTo>
                      <a:pt x="21862" y="71050"/>
                    </a:lnTo>
                    <a:cubicBezTo>
                      <a:pt x="20914" y="77463"/>
                      <a:pt x="22736" y="79503"/>
                      <a:pt x="28493" y="80378"/>
                    </a:cubicBezTo>
                    <a:cubicBezTo>
                      <a:pt x="31335" y="80815"/>
                      <a:pt x="34177" y="80742"/>
                      <a:pt x="36655" y="80378"/>
                    </a:cubicBezTo>
                    <a:lnTo>
                      <a:pt x="34469" y="94879"/>
                    </a:lnTo>
                    <a:cubicBezTo>
                      <a:pt x="31408" y="95171"/>
                      <a:pt x="27036" y="94952"/>
                      <a:pt x="22736" y="94369"/>
                    </a:cubicBezTo>
                    <a:cubicBezTo>
                      <a:pt x="8016" y="92183"/>
                      <a:pt x="2332" y="85770"/>
                      <a:pt x="4445" y="7177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64" name="Freeform 117">
                <a:extLst>
                  <a:ext uri="{FF2B5EF4-FFF2-40B4-BE49-F238E27FC236}">
                    <a16:creationId xmlns:a16="http://schemas.microsoft.com/office/drawing/2014/main" id="{5EAB75F4-AFE3-7F97-8CBC-98296C1FCABB}"/>
                  </a:ext>
                </a:extLst>
              </p:cNvPr>
              <p:cNvSpPr/>
              <p:nvPr/>
            </p:nvSpPr>
            <p:spPr>
              <a:xfrm>
                <a:off x="6571765" y="2404440"/>
                <a:ext cx="67390" cy="79918"/>
              </a:xfrm>
              <a:custGeom>
                <a:avLst/>
                <a:gdLst>
                  <a:gd name="connsiteX0" fmla="*/ 291 w 67390"/>
                  <a:gd name="connsiteY0" fmla="*/ 49458 h 79918"/>
                  <a:gd name="connsiteX1" fmla="*/ 35999 w 67390"/>
                  <a:gd name="connsiteY1" fmla="*/ 31969 h 79918"/>
                  <a:gd name="connsiteX2" fmla="*/ 49188 w 67390"/>
                  <a:gd name="connsiteY2" fmla="*/ 34228 h 79918"/>
                  <a:gd name="connsiteX3" fmla="*/ 49917 w 67390"/>
                  <a:gd name="connsiteY3" fmla="*/ 30001 h 79918"/>
                  <a:gd name="connsiteX4" fmla="*/ 39132 w 67390"/>
                  <a:gd name="connsiteY4" fmla="*/ 14115 h 79918"/>
                  <a:gd name="connsiteX5" fmla="*/ 18946 w 67390"/>
                  <a:gd name="connsiteY5" fmla="*/ 20164 h 79918"/>
                  <a:gd name="connsiteX6" fmla="*/ 10639 w 67390"/>
                  <a:gd name="connsiteY6" fmla="*/ 8431 h 79918"/>
                  <a:gd name="connsiteX7" fmla="*/ 43359 w 67390"/>
                  <a:gd name="connsiteY7" fmla="*/ 780 h 79918"/>
                  <a:gd name="connsiteX8" fmla="*/ 66750 w 67390"/>
                  <a:gd name="connsiteY8" fmla="*/ 32989 h 79918"/>
                  <a:gd name="connsiteX9" fmla="*/ 58589 w 67390"/>
                  <a:gd name="connsiteY9" fmla="*/ 79919 h 79918"/>
                  <a:gd name="connsiteX10" fmla="*/ 42338 w 67390"/>
                  <a:gd name="connsiteY10" fmla="*/ 77077 h 79918"/>
                  <a:gd name="connsiteX11" fmla="*/ 44670 w 67390"/>
                  <a:gd name="connsiteY11" fmla="*/ 63522 h 79918"/>
                  <a:gd name="connsiteX12" fmla="*/ 44306 w 67390"/>
                  <a:gd name="connsiteY12" fmla="*/ 63522 h 79918"/>
                  <a:gd name="connsiteX13" fmla="*/ 18509 w 67390"/>
                  <a:gd name="connsiteY13" fmla="*/ 74235 h 79918"/>
                  <a:gd name="connsiteX14" fmla="*/ 437 w 67390"/>
                  <a:gd name="connsiteY14" fmla="*/ 49239 h 79918"/>
                  <a:gd name="connsiteX15" fmla="*/ 26671 w 67390"/>
                  <a:gd name="connsiteY15" fmla="*/ 62502 h 79918"/>
                  <a:gd name="connsiteX16" fmla="*/ 46711 w 67390"/>
                  <a:gd name="connsiteY16" fmla="*/ 48657 h 79918"/>
                  <a:gd name="connsiteX17" fmla="*/ 47513 w 67390"/>
                  <a:gd name="connsiteY17" fmla="*/ 43920 h 79918"/>
                  <a:gd name="connsiteX18" fmla="*/ 37164 w 67390"/>
                  <a:gd name="connsiteY18" fmla="*/ 42098 h 79918"/>
                  <a:gd name="connsiteX19" fmla="*/ 17343 w 67390"/>
                  <a:gd name="connsiteY19" fmla="*/ 50697 h 79918"/>
                  <a:gd name="connsiteX20" fmla="*/ 26598 w 67390"/>
                  <a:gd name="connsiteY20" fmla="*/ 62429 h 7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390" h="79918">
                    <a:moveTo>
                      <a:pt x="291" y="49458"/>
                    </a:moveTo>
                    <a:cubicBezTo>
                      <a:pt x="2988" y="33791"/>
                      <a:pt x="17052" y="28690"/>
                      <a:pt x="35999" y="31969"/>
                    </a:cubicBezTo>
                    <a:lnTo>
                      <a:pt x="49188" y="34228"/>
                    </a:lnTo>
                    <a:lnTo>
                      <a:pt x="49917" y="30001"/>
                    </a:lnTo>
                    <a:cubicBezTo>
                      <a:pt x="51447" y="21184"/>
                      <a:pt x="48022" y="15646"/>
                      <a:pt x="39132" y="14115"/>
                    </a:cubicBezTo>
                    <a:cubicBezTo>
                      <a:pt x="30898" y="12658"/>
                      <a:pt x="24485" y="15208"/>
                      <a:pt x="18946" y="20164"/>
                    </a:cubicBezTo>
                    <a:lnTo>
                      <a:pt x="10639" y="8431"/>
                    </a:lnTo>
                    <a:cubicBezTo>
                      <a:pt x="18655" y="2237"/>
                      <a:pt x="28711" y="-1771"/>
                      <a:pt x="43359" y="780"/>
                    </a:cubicBezTo>
                    <a:cubicBezTo>
                      <a:pt x="61868" y="3986"/>
                      <a:pt x="69811" y="15354"/>
                      <a:pt x="66750" y="32989"/>
                    </a:cubicBezTo>
                    <a:lnTo>
                      <a:pt x="58589" y="79919"/>
                    </a:lnTo>
                    <a:lnTo>
                      <a:pt x="42338" y="77077"/>
                    </a:lnTo>
                    <a:lnTo>
                      <a:pt x="44670" y="63522"/>
                    </a:lnTo>
                    <a:lnTo>
                      <a:pt x="44306" y="63522"/>
                    </a:lnTo>
                    <a:cubicBezTo>
                      <a:pt x="38039" y="72850"/>
                      <a:pt x="29950" y="76275"/>
                      <a:pt x="18509" y="74235"/>
                    </a:cubicBezTo>
                    <a:cubicBezTo>
                      <a:pt x="5757" y="72048"/>
                      <a:pt x="-1968" y="62867"/>
                      <a:pt x="437" y="49239"/>
                    </a:cubicBezTo>
                    <a:close/>
                    <a:moveTo>
                      <a:pt x="26671" y="62502"/>
                    </a:moveTo>
                    <a:cubicBezTo>
                      <a:pt x="37529" y="64397"/>
                      <a:pt x="45181" y="57255"/>
                      <a:pt x="46711" y="48657"/>
                    </a:cubicBezTo>
                    <a:lnTo>
                      <a:pt x="47513" y="43920"/>
                    </a:lnTo>
                    <a:lnTo>
                      <a:pt x="37164" y="42098"/>
                    </a:lnTo>
                    <a:cubicBezTo>
                      <a:pt x="27473" y="40422"/>
                      <a:pt x="18946" y="41588"/>
                      <a:pt x="17343" y="50697"/>
                    </a:cubicBezTo>
                    <a:cubicBezTo>
                      <a:pt x="16323" y="56745"/>
                      <a:pt x="19748" y="61190"/>
                      <a:pt x="26598" y="6242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65" name="Freeform 118">
                <a:extLst>
                  <a:ext uri="{FF2B5EF4-FFF2-40B4-BE49-F238E27FC236}">
                    <a16:creationId xmlns:a16="http://schemas.microsoft.com/office/drawing/2014/main" id="{5997D697-0B84-B1A1-A35C-C2C105266A84}"/>
                  </a:ext>
                </a:extLst>
              </p:cNvPr>
              <p:cNvSpPr/>
              <p:nvPr/>
            </p:nvSpPr>
            <p:spPr>
              <a:xfrm>
                <a:off x="6649592" y="2386840"/>
                <a:ext cx="36732" cy="104659"/>
              </a:xfrm>
              <a:custGeom>
                <a:avLst/>
                <a:gdLst>
                  <a:gd name="connsiteX0" fmla="*/ 14137 w 36732"/>
                  <a:gd name="connsiteY0" fmla="*/ 28727 h 104659"/>
                  <a:gd name="connsiteX1" fmla="*/ 30898 w 36732"/>
                  <a:gd name="connsiteY1" fmla="*/ 32006 h 104659"/>
                  <a:gd name="connsiteX2" fmla="*/ 16760 w 36732"/>
                  <a:gd name="connsiteY2" fmla="*/ 104659 h 104659"/>
                  <a:gd name="connsiteX3" fmla="*/ 0 w 36732"/>
                  <a:gd name="connsiteY3" fmla="*/ 101380 h 104659"/>
                  <a:gd name="connsiteX4" fmla="*/ 14137 w 36732"/>
                  <a:gd name="connsiteY4" fmla="*/ 28727 h 104659"/>
                  <a:gd name="connsiteX5" fmla="*/ 28347 w 36732"/>
                  <a:gd name="connsiteY5" fmla="*/ 234 h 104659"/>
                  <a:gd name="connsiteX6" fmla="*/ 36509 w 36732"/>
                  <a:gd name="connsiteY6" fmla="*/ 12112 h 104659"/>
                  <a:gd name="connsiteX7" fmla="*/ 24485 w 36732"/>
                  <a:gd name="connsiteY7" fmla="*/ 19982 h 104659"/>
                  <a:gd name="connsiteX8" fmla="*/ 16396 w 36732"/>
                  <a:gd name="connsiteY8" fmla="*/ 8177 h 104659"/>
                  <a:gd name="connsiteX9" fmla="*/ 28347 w 36732"/>
                  <a:gd name="connsiteY9" fmla="*/ 234 h 104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32" h="104659">
                    <a:moveTo>
                      <a:pt x="14137" y="28727"/>
                    </a:moveTo>
                    <a:lnTo>
                      <a:pt x="30898" y="32006"/>
                    </a:lnTo>
                    <a:lnTo>
                      <a:pt x="16760" y="104659"/>
                    </a:lnTo>
                    <a:lnTo>
                      <a:pt x="0" y="101380"/>
                    </a:lnTo>
                    <a:lnTo>
                      <a:pt x="14137" y="28727"/>
                    </a:lnTo>
                    <a:close/>
                    <a:moveTo>
                      <a:pt x="28347" y="234"/>
                    </a:moveTo>
                    <a:cubicBezTo>
                      <a:pt x="34177" y="1400"/>
                      <a:pt x="37675" y="6209"/>
                      <a:pt x="36509" y="12112"/>
                    </a:cubicBezTo>
                    <a:cubicBezTo>
                      <a:pt x="35343" y="17942"/>
                      <a:pt x="30315" y="21148"/>
                      <a:pt x="24485" y="19982"/>
                    </a:cubicBezTo>
                    <a:cubicBezTo>
                      <a:pt x="18655" y="18816"/>
                      <a:pt x="15230" y="14079"/>
                      <a:pt x="16396" y="8177"/>
                    </a:cubicBezTo>
                    <a:cubicBezTo>
                      <a:pt x="17562" y="2347"/>
                      <a:pt x="22518" y="-932"/>
                      <a:pt x="28347" y="234"/>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66" name="Freeform 119">
                <a:extLst>
                  <a:ext uri="{FF2B5EF4-FFF2-40B4-BE49-F238E27FC236}">
                    <a16:creationId xmlns:a16="http://schemas.microsoft.com/office/drawing/2014/main" id="{7DEC7850-AC14-09E8-0CCB-A6EA468988DC}"/>
                  </a:ext>
                </a:extLst>
              </p:cNvPr>
              <p:cNvSpPr/>
              <p:nvPr/>
            </p:nvSpPr>
            <p:spPr>
              <a:xfrm>
                <a:off x="6686392" y="2422927"/>
                <a:ext cx="73971" cy="85915"/>
              </a:xfrm>
              <a:custGeom>
                <a:avLst/>
                <a:gdLst>
                  <a:gd name="connsiteX0" fmla="*/ 15595 w 73971"/>
                  <a:gd name="connsiteY0" fmla="*/ 146 h 85915"/>
                  <a:gd name="connsiteX1" fmla="*/ 31772 w 73971"/>
                  <a:gd name="connsiteY1" fmla="*/ 3644 h 85915"/>
                  <a:gd name="connsiteX2" fmla="*/ 28493 w 73971"/>
                  <a:gd name="connsiteY2" fmla="*/ 18801 h 85915"/>
                  <a:gd name="connsiteX3" fmla="*/ 28784 w 73971"/>
                  <a:gd name="connsiteY3" fmla="*/ 18801 h 85915"/>
                  <a:gd name="connsiteX4" fmla="*/ 56111 w 73971"/>
                  <a:gd name="connsiteY4" fmla="*/ 7433 h 85915"/>
                  <a:gd name="connsiteX5" fmla="*/ 72945 w 73971"/>
                  <a:gd name="connsiteY5" fmla="*/ 38258 h 85915"/>
                  <a:gd name="connsiteX6" fmla="*/ 62597 w 73971"/>
                  <a:gd name="connsiteY6" fmla="*/ 85916 h 85915"/>
                  <a:gd name="connsiteX7" fmla="*/ 45909 w 73971"/>
                  <a:gd name="connsiteY7" fmla="*/ 82272 h 85915"/>
                  <a:gd name="connsiteX8" fmla="*/ 55383 w 73971"/>
                  <a:gd name="connsiteY8" fmla="*/ 38622 h 85915"/>
                  <a:gd name="connsiteX9" fmla="*/ 45691 w 73971"/>
                  <a:gd name="connsiteY9" fmla="*/ 20186 h 85915"/>
                  <a:gd name="connsiteX10" fmla="*/ 25505 w 73971"/>
                  <a:gd name="connsiteY10" fmla="*/ 35416 h 85915"/>
                  <a:gd name="connsiteX11" fmla="*/ 16688 w 73971"/>
                  <a:gd name="connsiteY11" fmla="*/ 75933 h 85915"/>
                  <a:gd name="connsiteX12" fmla="*/ 0 w 73971"/>
                  <a:gd name="connsiteY12" fmla="*/ 72289 h 85915"/>
                  <a:gd name="connsiteX13" fmla="*/ 15668 w 73971"/>
                  <a:gd name="connsiteY13" fmla="*/ 0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971" h="85915">
                    <a:moveTo>
                      <a:pt x="15595" y="146"/>
                    </a:moveTo>
                    <a:lnTo>
                      <a:pt x="31772" y="3644"/>
                    </a:lnTo>
                    <a:lnTo>
                      <a:pt x="28493" y="18801"/>
                    </a:lnTo>
                    <a:lnTo>
                      <a:pt x="28784" y="18801"/>
                    </a:lnTo>
                    <a:cubicBezTo>
                      <a:pt x="33886" y="11295"/>
                      <a:pt x="42266" y="4445"/>
                      <a:pt x="56111" y="7433"/>
                    </a:cubicBezTo>
                    <a:cubicBezTo>
                      <a:pt x="71633" y="10785"/>
                      <a:pt x="76297" y="22882"/>
                      <a:pt x="72945" y="38258"/>
                    </a:cubicBezTo>
                    <a:lnTo>
                      <a:pt x="62597" y="85916"/>
                    </a:lnTo>
                    <a:lnTo>
                      <a:pt x="45909" y="82272"/>
                    </a:lnTo>
                    <a:lnTo>
                      <a:pt x="55383" y="38622"/>
                    </a:lnTo>
                    <a:cubicBezTo>
                      <a:pt x="57496" y="28930"/>
                      <a:pt x="55383" y="22299"/>
                      <a:pt x="45691" y="20186"/>
                    </a:cubicBezTo>
                    <a:cubicBezTo>
                      <a:pt x="35707" y="17999"/>
                      <a:pt x="28128" y="23319"/>
                      <a:pt x="25505" y="35416"/>
                    </a:cubicBezTo>
                    <a:lnTo>
                      <a:pt x="16688" y="75933"/>
                    </a:lnTo>
                    <a:lnTo>
                      <a:pt x="0" y="72289"/>
                    </a:lnTo>
                    <a:lnTo>
                      <a:pt x="15668"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67" name="Freeform 120">
                <a:extLst>
                  <a:ext uri="{FF2B5EF4-FFF2-40B4-BE49-F238E27FC236}">
                    <a16:creationId xmlns:a16="http://schemas.microsoft.com/office/drawing/2014/main" id="{E0D92EFF-880D-252C-6A03-C79DFC8D108D}"/>
                  </a:ext>
                </a:extLst>
              </p:cNvPr>
              <p:cNvSpPr/>
              <p:nvPr/>
            </p:nvSpPr>
            <p:spPr>
              <a:xfrm>
                <a:off x="6768125" y="2445995"/>
                <a:ext cx="69385" cy="81576"/>
              </a:xfrm>
              <a:custGeom>
                <a:avLst/>
                <a:gdLst>
                  <a:gd name="connsiteX0" fmla="*/ 758 w 69385"/>
                  <a:gd name="connsiteY0" fmla="*/ 46962 h 81576"/>
                  <a:gd name="connsiteX1" fmla="*/ 37631 w 69385"/>
                  <a:gd name="connsiteY1" fmla="*/ 32096 h 81576"/>
                  <a:gd name="connsiteX2" fmla="*/ 50602 w 69385"/>
                  <a:gd name="connsiteY2" fmla="*/ 35303 h 81576"/>
                  <a:gd name="connsiteX3" fmla="*/ 51622 w 69385"/>
                  <a:gd name="connsiteY3" fmla="*/ 31149 h 81576"/>
                  <a:gd name="connsiteX4" fmla="*/ 42003 w 69385"/>
                  <a:gd name="connsiteY4" fmla="*/ 14534 h 81576"/>
                  <a:gd name="connsiteX5" fmla="*/ 21454 w 69385"/>
                  <a:gd name="connsiteY5" fmla="*/ 19052 h 81576"/>
                  <a:gd name="connsiteX6" fmla="*/ 14020 w 69385"/>
                  <a:gd name="connsiteY6" fmla="*/ 6737 h 81576"/>
                  <a:gd name="connsiteX7" fmla="*/ 47177 w 69385"/>
                  <a:gd name="connsiteY7" fmla="*/ 1490 h 81576"/>
                  <a:gd name="connsiteX8" fmla="*/ 68164 w 69385"/>
                  <a:gd name="connsiteY8" fmla="*/ 35303 h 81576"/>
                  <a:gd name="connsiteX9" fmla="*/ 56650 w 69385"/>
                  <a:gd name="connsiteY9" fmla="*/ 81576 h 81576"/>
                  <a:gd name="connsiteX10" fmla="*/ 40619 w 69385"/>
                  <a:gd name="connsiteY10" fmla="*/ 77568 h 81576"/>
                  <a:gd name="connsiteX11" fmla="*/ 43971 w 69385"/>
                  <a:gd name="connsiteY11" fmla="*/ 64233 h 81576"/>
                  <a:gd name="connsiteX12" fmla="*/ 43606 w 69385"/>
                  <a:gd name="connsiteY12" fmla="*/ 64233 h 81576"/>
                  <a:gd name="connsiteX13" fmla="*/ 17081 w 69385"/>
                  <a:gd name="connsiteY13" fmla="*/ 73050 h 81576"/>
                  <a:gd name="connsiteX14" fmla="*/ 831 w 69385"/>
                  <a:gd name="connsiteY14" fmla="*/ 46817 h 81576"/>
                  <a:gd name="connsiteX15" fmla="*/ 26117 w 69385"/>
                  <a:gd name="connsiteY15" fmla="*/ 61828 h 81576"/>
                  <a:gd name="connsiteX16" fmla="*/ 47104 w 69385"/>
                  <a:gd name="connsiteY16" fmla="*/ 49513 h 81576"/>
                  <a:gd name="connsiteX17" fmla="*/ 48270 w 69385"/>
                  <a:gd name="connsiteY17" fmla="*/ 44849 h 81576"/>
                  <a:gd name="connsiteX18" fmla="*/ 38068 w 69385"/>
                  <a:gd name="connsiteY18" fmla="*/ 42298 h 81576"/>
                  <a:gd name="connsiteX19" fmla="*/ 17664 w 69385"/>
                  <a:gd name="connsiteY19" fmla="*/ 49513 h 81576"/>
                  <a:gd name="connsiteX20" fmla="*/ 26117 w 69385"/>
                  <a:gd name="connsiteY20" fmla="*/ 61828 h 81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385" h="81576">
                    <a:moveTo>
                      <a:pt x="758" y="46962"/>
                    </a:moveTo>
                    <a:cubicBezTo>
                      <a:pt x="4620" y="31514"/>
                      <a:pt x="18976" y="27433"/>
                      <a:pt x="37631" y="32096"/>
                    </a:cubicBezTo>
                    <a:lnTo>
                      <a:pt x="50602" y="35303"/>
                    </a:lnTo>
                    <a:lnTo>
                      <a:pt x="51622" y="31149"/>
                    </a:lnTo>
                    <a:cubicBezTo>
                      <a:pt x="53809" y="22477"/>
                      <a:pt x="50748" y="16721"/>
                      <a:pt x="42003" y="14534"/>
                    </a:cubicBezTo>
                    <a:cubicBezTo>
                      <a:pt x="33841" y="12494"/>
                      <a:pt x="27283" y="14534"/>
                      <a:pt x="21454" y="19052"/>
                    </a:cubicBezTo>
                    <a:lnTo>
                      <a:pt x="14020" y="6737"/>
                    </a:lnTo>
                    <a:cubicBezTo>
                      <a:pt x="22473" y="1199"/>
                      <a:pt x="32822" y="-2081"/>
                      <a:pt x="47177" y="1490"/>
                    </a:cubicBezTo>
                    <a:cubicBezTo>
                      <a:pt x="65395" y="6008"/>
                      <a:pt x="72464" y="17887"/>
                      <a:pt x="68164" y="35303"/>
                    </a:cubicBezTo>
                    <a:lnTo>
                      <a:pt x="56650" y="81576"/>
                    </a:lnTo>
                    <a:lnTo>
                      <a:pt x="40619" y="77568"/>
                    </a:lnTo>
                    <a:lnTo>
                      <a:pt x="43971" y="64233"/>
                    </a:lnTo>
                    <a:lnTo>
                      <a:pt x="43606" y="64233"/>
                    </a:lnTo>
                    <a:cubicBezTo>
                      <a:pt x="36684" y="73050"/>
                      <a:pt x="28376" y="75892"/>
                      <a:pt x="17081" y="73050"/>
                    </a:cubicBezTo>
                    <a:cubicBezTo>
                      <a:pt x="4547" y="69917"/>
                      <a:pt x="-2522" y="60225"/>
                      <a:pt x="831" y="46817"/>
                    </a:cubicBezTo>
                    <a:close/>
                    <a:moveTo>
                      <a:pt x="26117" y="61828"/>
                    </a:moveTo>
                    <a:cubicBezTo>
                      <a:pt x="36829" y="64524"/>
                      <a:pt x="44991" y="57966"/>
                      <a:pt x="47104" y="49513"/>
                    </a:cubicBezTo>
                    <a:lnTo>
                      <a:pt x="48270" y="44849"/>
                    </a:lnTo>
                    <a:lnTo>
                      <a:pt x="38068" y="42298"/>
                    </a:lnTo>
                    <a:cubicBezTo>
                      <a:pt x="28522" y="39894"/>
                      <a:pt x="19923" y="40477"/>
                      <a:pt x="17664" y="49513"/>
                    </a:cubicBezTo>
                    <a:cubicBezTo>
                      <a:pt x="16207" y="55488"/>
                      <a:pt x="19340" y="60152"/>
                      <a:pt x="26117" y="61828"/>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68" name="Freeform 121">
                <a:extLst>
                  <a:ext uri="{FF2B5EF4-FFF2-40B4-BE49-F238E27FC236}">
                    <a16:creationId xmlns:a16="http://schemas.microsoft.com/office/drawing/2014/main" id="{5E2018E5-E502-396E-21D1-48DD085A3E14}"/>
                  </a:ext>
                </a:extLst>
              </p:cNvPr>
              <p:cNvSpPr/>
              <p:nvPr/>
            </p:nvSpPr>
            <p:spPr>
              <a:xfrm>
                <a:off x="6843577" y="2435534"/>
                <a:ext cx="83653" cy="111151"/>
              </a:xfrm>
              <a:custGeom>
                <a:avLst/>
                <a:gdLst>
                  <a:gd name="connsiteX0" fmla="*/ 20331 w 83653"/>
                  <a:gd name="connsiteY0" fmla="*/ 86936 h 111151"/>
                  <a:gd name="connsiteX1" fmla="*/ 20113 w 83653"/>
                  <a:gd name="connsiteY1" fmla="*/ 86936 h 111151"/>
                  <a:gd name="connsiteX2" fmla="*/ 15959 w 83653"/>
                  <a:gd name="connsiteY2" fmla="*/ 101510 h 111151"/>
                  <a:gd name="connsiteX3" fmla="*/ 0 w 83653"/>
                  <a:gd name="connsiteY3" fmla="*/ 96992 h 111151"/>
                  <a:gd name="connsiteX4" fmla="*/ 27327 w 83653"/>
                  <a:gd name="connsiteY4" fmla="*/ 0 h 111151"/>
                  <a:gd name="connsiteX5" fmla="*/ 43796 w 83653"/>
                  <a:gd name="connsiteY5" fmla="*/ 4664 h 111151"/>
                  <a:gd name="connsiteX6" fmla="*/ 32501 w 83653"/>
                  <a:gd name="connsiteY6" fmla="*/ 44598 h 111151"/>
                  <a:gd name="connsiteX7" fmla="*/ 32792 w 83653"/>
                  <a:gd name="connsiteY7" fmla="*/ 44598 h 111151"/>
                  <a:gd name="connsiteX8" fmla="*/ 62232 w 83653"/>
                  <a:gd name="connsiteY8" fmla="*/ 36290 h 111151"/>
                  <a:gd name="connsiteX9" fmla="*/ 81398 w 83653"/>
                  <a:gd name="connsiteY9" fmla="*/ 81544 h 111151"/>
                  <a:gd name="connsiteX10" fmla="*/ 40808 w 83653"/>
                  <a:gd name="connsiteY10" fmla="*/ 109891 h 111151"/>
                  <a:gd name="connsiteX11" fmla="*/ 20113 w 83653"/>
                  <a:gd name="connsiteY11" fmla="*/ 86863 h 111151"/>
                  <a:gd name="connsiteX12" fmla="*/ 38695 w 83653"/>
                  <a:gd name="connsiteY12" fmla="*/ 94952 h 111151"/>
                  <a:gd name="connsiteX13" fmla="*/ 64346 w 83653"/>
                  <a:gd name="connsiteY13" fmla="*/ 76734 h 111151"/>
                  <a:gd name="connsiteX14" fmla="*/ 51958 w 83653"/>
                  <a:gd name="connsiteY14" fmla="*/ 47804 h 111151"/>
                  <a:gd name="connsiteX15" fmla="*/ 26380 w 83653"/>
                  <a:gd name="connsiteY15" fmla="*/ 66022 h 111151"/>
                  <a:gd name="connsiteX16" fmla="*/ 38695 w 83653"/>
                  <a:gd name="connsiteY16" fmla="*/ 94879 h 11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653" h="111151">
                    <a:moveTo>
                      <a:pt x="20331" y="86936"/>
                    </a:moveTo>
                    <a:lnTo>
                      <a:pt x="20113" y="86936"/>
                    </a:lnTo>
                    <a:cubicBezTo>
                      <a:pt x="20113" y="86936"/>
                      <a:pt x="15959" y="101510"/>
                      <a:pt x="15959" y="101510"/>
                    </a:cubicBezTo>
                    <a:lnTo>
                      <a:pt x="0" y="96992"/>
                    </a:lnTo>
                    <a:lnTo>
                      <a:pt x="27327" y="0"/>
                    </a:lnTo>
                    <a:lnTo>
                      <a:pt x="43796" y="4664"/>
                    </a:lnTo>
                    <a:lnTo>
                      <a:pt x="32501" y="44598"/>
                    </a:lnTo>
                    <a:lnTo>
                      <a:pt x="32792" y="44598"/>
                    </a:lnTo>
                    <a:cubicBezTo>
                      <a:pt x="38477" y="37602"/>
                      <a:pt x="48460" y="32428"/>
                      <a:pt x="62232" y="36290"/>
                    </a:cubicBezTo>
                    <a:cubicBezTo>
                      <a:pt x="80742" y="41464"/>
                      <a:pt x="87665" y="59391"/>
                      <a:pt x="81398" y="81544"/>
                    </a:cubicBezTo>
                    <a:cubicBezTo>
                      <a:pt x="74913" y="104425"/>
                      <a:pt x="58881" y="114992"/>
                      <a:pt x="40808" y="109891"/>
                    </a:cubicBezTo>
                    <a:cubicBezTo>
                      <a:pt x="25796" y="105664"/>
                      <a:pt x="21278" y="96045"/>
                      <a:pt x="20113" y="86863"/>
                    </a:cubicBezTo>
                    <a:close/>
                    <a:moveTo>
                      <a:pt x="38695" y="94952"/>
                    </a:moveTo>
                    <a:cubicBezTo>
                      <a:pt x="49772" y="98085"/>
                      <a:pt x="60046" y="92037"/>
                      <a:pt x="64346" y="76734"/>
                    </a:cubicBezTo>
                    <a:cubicBezTo>
                      <a:pt x="68645" y="61358"/>
                      <a:pt x="63034" y="50937"/>
                      <a:pt x="51958" y="47804"/>
                    </a:cubicBezTo>
                    <a:cubicBezTo>
                      <a:pt x="40881" y="44670"/>
                      <a:pt x="30752" y="50646"/>
                      <a:pt x="26380" y="66022"/>
                    </a:cubicBezTo>
                    <a:cubicBezTo>
                      <a:pt x="22080" y="81325"/>
                      <a:pt x="27618" y="91819"/>
                      <a:pt x="38695" y="9487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69" name="Freeform 122">
                <a:extLst>
                  <a:ext uri="{FF2B5EF4-FFF2-40B4-BE49-F238E27FC236}">
                    <a16:creationId xmlns:a16="http://schemas.microsoft.com/office/drawing/2014/main" id="{CB03BFB1-D95F-8AA4-862E-1DBACDFE82A5}"/>
                  </a:ext>
                </a:extLst>
              </p:cNvPr>
              <p:cNvSpPr/>
              <p:nvPr/>
            </p:nvSpPr>
            <p:spPr>
              <a:xfrm>
                <a:off x="6933464" y="2461039"/>
                <a:ext cx="42229" cy="104862"/>
              </a:xfrm>
              <a:custGeom>
                <a:avLst/>
                <a:gdLst>
                  <a:gd name="connsiteX0" fmla="*/ 1494 w 42229"/>
                  <a:gd name="connsiteY0" fmla="*/ 78920 h 104862"/>
                  <a:gd name="connsiteX1" fmla="*/ 25833 w 42229"/>
                  <a:gd name="connsiteY1" fmla="*/ 0 h 104862"/>
                  <a:gd name="connsiteX2" fmla="*/ 42230 w 42229"/>
                  <a:gd name="connsiteY2" fmla="*/ 5028 h 104862"/>
                  <a:gd name="connsiteX3" fmla="*/ 18765 w 42229"/>
                  <a:gd name="connsiteY3" fmla="*/ 81106 h 104862"/>
                  <a:gd name="connsiteX4" fmla="*/ 22481 w 42229"/>
                  <a:gd name="connsiteY4" fmla="*/ 90361 h 104862"/>
                  <a:gd name="connsiteX5" fmla="*/ 28311 w 42229"/>
                  <a:gd name="connsiteY5" fmla="*/ 91381 h 104862"/>
                  <a:gd name="connsiteX6" fmla="*/ 24158 w 42229"/>
                  <a:gd name="connsiteY6" fmla="*/ 104863 h 104862"/>
                  <a:gd name="connsiteX7" fmla="*/ 14174 w 42229"/>
                  <a:gd name="connsiteY7" fmla="*/ 103041 h 104862"/>
                  <a:gd name="connsiteX8" fmla="*/ 1494 w 42229"/>
                  <a:gd name="connsiteY8" fmla="*/ 78847 h 1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229" h="104862">
                    <a:moveTo>
                      <a:pt x="1494" y="78920"/>
                    </a:moveTo>
                    <a:lnTo>
                      <a:pt x="25833" y="0"/>
                    </a:lnTo>
                    <a:lnTo>
                      <a:pt x="42230" y="5028"/>
                    </a:lnTo>
                    <a:lnTo>
                      <a:pt x="18765" y="81106"/>
                    </a:lnTo>
                    <a:cubicBezTo>
                      <a:pt x="17089" y="86572"/>
                      <a:pt x="17745" y="88904"/>
                      <a:pt x="22481" y="90361"/>
                    </a:cubicBezTo>
                    <a:cubicBezTo>
                      <a:pt x="24449" y="90944"/>
                      <a:pt x="26344" y="91163"/>
                      <a:pt x="28311" y="91381"/>
                    </a:cubicBezTo>
                    <a:lnTo>
                      <a:pt x="24158" y="104863"/>
                    </a:lnTo>
                    <a:cubicBezTo>
                      <a:pt x="21388" y="104717"/>
                      <a:pt x="17745" y="104134"/>
                      <a:pt x="14174" y="103041"/>
                    </a:cubicBezTo>
                    <a:cubicBezTo>
                      <a:pt x="838" y="98960"/>
                      <a:pt x="-2295" y="91017"/>
                      <a:pt x="1494" y="78847"/>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70" name="Freeform 123">
                <a:extLst>
                  <a:ext uri="{FF2B5EF4-FFF2-40B4-BE49-F238E27FC236}">
                    <a16:creationId xmlns:a16="http://schemas.microsoft.com/office/drawing/2014/main" id="{CBB6DC91-D326-B43C-9CAF-3064D50799B2}"/>
                  </a:ext>
                </a:extLst>
              </p:cNvPr>
              <p:cNvSpPr/>
              <p:nvPr/>
            </p:nvSpPr>
            <p:spPr>
              <a:xfrm>
                <a:off x="6975092" y="2506409"/>
                <a:ext cx="73031" cy="78361"/>
              </a:xfrm>
              <a:custGeom>
                <a:avLst/>
                <a:gdLst>
                  <a:gd name="connsiteX0" fmla="*/ 2714 w 73031"/>
                  <a:gd name="connsiteY0" fmla="*/ 26992 h 78361"/>
                  <a:gd name="connsiteX1" fmla="*/ 50081 w 73031"/>
                  <a:gd name="connsiteY1" fmla="*/ 2288 h 78361"/>
                  <a:gd name="connsiteX2" fmla="*/ 70486 w 73031"/>
                  <a:gd name="connsiteY2" fmla="*/ 47177 h 78361"/>
                  <a:gd name="connsiteX3" fmla="*/ 68154 w 73031"/>
                  <a:gd name="connsiteY3" fmla="*/ 53226 h 78361"/>
                  <a:gd name="connsiteX4" fmla="*/ 18528 w 73031"/>
                  <a:gd name="connsiteY4" fmla="*/ 36684 h 78361"/>
                  <a:gd name="connsiteX5" fmla="*/ 32228 w 73031"/>
                  <a:gd name="connsiteY5" fmla="*/ 63136 h 78361"/>
                  <a:gd name="connsiteX6" fmla="*/ 52705 w 73031"/>
                  <a:gd name="connsiteY6" fmla="*/ 61242 h 78361"/>
                  <a:gd name="connsiteX7" fmla="*/ 58972 w 73031"/>
                  <a:gd name="connsiteY7" fmla="*/ 73776 h 78361"/>
                  <a:gd name="connsiteX8" fmla="*/ 27200 w 73031"/>
                  <a:gd name="connsiteY8" fmla="*/ 75524 h 78361"/>
                  <a:gd name="connsiteX9" fmla="*/ 2642 w 73031"/>
                  <a:gd name="connsiteY9" fmla="*/ 26919 h 78361"/>
                  <a:gd name="connsiteX10" fmla="*/ 55619 w 73031"/>
                  <a:gd name="connsiteY10" fmla="*/ 37850 h 78361"/>
                  <a:gd name="connsiteX11" fmla="*/ 45490 w 73031"/>
                  <a:gd name="connsiteY11" fmla="*/ 14676 h 78361"/>
                  <a:gd name="connsiteX12" fmla="*/ 22099 w 73031"/>
                  <a:gd name="connsiteY12" fmla="*/ 26700 h 78361"/>
                  <a:gd name="connsiteX13" fmla="*/ 55619 w 73031"/>
                  <a:gd name="connsiteY13" fmla="*/ 37850 h 7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031" h="78361">
                    <a:moveTo>
                      <a:pt x="2714" y="26992"/>
                    </a:moveTo>
                    <a:cubicBezTo>
                      <a:pt x="10876" y="2580"/>
                      <a:pt x="30916" y="-4124"/>
                      <a:pt x="50081" y="2288"/>
                    </a:cubicBezTo>
                    <a:cubicBezTo>
                      <a:pt x="73546" y="10086"/>
                      <a:pt x="76169" y="30052"/>
                      <a:pt x="70486" y="47177"/>
                    </a:cubicBezTo>
                    <a:cubicBezTo>
                      <a:pt x="69830" y="49218"/>
                      <a:pt x="68955" y="51331"/>
                      <a:pt x="68154" y="53226"/>
                    </a:cubicBezTo>
                    <a:lnTo>
                      <a:pt x="18528" y="36684"/>
                    </a:lnTo>
                    <a:cubicBezTo>
                      <a:pt x="15249" y="50384"/>
                      <a:pt x="20058" y="59055"/>
                      <a:pt x="32228" y="63136"/>
                    </a:cubicBezTo>
                    <a:cubicBezTo>
                      <a:pt x="40098" y="65760"/>
                      <a:pt x="46146" y="65177"/>
                      <a:pt x="52705" y="61242"/>
                    </a:cubicBezTo>
                    <a:lnTo>
                      <a:pt x="58972" y="73776"/>
                    </a:lnTo>
                    <a:cubicBezTo>
                      <a:pt x="49936" y="78949"/>
                      <a:pt x="40681" y="80042"/>
                      <a:pt x="27200" y="75524"/>
                    </a:cubicBezTo>
                    <a:cubicBezTo>
                      <a:pt x="4682" y="68019"/>
                      <a:pt x="-5155" y="50456"/>
                      <a:pt x="2642" y="26919"/>
                    </a:cubicBezTo>
                    <a:close/>
                    <a:moveTo>
                      <a:pt x="55619" y="37850"/>
                    </a:moveTo>
                    <a:cubicBezTo>
                      <a:pt x="58826" y="25170"/>
                      <a:pt x="54599" y="17737"/>
                      <a:pt x="45490" y="14676"/>
                    </a:cubicBezTo>
                    <a:cubicBezTo>
                      <a:pt x="36527" y="11689"/>
                      <a:pt x="27855" y="14895"/>
                      <a:pt x="22099" y="26700"/>
                    </a:cubicBezTo>
                    <a:lnTo>
                      <a:pt x="55619" y="3785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71" name="Freeform 124">
                <a:extLst>
                  <a:ext uri="{FF2B5EF4-FFF2-40B4-BE49-F238E27FC236}">
                    <a16:creationId xmlns:a16="http://schemas.microsoft.com/office/drawing/2014/main" id="{89AB4468-11B0-5987-22AE-44268729309F}"/>
                  </a:ext>
                </a:extLst>
              </p:cNvPr>
              <p:cNvSpPr/>
              <p:nvPr/>
            </p:nvSpPr>
            <p:spPr>
              <a:xfrm>
                <a:off x="7215991" y="2601283"/>
                <a:ext cx="41780" cy="41822"/>
              </a:xfrm>
              <a:custGeom>
                <a:avLst/>
                <a:gdLst>
                  <a:gd name="connsiteX0" fmla="*/ 1856 w 41780"/>
                  <a:gd name="connsiteY0" fmla="*/ 12641 h 41822"/>
                  <a:gd name="connsiteX1" fmla="*/ 29110 w 41780"/>
                  <a:gd name="connsiteY1" fmla="*/ 1856 h 41822"/>
                  <a:gd name="connsiteX2" fmla="*/ 39968 w 41780"/>
                  <a:gd name="connsiteY2" fmla="*/ 29110 h 41822"/>
                  <a:gd name="connsiteX3" fmla="*/ 12641 w 41780"/>
                  <a:gd name="connsiteY3" fmla="*/ 39968 h 41822"/>
                  <a:gd name="connsiteX4" fmla="*/ 1856 w 41780"/>
                  <a:gd name="connsiteY4" fmla="*/ 12641 h 41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780" h="41822">
                    <a:moveTo>
                      <a:pt x="1856" y="12641"/>
                    </a:moveTo>
                    <a:cubicBezTo>
                      <a:pt x="6593" y="1710"/>
                      <a:pt x="18252" y="-2880"/>
                      <a:pt x="29110" y="1856"/>
                    </a:cubicBezTo>
                    <a:cubicBezTo>
                      <a:pt x="40041" y="6593"/>
                      <a:pt x="44632" y="18179"/>
                      <a:pt x="39968" y="29110"/>
                    </a:cubicBezTo>
                    <a:cubicBezTo>
                      <a:pt x="35231" y="40114"/>
                      <a:pt x="23572" y="44705"/>
                      <a:pt x="12641" y="39968"/>
                    </a:cubicBezTo>
                    <a:cubicBezTo>
                      <a:pt x="1711" y="35231"/>
                      <a:pt x="-2880" y="23645"/>
                      <a:pt x="1856" y="12641"/>
                    </a:cubicBezTo>
                    <a:close/>
                  </a:path>
                </a:pathLst>
              </a:custGeom>
              <a:solidFill>
                <a:srgbClr val="A6E0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72" name="Freeform 125">
                <a:extLst>
                  <a:ext uri="{FF2B5EF4-FFF2-40B4-BE49-F238E27FC236}">
                    <a16:creationId xmlns:a16="http://schemas.microsoft.com/office/drawing/2014/main" id="{B316FE4A-AE5D-CBA8-0AED-4B7985DCB0BB}"/>
                  </a:ext>
                </a:extLst>
              </p:cNvPr>
              <p:cNvSpPr/>
              <p:nvPr/>
            </p:nvSpPr>
            <p:spPr>
              <a:xfrm>
                <a:off x="7404253" y="2667704"/>
                <a:ext cx="100547" cy="109583"/>
              </a:xfrm>
              <a:custGeom>
                <a:avLst/>
                <a:gdLst>
                  <a:gd name="connsiteX0" fmla="*/ 45327 w 100547"/>
                  <a:gd name="connsiteY0" fmla="*/ 73 h 109583"/>
                  <a:gd name="connsiteX1" fmla="*/ 79358 w 100547"/>
                  <a:gd name="connsiteY1" fmla="*/ 18437 h 109583"/>
                  <a:gd name="connsiteX2" fmla="*/ 97430 w 100547"/>
                  <a:gd name="connsiteY2" fmla="*/ 55091 h 109583"/>
                  <a:gd name="connsiteX3" fmla="*/ 72435 w 100547"/>
                  <a:gd name="connsiteY3" fmla="*/ 66459 h 109583"/>
                  <a:gd name="connsiteX4" fmla="*/ 79503 w 100547"/>
                  <a:gd name="connsiteY4" fmla="*/ 96045 h 109583"/>
                  <a:gd name="connsiteX5" fmla="*/ 35562 w 100547"/>
                  <a:gd name="connsiteY5" fmla="*/ 103041 h 109583"/>
                  <a:gd name="connsiteX6" fmla="*/ 0 w 100547"/>
                  <a:gd name="connsiteY6" fmla="*/ 83803 h 109583"/>
                  <a:gd name="connsiteX7" fmla="*/ 45254 w 100547"/>
                  <a:gd name="connsiteY7" fmla="*/ 0 h 109583"/>
                  <a:gd name="connsiteX8" fmla="*/ 41537 w 100547"/>
                  <a:gd name="connsiteY8" fmla="*/ 89487 h 109583"/>
                  <a:gd name="connsiteX9" fmla="*/ 64346 w 100547"/>
                  <a:gd name="connsiteY9" fmla="*/ 86134 h 109583"/>
                  <a:gd name="connsiteX10" fmla="*/ 54290 w 100547"/>
                  <a:gd name="connsiteY10" fmla="*/ 65585 h 109583"/>
                  <a:gd name="connsiteX11" fmla="*/ 35780 w 100547"/>
                  <a:gd name="connsiteY11" fmla="*/ 55601 h 109583"/>
                  <a:gd name="connsiteX12" fmla="*/ 22882 w 100547"/>
                  <a:gd name="connsiteY12" fmla="*/ 79430 h 109583"/>
                  <a:gd name="connsiteX13" fmla="*/ 41537 w 100547"/>
                  <a:gd name="connsiteY13" fmla="*/ 89487 h 109583"/>
                  <a:gd name="connsiteX14" fmla="*/ 59172 w 100547"/>
                  <a:gd name="connsiteY14" fmla="*/ 51885 h 109583"/>
                  <a:gd name="connsiteX15" fmla="*/ 80159 w 100547"/>
                  <a:gd name="connsiteY15" fmla="*/ 48678 h 109583"/>
                  <a:gd name="connsiteX16" fmla="*/ 71269 w 100547"/>
                  <a:gd name="connsiteY16" fmla="*/ 30898 h 109583"/>
                  <a:gd name="connsiteX17" fmla="*/ 54217 w 100547"/>
                  <a:gd name="connsiteY17" fmla="*/ 21643 h 109583"/>
                  <a:gd name="connsiteX18" fmla="*/ 42703 w 100547"/>
                  <a:gd name="connsiteY18" fmla="*/ 42921 h 109583"/>
                  <a:gd name="connsiteX19" fmla="*/ 59245 w 100547"/>
                  <a:gd name="connsiteY19" fmla="*/ 51885 h 10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547" h="109583">
                    <a:moveTo>
                      <a:pt x="45327" y="73"/>
                    </a:moveTo>
                    <a:lnTo>
                      <a:pt x="79358" y="18437"/>
                    </a:lnTo>
                    <a:cubicBezTo>
                      <a:pt x="98304" y="28639"/>
                      <a:pt x="105154" y="40735"/>
                      <a:pt x="97430" y="55091"/>
                    </a:cubicBezTo>
                    <a:cubicBezTo>
                      <a:pt x="92110" y="64929"/>
                      <a:pt x="83147" y="69301"/>
                      <a:pt x="72435" y="66459"/>
                    </a:cubicBezTo>
                    <a:cubicBezTo>
                      <a:pt x="82709" y="74038"/>
                      <a:pt x="85552" y="84823"/>
                      <a:pt x="79503" y="96045"/>
                    </a:cubicBezTo>
                    <a:cubicBezTo>
                      <a:pt x="70322" y="113024"/>
                      <a:pt x="52905" y="112441"/>
                      <a:pt x="35562" y="103041"/>
                    </a:cubicBezTo>
                    <a:lnTo>
                      <a:pt x="0" y="83803"/>
                    </a:lnTo>
                    <a:lnTo>
                      <a:pt x="45254" y="0"/>
                    </a:lnTo>
                    <a:close/>
                    <a:moveTo>
                      <a:pt x="41537" y="89487"/>
                    </a:moveTo>
                    <a:cubicBezTo>
                      <a:pt x="51083" y="94660"/>
                      <a:pt x="59172" y="95608"/>
                      <a:pt x="64346" y="86134"/>
                    </a:cubicBezTo>
                    <a:cubicBezTo>
                      <a:pt x="68645" y="78191"/>
                      <a:pt x="64637" y="71196"/>
                      <a:pt x="54290" y="65585"/>
                    </a:cubicBezTo>
                    <a:lnTo>
                      <a:pt x="35780" y="55601"/>
                    </a:lnTo>
                    <a:lnTo>
                      <a:pt x="22882" y="79430"/>
                    </a:lnTo>
                    <a:lnTo>
                      <a:pt x="41537" y="89487"/>
                    </a:lnTo>
                    <a:close/>
                    <a:moveTo>
                      <a:pt x="59172" y="51885"/>
                    </a:moveTo>
                    <a:cubicBezTo>
                      <a:pt x="70030" y="57714"/>
                      <a:pt x="76151" y="55966"/>
                      <a:pt x="80159" y="48678"/>
                    </a:cubicBezTo>
                    <a:cubicBezTo>
                      <a:pt x="84094" y="41391"/>
                      <a:pt x="80523" y="35926"/>
                      <a:pt x="71269" y="30898"/>
                    </a:cubicBezTo>
                    <a:lnTo>
                      <a:pt x="54217" y="21643"/>
                    </a:lnTo>
                    <a:lnTo>
                      <a:pt x="42703" y="42921"/>
                    </a:lnTo>
                    <a:lnTo>
                      <a:pt x="59245" y="518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73" name="Freeform 126">
                <a:extLst>
                  <a:ext uri="{FF2B5EF4-FFF2-40B4-BE49-F238E27FC236}">
                    <a16:creationId xmlns:a16="http://schemas.microsoft.com/office/drawing/2014/main" id="{163B1F0F-8BA3-8AE6-D20C-3E707A96EA0C}"/>
                  </a:ext>
                </a:extLst>
              </p:cNvPr>
              <p:cNvSpPr/>
              <p:nvPr/>
            </p:nvSpPr>
            <p:spPr>
              <a:xfrm>
                <a:off x="7490460" y="2730374"/>
                <a:ext cx="85041" cy="96336"/>
              </a:xfrm>
              <a:custGeom>
                <a:avLst/>
                <a:gdLst>
                  <a:gd name="connsiteX0" fmla="*/ 5029 w 85041"/>
                  <a:gd name="connsiteY0" fmla="*/ 42193 h 96336"/>
                  <a:gd name="connsiteX1" fmla="*/ 29586 w 85041"/>
                  <a:gd name="connsiteY1" fmla="*/ 0 h 96336"/>
                  <a:gd name="connsiteX2" fmla="*/ 44452 w 85041"/>
                  <a:gd name="connsiteY2" fmla="*/ 8672 h 96336"/>
                  <a:gd name="connsiteX3" fmla="*/ 21935 w 85041"/>
                  <a:gd name="connsiteY3" fmla="*/ 47367 h 96336"/>
                  <a:gd name="connsiteX4" fmla="*/ 25433 w 85041"/>
                  <a:gd name="connsiteY4" fmla="*/ 67844 h 96336"/>
                  <a:gd name="connsiteX5" fmla="*/ 49480 w 85041"/>
                  <a:gd name="connsiteY5" fmla="*/ 59536 h 96336"/>
                  <a:gd name="connsiteX6" fmla="*/ 70322 w 85041"/>
                  <a:gd name="connsiteY6" fmla="*/ 23756 h 96336"/>
                  <a:gd name="connsiteX7" fmla="*/ 85042 w 85041"/>
                  <a:gd name="connsiteY7" fmla="*/ 32355 h 96336"/>
                  <a:gd name="connsiteX8" fmla="*/ 47804 w 85041"/>
                  <a:gd name="connsiteY8" fmla="*/ 96337 h 96336"/>
                  <a:gd name="connsiteX9" fmla="*/ 33521 w 85041"/>
                  <a:gd name="connsiteY9" fmla="*/ 88029 h 96336"/>
                  <a:gd name="connsiteX10" fmla="*/ 41392 w 85041"/>
                  <a:gd name="connsiteY10" fmla="*/ 74548 h 96336"/>
                  <a:gd name="connsiteX11" fmla="*/ 41100 w 85041"/>
                  <a:gd name="connsiteY11" fmla="*/ 74402 h 96336"/>
                  <a:gd name="connsiteX12" fmla="*/ 11587 w 85041"/>
                  <a:gd name="connsiteY12" fmla="*/ 76880 h 96336"/>
                  <a:gd name="connsiteX13" fmla="*/ 5102 w 85041"/>
                  <a:gd name="connsiteY13" fmla="*/ 42339 h 9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041" h="96336">
                    <a:moveTo>
                      <a:pt x="5029" y="42193"/>
                    </a:moveTo>
                    <a:lnTo>
                      <a:pt x="29586" y="0"/>
                    </a:lnTo>
                    <a:lnTo>
                      <a:pt x="44452" y="8672"/>
                    </a:lnTo>
                    <a:lnTo>
                      <a:pt x="21935" y="47367"/>
                    </a:lnTo>
                    <a:cubicBezTo>
                      <a:pt x="16979" y="55893"/>
                      <a:pt x="16834" y="62888"/>
                      <a:pt x="25433" y="67844"/>
                    </a:cubicBezTo>
                    <a:cubicBezTo>
                      <a:pt x="34250" y="73018"/>
                      <a:pt x="43213" y="70249"/>
                      <a:pt x="49480" y="59536"/>
                    </a:cubicBezTo>
                    <a:lnTo>
                      <a:pt x="70322" y="23756"/>
                    </a:lnTo>
                    <a:lnTo>
                      <a:pt x="85042" y="32355"/>
                    </a:lnTo>
                    <a:lnTo>
                      <a:pt x="47804" y="96337"/>
                    </a:lnTo>
                    <a:lnTo>
                      <a:pt x="33521" y="88029"/>
                    </a:lnTo>
                    <a:lnTo>
                      <a:pt x="41392" y="74548"/>
                    </a:lnTo>
                    <a:lnTo>
                      <a:pt x="41100" y="74402"/>
                    </a:lnTo>
                    <a:cubicBezTo>
                      <a:pt x="33886" y="80086"/>
                      <a:pt x="23829" y="84021"/>
                      <a:pt x="11587" y="76880"/>
                    </a:cubicBezTo>
                    <a:cubicBezTo>
                      <a:pt x="-2113" y="68937"/>
                      <a:pt x="-2842" y="55966"/>
                      <a:pt x="5102" y="4233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74" name="Freeform 127">
                <a:extLst>
                  <a:ext uri="{FF2B5EF4-FFF2-40B4-BE49-F238E27FC236}">
                    <a16:creationId xmlns:a16="http://schemas.microsoft.com/office/drawing/2014/main" id="{A7756E51-D35E-30AE-7EE4-D00CACF39670}"/>
                  </a:ext>
                </a:extLst>
              </p:cNvPr>
              <p:cNvSpPr/>
              <p:nvPr/>
            </p:nvSpPr>
            <p:spPr>
              <a:xfrm>
                <a:off x="7554879" y="2779804"/>
                <a:ext cx="79211" cy="77284"/>
              </a:xfrm>
              <a:custGeom>
                <a:avLst/>
                <a:gdLst>
                  <a:gd name="connsiteX0" fmla="*/ 0 w 79211"/>
                  <a:gd name="connsiteY0" fmla="*/ 45084 h 77284"/>
                  <a:gd name="connsiteX1" fmla="*/ 14137 w 79211"/>
                  <a:gd name="connsiteY1" fmla="*/ 41732 h 77284"/>
                  <a:gd name="connsiteX2" fmla="*/ 26671 w 79211"/>
                  <a:gd name="connsiteY2" fmla="*/ 59513 h 77284"/>
                  <a:gd name="connsiteX3" fmla="*/ 42411 w 79211"/>
                  <a:gd name="connsiteY3" fmla="*/ 59513 h 77284"/>
                  <a:gd name="connsiteX4" fmla="*/ 33959 w 79211"/>
                  <a:gd name="connsiteY4" fmla="*/ 41003 h 77284"/>
                  <a:gd name="connsiteX5" fmla="*/ 25870 w 79211"/>
                  <a:gd name="connsiteY5" fmla="*/ 9741 h 77284"/>
                  <a:gd name="connsiteX6" fmla="*/ 61140 w 79211"/>
                  <a:gd name="connsiteY6" fmla="*/ 6098 h 77284"/>
                  <a:gd name="connsiteX7" fmla="*/ 79212 w 79211"/>
                  <a:gd name="connsiteY7" fmla="*/ 29125 h 77284"/>
                  <a:gd name="connsiteX8" fmla="*/ 65439 w 79211"/>
                  <a:gd name="connsiteY8" fmla="*/ 32332 h 77284"/>
                  <a:gd name="connsiteX9" fmla="*/ 54508 w 79211"/>
                  <a:gd name="connsiteY9" fmla="*/ 17320 h 77284"/>
                  <a:gd name="connsiteX10" fmla="*/ 40371 w 79211"/>
                  <a:gd name="connsiteY10" fmla="*/ 17830 h 77284"/>
                  <a:gd name="connsiteX11" fmla="*/ 48824 w 79211"/>
                  <a:gd name="connsiteY11" fmla="*/ 34664 h 77284"/>
                  <a:gd name="connsiteX12" fmla="*/ 57205 w 79211"/>
                  <a:gd name="connsiteY12" fmla="*/ 67237 h 77284"/>
                  <a:gd name="connsiteX13" fmla="*/ 19967 w 79211"/>
                  <a:gd name="connsiteY13" fmla="*/ 70808 h 77284"/>
                  <a:gd name="connsiteX14" fmla="*/ 0 w 79211"/>
                  <a:gd name="connsiteY14" fmla="*/ 45011 h 7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211" h="77284">
                    <a:moveTo>
                      <a:pt x="0" y="45084"/>
                    </a:moveTo>
                    <a:lnTo>
                      <a:pt x="14137" y="41732"/>
                    </a:lnTo>
                    <a:cubicBezTo>
                      <a:pt x="15741" y="50331"/>
                      <a:pt x="20040" y="55432"/>
                      <a:pt x="26671" y="59513"/>
                    </a:cubicBezTo>
                    <a:cubicBezTo>
                      <a:pt x="33084" y="63448"/>
                      <a:pt x="39205" y="64687"/>
                      <a:pt x="42411" y="59513"/>
                    </a:cubicBezTo>
                    <a:cubicBezTo>
                      <a:pt x="45910" y="53829"/>
                      <a:pt x="41537" y="48946"/>
                      <a:pt x="33959" y="41003"/>
                    </a:cubicBezTo>
                    <a:cubicBezTo>
                      <a:pt x="25797" y="32477"/>
                      <a:pt x="18218" y="22130"/>
                      <a:pt x="25870" y="9741"/>
                    </a:cubicBezTo>
                    <a:cubicBezTo>
                      <a:pt x="33084" y="-1918"/>
                      <a:pt x="46201" y="-3084"/>
                      <a:pt x="61140" y="6098"/>
                    </a:cubicBezTo>
                    <a:cubicBezTo>
                      <a:pt x="70832" y="12146"/>
                      <a:pt x="77026" y="20016"/>
                      <a:pt x="79212" y="29125"/>
                    </a:cubicBezTo>
                    <a:lnTo>
                      <a:pt x="65439" y="32332"/>
                    </a:lnTo>
                    <a:cubicBezTo>
                      <a:pt x="63909" y="25336"/>
                      <a:pt x="59682" y="20453"/>
                      <a:pt x="54508" y="17320"/>
                    </a:cubicBezTo>
                    <a:cubicBezTo>
                      <a:pt x="48460" y="13604"/>
                      <a:pt x="43213" y="13166"/>
                      <a:pt x="40371" y="17830"/>
                    </a:cubicBezTo>
                    <a:cubicBezTo>
                      <a:pt x="37456" y="22494"/>
                      <a:pt x="41683" y="27158"/>
                      <a:pt x="48824" y="34664"/>
                    </a:cubicBezTo>
                    <a:cubicBezTo>
                      <a:pt x="57205" y="43335"/>
                      <a:pt x="65731" y="53392"/>
                      <a:pt x="57205" y="67237"/>
                    </a:cubicBezTo>
                    <a:cubicBezTo>
                      <a:pt x="49626" y="79407"/>
                      <a:pt x="35489" y="80427"/>
                      <a:pt x="19967" y="70808"/>
                    </a:cubicBezTo>
                    <a:cubicBezTo>
                      <a:pt x="8964" y="64031"/>
                      <a:pt x="1968" y="55359"/>
                      <a:pt x="0" y="4501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75" name="Freeform 128">
                <a:extLst>
                  <a:ext uri="{FF2B5EF4-FFF2-40B4-BE49-F238E27FC236}">
                    <a16:creationId xmlns:a16="http://schemas.microsoft.com/office/drawing/2014/main" id="{648EAD8B-8AAB-821B-0FC0-2CE8FAD251E2}"/>
                  </a:ext>
                </a:extLst>
              </p:cNvPr>
              <p:cNvSpPr/>
              <p:nvPr/>
            </p:nvSpPr>
            <p:spPr>
              <a:xfrm>
                <a:off x="7613468" y="2788316"/>
                <a:ext cx="68891" cy="94360"/>
              </a:xfrm>
              <a:custGeom>
                <a:avLst/>
                <a:gdLst>
                  <a:gd name="connsiteX0" fmla="*/ 40152 w 68891"/>
                  <a:gd name="connsiteY0" fmla="*/ 22946 h 94360"/>
                  <a:gd name="connsiteX1" fmla="*/ 54508 w 68891"/>
                  <a:gd name="connsiteY1" fmla="*/ 32200 h 94360"/>
                  <a:gd name="connsiteX2" fmla="*/ 14356 w 68891"/>
                  <a:gd name="connsiteY2" fmla="*/ 94360 h 94360"/>
                  <a:gd name="connsiteX3" fmla="*/ 0 w 68891"/>
                  <a:gd name="connsiteY3" fmla="*/ 85105 h 94360"/>
                  <a:gd name="connsiteX4" fmla="*/ 40152 w 68891"/>
                  <a:gd name="connsiteY4" fmla="*/ 22946 h 94360"/>
                  <a:gd name="connsiteX5" fmla="*/ 63981 w 68891"/>
                  <a:gd name="connsiteY5" fmla="*/ 1740 h 94360"/>
                  <a:gd name="connsiteX6" fmla="*/ 67115 w 68891"/>
                  <a:gd name="connsiteY6" fmla="*/ 15804 h 94360"/>
                  <a:gd name="connsiteX7" fmla="*/ 53050 w 68891"/>
                  <a:gd name="connsiteY7" fmla="*/ 18646 h 94360"/>
                  <a:gd name="connsiteX8" fmla="*/ 49917 w 68891"/>
                  <a:gd name="connsiteY8" fmla="*/ 4728 h 94360"/>
                  <a:gd name="connsiteX9" fmla="*/ 63981 w 68891"/>
                  <a:gd name="connsiteY9" fmla="*/ 1813 h 9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891" h="94360">
                    <a:moveTo>
                      <a:pt x="40152" y="22946"/>
                    </a:moveTo>
                    <a:lnTo>
                      <a:pt x="54508" y="32200"/>
                    </a:lnTo>
                    <a:lnTo>
                      <a:pt x="14356" y="94360"/>
                    </a:lnTo>
                    <a:lnTo>
                      <a:pt x="0" y="85105"/>
                    </a:lnTo>
                    <a:lnTo>
                      <a:pt x="40152" y="22946"/>
                    </a:lnTo>
                    <a:close/>
                    <a:moveTo>
                      <a:pt x="63981" y="1740"/>
                    </a:moveTo>
                    <a:cubicBezTo>
                      <a:pt x="69009" y="4946"/>
                      <a:pt x="70394" y="10776"/>
                      <a:pt x="67115" y="15804"/>
                    </a:cubicBezTo>
                    <a:cubicBezTo>
                      <a:pt x="63836" y="20832"/>
                      <a:pt x="58079" y="21853"/>
                      <a:pt x="53050" y="18646"/>
                    </a:cubicBezTo>
                    <a:cubicBezTo>
                      <a:pt x="48022" y="15440"/>
                      <a:pt x="46638" y="9683"/>
                      <a:pt x="49917" y="4728"/>
                    </a:cubicBezTo>
                    <a:cubicBezTo>
                      <a:pt x="53123" y="-301"/>
                      <a:pt x="58953" y="-1394"/>
                      <a:pt x="63981" y="1813"/>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76" name="Freeform 129">
                <a:extLst>
                  <a:ext uri="{FF2B5EF4-FFF2-40B4-BE49-F238E27FC236}">
                    <a16:creationId xmlns:a16="http://schemas.microsoft.com/office/drawing/2014/main" id="{D629F35B-83B2-76AD-778F-28077B4F2C31}"/>
                  </a:ext>
                </a:extLst>
              </p:cNvPr>
              <p:cNvSpPr/>
              <p:nvPr/>
            </p:nvSpPr>
            <p:spPr>
              <a:xfrm>
                <a:off x="7644876" y="2832467"/>
                <a:ext cx="86656" cy="97211"/>
              </a:xfrm>
              <a:custGeom>
                <a:avLst/>
                <a:gdLst>
                  <a:gd name="connsiteX0" fmla="*/ 41537 w 86656"/>
                  <a:gd name="connsiteY0" fmla="*/ 73 h 97211"/>
                  <a:gd name="connsiteX1" fmla="*/ 55237 w 86656"/>
                  <a:gd name="connsiteY1" fmla="*/ 9328 h 97211"/>
                  <a:gd name="connsiteX2" fmla="*/ 46492 w 86656"/>
                  <a:gd name="connsiteY2" fmla="*/ 22226 h 97211"/>
                  <a:gd name="connsiteX3" fmla="*/ 46711 w 86656"/>
                  <a:gd name="connsiteY3" fmla="*/ 22372 h 97211"/>
                  <a:gd name="connsiteX4" fmla="*/ 76297 w 86656"/>
                  <a:gd name="connsiteY4" fmla="*/ 21935 h 97211"/>
                  <a:gd name="connsiteX5" fmla="*/ 80377 w 86656"/>
                  <a:gd name="connsiteY5" fmla="*/ 56840 h 97211"/>
                  <a:gd name="connsiteX6" fmla="*/ 52978 w 86656"/>
                  <a:gd name="connsiteY6" fmla="*/ 97211 h 97211"/>
                  <a:gd name="connsiteX7" fmla="*/ 38840 w 86656"/>
                  <a:gd name="connsiteY7" fmla="*/ 87592 h 97211"/>
                  <a:gd name="connsiteX8" fmla="*/ 63908 w 86656"/>
                  <a:gd name="connsiteY8" fmla="*/ 50646 h 97211"/>
                  <a:gd name="connsiteX9" fmla="*/ 61795 w 86656"/>
                  <a:gd name="connsiteY9" fmla="*/ 29950 h 97211"/>
                  <a:gd name="connsiteX10" fmla="*/ 37383 w 86656"/>
                  <a:gd name="connsiteY10" fmla="*/ 36582 h 97211"/>
                  <a:gd name="connsiteX11" fmla="*/ 14137 w 86656"/>
                  <a:gd name="connsiteY11" fmla="*/ 70831 h 97211"/>
                  <a:gd name="connsiteX12" fmla="*/ 0 w 86656"/>
                  <a:gd name="connsiteY12" fmla="*/ 61212 h 97211"/>
                  <a:gd name="connsiteX13" fmla="*/ 41464 w 86656"/>
                  <a:gd name="connsiteY13" fmla="*/ 0 h 97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656" h="97211">
                    <a:moveTo>
                      <a:pt x="41537" y="73"/>
                    </a:moveTo>
                    <a:lnTo>
                      <a:pt x="55237" y="9328"/>
                    </a:lnTo>
                    <a:lnTo>
                      <a:pt x="46492" y="22226"/>
                    </a:lnTo>
                    <a:lnTo>
                      <a:pt x="46711" y="22372"/>
                    </a:lnTo>
                    <a:cubicBezTo>
                      <a:pt x="54217" y="17271"/>
                      <a:pt x="64637" y="13991"/>
                      <a:pt x="76297" y="21935"/>
                    </a:cubicBezTo>
                    <a:cubicBezTo>
                      <a:pt x="89413" y="30825"/>
                      <a:pt x="89268" y="43796"/>
                      <a:pt x="80377" y="56840"/>
                    </a:cubicBezTo>
                    <a:lnTo>
                      <a:pt x="52978" y="97211"/>
                    </a:lnTo>
                    <a:lnTo>
                      <a:pt x="38840" y="87592"/>
                    </a:lnTo>
                    <a:lnTo>
                      <a:pt x="63908" y="50646"/>
                    </a:lnTo>
                    <a:cubicBezTo>
                      <a:pt x="69520" y="42411"/>
                      <a:pt x="70030" y="35489"/>
                      <a:pt x="61795" y="29950"/>
                    </a:cubicBezTo>
                    <a:cubicBezTo>
                      <a:pt x="53342" y="24194"/>
                      <a:pt x="44379" y="26307"/>
                      <a:pt x="37383" y="36582"/>
                    </a:cubicBezTo>
                    <a:lnTo>
                      <a:pt x="14137" y="70831"/>
                    </a:lnTo>
                    <a:lnTo>
                      <a:pt x="0" y="61212"/>
                    </a:lnTo>
                    <a:lnTo>
                      <a:pt x="41464"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77" name="Freeform 130">
                <a:extLst>
                  <a:ext uri="{FF2B5EF4-FFF2-40B4-BE49-F238E27FC236}">
                    <a16:creationId xmlns:a16="http://schemas.microsoft.com/office/drawing/2014/main" id="{F697E0C5-50BE-3FA3-C1B1-D2E0FD38FF9D}"/>
                  </a:ext>
                </a:extLst>
              </p:cNvPr>
              <p:cNvSpPr/>
              <p:nvPr/>
            </p:nvSpPr>
            <p:spPr>
              <a:xfrm>
                <a:off x="7722891" y="2890792"/>
                <a:ext cx="75766" cy="79649"/>
              </a:xfrm>
              <a:custGeom>
                <a:avLst/>
                <a:gdLst>
                  <a:gd name="connsiteX0" fmla="*/ 8703 w 75766"/>
                  <a:gd name="connsiteY0" fmla="*/ 17243 h 79649"/>
                  <a:gd name="connsiteX1" fmla="*/ 61244 w 75766"/>
                  <a:gd name="connsiteY1" fmla="*/ 7842 h 79649"/>
                  <a:gd name="connsiteX2" fmla="*/ 67292 w 75766"/>
                  <a:gd name="connsiteY2" fmla="*/ 56739 h 79649"/>
                  <a:gd name="connsiteX3" fmla="*/ 63284 w 75766"/>
                  <a:gd name="connsiteY3" fmla="*/ 61840 h 79649"/>
                  <a:gd name="connsiteX4" fmla="*/ 20873 w 75766"/>
                  <a:gd name="connsiteY4" fmla="*/ 31161 h 79649"/>
                  <a:gd name="connsiteX5" fmla="*/ 26046 w 75766"/>
                  <a:gd name="connsiteY5" fmla="*/ 60529 h 79649"/>
                  <a:gd name="connsiteX6" fmla="*/ 46159 w 75766"/>
                  <a:gd name="connsiteY6" fmla="*/ 64901 h 79649"/>
                  <a:gd name="connsiteX7" fmla="*/ 48418 w 75766"/>
                  <a:gd name="connsiteY7" fmla="*/ 78747 h 79649"/>
                  <a:gd name="connsiteX8" fmla="*/ 17521 w 75766"/>
                  <a:gd name="connsiteY8" fmla="*/ 70877 h 79649"/>
                  <a:gd name="connsiteX9" fmla="*/ 8703 w 75766"/>
                  <a:gd name="connsiteY9" fmla="*/ 17170 h 79649"/>
                  <a:gd name="connsiteX10" fmla="*/ 55997 w 75766"/>
                  <a:gd name="connsiteY10" fmla="*/ 43404 h 79649"/>
                  <a:gd name="connsiteX11" fmla="*/ 53300 w 75766"/>
                  <a:gd name="connsiteY11" fmla="*/ 18263 h 79649"/>
                  <a:gd name="connsiteX12" fmla="*/ 27358 w 75766"/>
                  <a:gd name="connsiteY12" fmla="*/ 22708 h 79649"/>
                  <a:gd name="connsiteX13" fmla="*/ 55997 w 75766"/>
                  <a:gd name="connsiteY13" fmla="*/ 43331 h 7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766" h="79649">
                    <a:moveTo>
                      <a:pt x="8703" y="17243"/>
                    </a:moveTo>
                    <a:cubicBezTo>
                      <a:pt x="23787" y="-3671"/>
                      <a:pt x="44920" y="-3963"/>
                      <a:pt x="61244" y="7842"/>
                    </a:cubicBezTo>
                    <a:cubicBezTo>
                      <a:pt x="81283" y="22344"/>
                      <a:pt x="77858" y="42165"/>
                      <a:pt x="67292" y="56739"/>
                    </a:cubicBezTo>
                    <a:cubicBezTo>
                      <a:pt x="66053" y="58488"/>
                      <a:pt x="64596" y="60237"/>
                      <a:pt x="63284" y="61840"/>
                    </a:cubicBezTo>
                    <a:lnTo>
                      <a:pt x="20873" y="31161"/>
                    </a:lnTo>
                    <a:cubicBezTo>
                      <a:pt x="13586" y="43258"/>
                      <a:pt x="15626" y="52950"/>
                      <a:pt x="26046" y="60529"/>
                    </a:cubicBezTo>
                    <a:cubicBezTo>
                      <a:pt x="32823" y="65411"/>
                      <a:pt x="38726" y="66650"/>
                      <a:pt x="46159" y="64901"/>
                    </a:cubicBezTo>
                    <a:lnTo>
                      <a:pt x="48418" y="78747"/>
                    </a:lnTo>
                    <a:cubicBezTo>
                      <a:pt x="38289" y="81006"/>
                      <a:pt x="29107" y="79257"/>
                      <a:pt x="17521" y="70877"/>
                    </a:cubicBezTo>
                    <a:cubicBezTo>
                      <a:pt x="-1718" y="56958"/>
                      <a:pt x="-5799" y="37283"/>
                      <a:pt x="8703" y="17170"/>
                    </a:cubicBezTo>
                    <a:close/>
                    <a:moveTo>
                      <a:pt x="55997" y="43404"/>
                    </a:moveTo>
                    <a:cubicBezTo>
                      <a:pt x="62847" y="32254"/>
                      <a:pt x="61098" y="23874"/>
                      <a:pt x="53300" y="18263"/>
                    </a:cubicBezTo>
                    <a:cubicBezTo>
                      <a:pt x="45649" y="12725"/>
                      <a:pt x="36395" y="13162"/>
                      <a:pt x="27358" y="22708"/>
                    </a:cubicBezTo>
                    <a:lnTo>
                      <a:pt x="55997" y="43331"/>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78" name="Freeform 131">
                <a:extLst>
                  <a:ext uri="{FF2B5EF4-FFF2-40B4-BE49-F238E27FC236}">
                    <a16:creationId xmlns:a16="http://schemas.microsoft.com/office/drawing/2014/main" id="{C1C44163-FAC9-41B6-193F-2C15638F7B78}"/>
                  </a:ext>
                </a:extLst>
              </p:cNvPr>
              <p:cNvSpPr/>
              <p:nvPr/>
            </p:nvSpPr>
            <p:spPr>
              <a:xfrm>
                <a:off x="7780199" y="2935799"/>
                <a:ext cx="80450" cy="76816"/>
              </a:xfrm>
              <a:custGeom>
                <a:avLst/>
                <a:gdLst>
                  <a:gd name="connsiteX0" fmla="*/ 72 w 80450"/>
                  <a:gd name="connsiteY0" fmla="*/ 40735 h 76816"/>
                  <a:gd name="connsiteX1" fmla="*/ 14501 w 80450"/>
                  <a:gd name="connsiteY1" fmla="*/ 38768 h 76816"/>
                  <a:gd name="connsiteX2" fmla="*/ 25213 w 80450"/>
                  <a:gd name="connsiteY2" fmla="*/ 57715 h 76816"/>
                  <a:gd name="connsiteX3" fmla="*/ 40881 w 80450"/>
                  <a:gd name="connsiteY3" fmla="*/ 59318 h 76816"/>
                  <a:gd name="connsiteX4" fmla="*/ 34322 w 80450"/>
                  <a:gd name="connsiteY4" fmla="*/ 40080 h 76816"/>
                  <a:gd name="connsiteX5" fmla="*/ 29367 w 80450"/>
                  <a:gd name="connsiteY5" fmla="*/ 8162 h 76816"/>
                  <a:gd name="connsiteX6" fmla="*/ 64783 w 80450"/>
                  <a:gd name="connsiteY6" fmla="*/ 8016 h 76816"/>
                  <a:gd name="connsiteX7" fmla="*/ 80450 w 80450"/>
                  <a:gd name="connsiteY7" fmla="*/ 32647 h 76816"/>
                  <a:gd name="connsiteX8" fmla="*/ 66459 w 80450"/>
                  <a:gd name="connsiteY8" fmla="*/ 34541 h 76816"/>
                  <a:gd name="connsiteX9" fmla="*/ 57058 w 80450"/>
                  <a:gd name="connsiteY9" fmla="*/ 18509 h 76816"/>
                  <a:gd name="connsiteX10" fmla="*/ 42921 w 80450"/>
                  <a:gd name="connsiteY10" fmla="*/ 17635 h 76816"/>
                  <a:gd name="connsiteX11" fmla="*/ 49626 w 80450"/>
                  <a:gd name="connsiteY11" fmla="*/ 35197 h 76816"/>
                  <a:gd name="connsiteX12" fmla="*/ 54726 w 80450"/>
                  <a:gd name="connsiteY12" fmla="*/ 68427 h 76816"/>
                  <a:gd name="connsiteX13" fmla="*/ 17344 w 80450"/>
                  <a:gd name="connsiteY13" fmla="*/ 68427 h 76816"/>
                  <a:gd name="connsiteX14" fmla="*/ 0 w 80450"/>
                  <a:gd name="connsiteY14" fmla="*/ 40808 h 7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450" h="76816">
                    <a:moveTo>
                      <a:pt x="72" y="40735"/>
                    </a:moveTo>
                    <a:lnTo>
                      <a:pt x="14501" y="38768"/>
                    </a:lnTo>
                    <a:cubicBezTo>
                      <a:pt x="15230" y="47513"/>
                      <a:pt x="19019" y="52978"/>
                      <a:pt x="25213" y="57715"/>
                    </a:cubicBezTo>
                    <a:cubicBezTo>
                      <a:pt x="31189" y="62233"/>
                      <a:pt x="37164" y="64127"/>
                      <a:pt x="40881" y="59318"/>
                    </a:cubicBezTo>
                    <a:cubicBezTo>
                      <a:pt x="44962" y="53998"/>
                      <a:pt x="41027" y="48751"/>
                      <a:pt x="34322" y="40080"/>
                    </a:cubicBezTo>
                    <a:cubicBezTo>
                      <a:pt x="27035" y="30752"/>
                      <a:pt x="20477" y="19748"/>
                      <a:pt x="29367" y="8162"/>
                    </a:cubicBezTo>
                    <a:cubicBezTo>
                      <a:pt x="37675" y="-2769"/>
                      <a:pt x="50864" y="-2623"/>
                      <a:pt x="64783" y="8016"/>
                    </a:cubicBezTo>
                    <a:cubicBezTo>
                      <a:pt x="73892" y="14939"/>
                      <a:pt x="79212" y="23465"/>
                      <a:pt x="80450" y="32647"/>
                    </a:cubicBezTo>
                    <a:lnTo>
                      <a:pt x="66459" y="34541"/>
                    </a:lnTo>
                    <a:cubicBezTo>
                      <a:pt x="65585" y="27400"/>
                      <a:pt x="61868" y="22153"/>
                      <a:pt x="57058" y="18509"/>
                    </a:cubicBezTo>
                    <a:cubicBezTo>
                      <a:pt x="51448" y="14210"/>
                      <a:pt x="46201" y="13336"/>
                      <a:pt x="42921" y="17635"/>
                    </a:cubicBezTo>
                    <a:cubicBezTo>
                      <a:pt x="39569" y="22007"/>
                      <a:pt x="43286" y="27036"/>
                      <a:pt x="49626" y="35197"/>
                    </a:cubicBezTo>
                    <a:cubicBezTo>
                      <a:pt x="57131" y="44670"/>
                      <a:pt x="64637" y="55528"/>
                      <a:pt x="54726" y="68427"/>
                    </a:cubicBezTo>
                    <a:cubicBezTo>
                      <a:pt x="46055" y="79795"/>
                      <a:pt x="31772" y="79430"/>
                      <a:pt x="17344" y="68427"/>
                    </a:cubicBezTo>
                    <a:cubicBezTo>
                      <a:pt x="7068" y="60629"/>
                      <a:pt x="947" y="51302"/>
                      <a:pt x="0" y="40808"/>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79" name="Freeform 132">
                <a:extLst>
                  <a:ext uri="{FF2B5EF4-FFF2-40B4-BE49-F238E27FC236}">
                    <a16:creationId xmlns:a16="http://schemas.microsoft.com/office/drawing/2014/main" id="{9702D9CF-98AA-DC72-3E98-CCB94033FEBC}"/>
                  </a:ext>
                </a:extLst>
              </p:cNvPr>
              <p:cNvSpPr/>
              <p:nvPr/>
            </p:nvSpPr>
            <p:spPr>
              <a:xfrm>
                <a:off x="7834999" y="2978806"/>
                <a:ext cx="80523" cy="76687"/>
              </a:xfrm>
              <a:custGeom>
                <a:avLst/>
                <a:gdLst>
                  <a:gd name="connsiteX0" fmla="*/ 0 w 80523"/>
                  <a:gd name="connsiteY0" fmla="*/ 39703 h 76687"/>
                  <a:gd name="connsiteX1" fmla="*/ 14429 w 80523"/>
                  <a:gd name="connsiteY1" fmla="*/ 38100 h 76687"/>
                  <a:gd name="connsiteX2" fmla="*/ 24704 w 80523"/>
                  <a:gd name="connsiteY2" fmla="*/ 57265 h 76687"/>
                  <a:gd name="connsiteX3" fmla="*/ 40298 w 80523"/>
                  <a:gd name="connsiteY3" fmla="*/ 59232 h 76687"/>
                  <a:gd name="connsiteX4" fmla="*/ 34177 w 80523"/>
                  <a:gd name="connsiteY4" fmla="*/ 39849 h 76687"/>
                  <a:gd name="connsiteX5" fmla="*/ 30023 w 80523"/>
                  <a:gd name="connsiteY5" fmla="*/ 7785 h 76687"/>
                  <a:gd name="connsiteX6" fmla="*/ 65439 w 80523"/>
                  <a:gd name="connsiteY6" fmla="*/ 8514 h 76687"/>
                  <a:gd name="connsiteX7" fmla="*/ 80523 w 80523"/>
                  <a:gd name="connsiteY7" fmla="*/ 33582 h 76687"/>
                  <a:gd name="connsiteX8" fmla="*/ 66459 w 80523"/>
                  <a:gd name="connsiteY8" fmla="*/ 35112 h 76687"/>
                  <a:gd name="connsiteX9" fmla="*/ 57496 w 80523"/>
                  <a:gd name="connsiteY9" fmla="*/ 18862 h 76687"/>
                  <a:gd name="connsiteX10" fmla="*/ 43432 w 80523"/>
                  <a:gd name="connsiteY10" fmla="*/ 17623 h 76687"/>
                  <a:gd name="connsiteX11" fmla="*/ 49772 w 80523"/>
                  <a:gd name="connsiteY11" fmla="*/ 35331 h 76687"/>
                  <a:gd name="connsiteX12" fmla="*/ 54071 w 80523"/>
                  <a:gd name="connsiteY12" fmla="*/ 68706 h 76687"/>
                  <a:gd name="connsiteX13" fmla="*/ 16688 w 80523"/>
                  <a:gd name="connsiteY13" fmla="*/ 67759 h 76687"/>
                  <a:gd name="connsiteX14" fmla="*/ 0 w 80523"/>
                  <a:gd name="connsiteY14" fmla="*/ 39703 h 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523" h="76687">
                    <a:moveTo>
                      <a:pt x="0" y="39703"/>
                    </a:moveTo>
                    <a:lnTo>
                      <a:pt x="14429" y="38100"/>
                    </a:lnTo>
                    <a:cubicBezTo>
                      <a:pt x="14939" y="46844"/>
                      <a:pt x="18655" y="52382"/>
                      <a:pt x="24704" y="57265"/>
                    </a:cubicBezTo>
                    <a:cubicBezTo>
                      <a:pt x="30533" y="61929"/>
                      <a:pt x="36509" y="63969"/>
                      <a:pt x="40298" y="59232"/>
                    </a:cubicBezTo>
                    <a:cubicBezTo>
                      <a:pt x="44525" y="54059"/>
                      <a:pt x="40736" y="48666"/>
                      <a:pt x="34177" y="39849"/>
                    </a:cubicBezTo>
                    <a:cubicBezTo>
                      <a:pt x="27109" y="30375"/>
                      <a:pt x="20842" y="19153"/>
                      <a:pt x="30023" y="7785"/>
                    </a:cubicBezTo>
                    <a:cubicBezTo>
                      <a:pt x="38622" y="-2927"/>
                      <a:pt x="51812" y="-2490"/>
                      <a:pt x="65439" y="8514"/>
                    </a:cubicBezTo>
                    <a:cubicBezTo>
                      <a:pt x="74329" y="15655"/>
                      <a:pt x="79431" y="24327"/>
                      <a:pt x="80523" y="33582"/>
                    </a:cubicBezTo>
                    <a:lnTo>
                      <a:pt x="66459" y="35112"/>
                    </a:lnTo>
                    <a:cubicBezTo>
                      <a:pt x="65804" y="27971"/>
                      <a:pt x="62160" y="22651"/>
                      <a:pt x="57496" y="18862"/>
                    </a:cubicBezTo>
                    <a:cubicBezTo>
                      <a:pt x="51958" y="14416"/>
                      <a:pt x="46784" y="13396"/>
                      <a:pt x="43432" y="17623"/>
                    </a:cubicBezTo>
                    <a:cubicBezTo>
                      <a:pt x="40007" y="21922"/>
                      <a:pt x="43578" y="27023"/>
                      <a:pt x="49772" y="35331"/>
                    </a:cubicBezTo>
                    <a:cubicBezTo>
                      <a:pt x="57059" y="44950"/>
                      <a:pt x="64273" y="56026"/>
                      <a:pt x="54071" y="68706"/>
                    </a:cubicBezTo>
                    <a:cubicBezTo>
                      <a:pt x="45108" y="79855"/>
                      <a:pt x="30898" y="79127"/>
                      <a:pt x="16688" y="67759"/>
                    </a:cubicBezTo>
                    <a:cubicBezTo>
                      <a:pt x="6632" y="59670"/>
                      <a:pt x="729" y="50269"/>
                      <a:pt x="0" y="39703"/>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80" name="Freeform 133">
                <a:extLst>
                  <a:ext uri="{FF2B5EF4-FFF2-40B4-BE49-F238E27FC236}">
                    <a16:creationId xmlns:a16="http://schemas.microsoft.com/office/drawing/2014/main" id="{A3ED4C75-49A4-B9F6-2BDF-3152963D9735}"/>
                  </a:ext>
                </a:extLst>
              </p:cNvPr>
              <p:cNvSpPr/>
              <p:nvPr/>
            </p:nvSpPr>
            <p:spPr>
              <a:xfrm>
                <a:off x="7920281" y="3035124"/>
                <a:ext cx="67967" cy="83292"/>
              </a:xfrm>
              <a:custGeom>
                <a:avLst/>
                <a:gdLst>
                  <a:gd name="connsiteX0" fmla="*/ 6172 w 67967"/>
                  <a:gd name="connsiteY0" fmla="*/ 47658 h 83292"/>
                  <a:gd name="connsiteX1" fmla="*/ 33790 w 67967"/>
                  <a:gd name="connsiteY1" fmla="*/ 15595 h 83292"/>
                  <a:gd name="connsiteX2" fmla="*/ 25629 w 67967"/>
                  <a:gd name="connsiteY2" fmla="*/ 8526 h 83292"/>
                  <a:gd name="connsiteX3" fmla="*/ 30730 w 67967"/>
                  <a:gd name="connsiteY3" fmla="*/ 2551 h 83292"/>
                  <a:gd name="connsiteX4" fmla="*/ 65490 w 67967"/>
                  <a:gd name="connsiteY4" fmla="*/ 0 h 83292"/>
                  <a:gd name="connsiteX5" fmla="*/ 67967 w 67967"/>
                  <a:gd name="connsiteY5" fmla="*/ 2113 h 83292"/>
                  <a:gd name="connsiteX6" fmla="*/ 55433 w 67967"/>
                  <a:gd name="connsiteY6" fmla="*/ 16688 h 83292"/>
                  <a:gd name="connsiteX7" fmla="*/ 67603 w 67967"/>
                  <a:gd name="connsiteY7" fmla="*/ 27181 h 83292"/>
                  <a:gd name="connsiteX8" fmla="*/ 58931 w 67967"/>
                  <a:gd name="connsiteY8" fmla="*/ 37238 h 83292"/>
                  <a:gd name="connsiteX9" fmla="*/ 46761 w 67967"/>
                  <a:gd name="connsiteY9" fmla="*/ 26744 h 83292"/>
                  <a:gd name="connsiteX10" fmla="*/ 21329 w 67967"/>
                  <a:gd name="connsiteY10" fmla="*/ 56257 h 83292"/>
                  <a:gd name="connsiteX11" fmla="*/ 21912 w 67967"/>
                  <a:gd name="connsiteY11" fmla="*/ 67698 h 83292"/>
                  <a:gd name="connsiteX12" fmla="*/ 28835 w 67967"/>
                  <a:gd name="connsiteY12" fmla="*/ 72143 h 83292"/>
                  <a:gd name="connsiteX13" fmla="*/ 19216 w 67967"/>
                  <a:gd name="connsiteY13" fmla="*/ 83292 h 83292"/>
                  <a:gd name="connsiteX14" fmla="*/ 9524 w 67967"/>
                  <a:gd name="connsiteY14" fmla="*/ 76588 h 83292"/>
                  <a:gd name="connsiteX15" fmla="*/ 6099 w 67967"/>
                  <a:gd name="connsiteY15" fmla="*/ 47658 h 8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967" h="83292">
                    <a:moveTo>
                      <a:pt x="6172" y="47658"/>
                    </a:moveTo>
                    <a:lnTo>
                      <a:pt x="33790" y="15595"/>
                    </a:lnTo>
                    <a:lnTo>
                      <a:pt x="25629" y="8526"/>
                    </a:lnTo>
                    <a:lnTo>
                      <a:pt x="30730" y="2551"/>
                    </a:lnTo>
                    <a:lnTo>
                      <a:pt x="65490" y="0"/>
                    </a:lnTo>
                    <a:lnTo>
                      <a:pt x="67967" y="2113"/>
                    </a:lnTo>
                    <a:lnTo>
                      <a:pt x="55433" y="16688"/>
                    </a:lnTo>
                    <a:lnTo>
                      <a:pt x="67603" y="27181"/>
                    </a:lnTo>
                    <a:lnTo>
                      <a:pt x="58931" y="37238"/>
                    </a:lnTo>
                    <a:lnTo>
                      <a:pt x="46761" y="26744"/>
                    </a:lnTo>
                    <a:lnTo>
                      <a:pt x="21329" y="56257"/>
                    </a:lnTo>
                    <a:cubicBezTo>
                      <a:pt x="17102" y="61212"/>
                      <a:pt x="17540" y="63909"/>
                      <a:pt x="21912" y="67698"/>
                    </a:cubicBezTo>
                    <a:cubicBezTo>
                      <a:pt x="24098" y="69593"/>
                      <a:pt x="26503" y="71050"/>
                      <a:pt x="28835" y="72143"/>
                    </a:cubicBezTo>
                    <a:lnTo>
                      <a:pt x="19216" y="83292"/>
                    </a:lnTo>
                    <a:cubicBezTo>
                      <a:pt x="16447" y="81908"/>
                      <a:pt x="12803" y="79430"/>
                      <a:pt x="9524" y="76588"/>
                    </a:cubicBezTo>
                    <a:cubicBezTo>
                      <a:pt x="-1771" y="66896"/>
                      <a:pt x="-3156" y="58443"/>
                      <a:pt x="6099" y="47658"/>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81" name="Freeform 134">
                <a:extLst>
                  <a:ext uri="{FF2B5EF4-FFF2-40B4-BE49-F238E27FC236}">
                    <a16:creationId xmlns:a16="http://schemas.microsoft.com/office/drawing/2014/main" id="{3DC11449-73AB-C9D2-2F28-71141F72D48C}"/>
                  </a:ext>
                </a:extLst>
              </p:cNvPr>
              <p:cNvSpPr/>
              <p:nvPr/>
            </p:nvSpPr>
            <p:spPr>
              <a:xfrm>
                <a:off x="7951958" y="3074329"/>
                <a:ext cx="79940" cy="66532"/>
              </a:xfrm>
              <a:custGeom>
                <a:avLst/>
                <a:gdLst>
                  <a:gd name="connsiteX0" fmla="*/ 49480 w 79940"/>
                  <a:gd name="connsiteY0" fmla="*/ 0 h 66532"/>
                  <a:gd name="connsiteX1" fmla="*/ 61796 w 79940"/>
                  <a:gd name="connsiteY1" fmla="*/ 11076 h 66532"/>
                  <a:gd name="connsiteX2" fmla="*/ 51156 w 79940"/>
                  <a:gd name="connsiteY2" fmla="*/ 22882 h 66532"/>
                  <a:gd name="connsiteX3" fmla="*/ 51375 w 79940"/>
                  <a:gd name="connsiteY3" fmla="*/ 23028 h 66532"/>
                  <a:gd name="connsiteX4" fmla="*/ 75860 w 79940"/>
                  <a:gd name="connsiteY4" fmla="*/ 21716 h 66532"/>
                  <a:gd name="connsiteX5" fmla="*/ 79941 w 79940"/>
                  <a:gd name="connsiteY5" fmla="*/ 26671 h 66532"/>
                  <a:gd name="connsiteX6" fmla="*/ 69228 w 79940"/>
                  <a:gd name="connsiteY6" fmla="*/ 38622 h 66532"/>
                  <a:gd name="connsiteX7" fmla="*/ 64492 w 79940"/>
                  <a:gd name="connsiteY7" fmla="*/ 33230 h 66532"/>
                  <a:gd name="connsiteX8" fmla="*/ 37602 w 79940"/>
                  <a:gd name="connsiteY8" fmla="*/ 38841 h 66532"/>
                  <a:gd name="connsiteX9" fmla="*/ 12753 w 79940"/>
                  <a:gd name="connsiteY9" fmla="*/ 66532 h 66532"/>
                  <a:gd name="connsiteX10" fmla="*/ 0 w 79940"/>
                  <a:gd name="connsiteY10" fmla="*/ 55091 h 66532"/>
                  <a:gd name="connsiteX11" fmla="*/ 49407 w 79940"/>
                  <a:gd name="connsiteY11" fmla="*/ 0 h 66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940" h="66532">
                    <a:moveTo>
                      <a:pt x="49480" y="0"/>
                    </a:moveTo>
                    <a:lnTo>
                      <a:pt x="61796" y="11076"/>
                    </a:lnTo>
                    <a:lnTo>
                      <a:pt x="51156" y="22882"/>
                    </a:lnTo>
                    <a:lnTo>
                      <a:pt x="51375" y="23028"/>
                    </a:lnTo>
                    <a:cubicBezTo>
                      <a:pt x="61140" y="15886"/>
                      <a:pt x="68937" y="15522"/>
                      <a:pt x="75860" y="21716"/>
                    </a:cubicBezTo>
                    <a:cubicBezTo>
                      <a:pt x="77900" y="23538"/>
                      <a:pt x="79285" y="25432"/>
                      <a:pt x="79941" y="26671"/>
                    </a:cubicBezTo>
                    <a:lnTo>
                      <a:pt x="69228" y="38622"/>
                    </a:lnTo>
                    <a:cubicBezTo>
                      <a:pt x="68208" y="37019"/>
                      <a:pt x="66460" y="34978"/>
                      <a:pt x="64492" y="33230"/>
                    </a:cubicBezTo>
                    <a:cubicBezTo>
                      <a:pt x="55456" y="25068"/>
                      <a:pt x="46784" y="28566"/>
                      <a:pt x="37602" y="38841"/>
                    </a:cubicBezTo>
                    <a:lnTo>
                      <a:pt x="12753" y="66532"/>
                    </a:lnTo>
                    <a:lnTo>
                      <a:pt x="0" y="55091"/>
                    </a:lnTo>
                    <a:lnTo>
                      <a:pt x="49407"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82" name="Freeform 135">
                <a:extLst>
                  <a:ext uri="{FF2B5EF4-FFF2-40B4-BE49-F238E27FC236}">
                    <a16:creationId xmlns:a16="http://schemas.microsoft.com/office/drawing/2014/main" id="{FAF136C9-0425-03E4-DFDA-923E3EA142E9}"/>
                  </a:ext>
                </a:extLst>
              </p:cNvPr>
              <p:cNvSpPr/>
              <p:nvPr/>
            </p:nvSpPr>
            <p:spPr>
              <a:xfrm>
                <a:off x="7994054" y="3116904"/>
                <a:ext cx="79728" cy="86335"/>
              </a:xfrm>
              <a:custGeom>
                <a:avLst/>
                <a:gdLst>
                  <a:gd name="connsiteX0" fmla="*/ 6291 w 79728"/>
                  <a:gd name="connsiteY0" fmla="*/ 28694 h 86335"/>
                  <a:gd name="connsiteX1" fmla="*/ 45788 w 79728"/>
                  <a:gd name="connsiteY1" fmla="*/ 33649 h 86335"/>
                  <a:gd name="connsiteX2" fmla="*/ 55552 w 79728"/>
                  <a:gd name="connsiteY2" fmla="*/ 42831 h 86335"/>
                  <a:gd name="connsiteX3" fmla="*/ 58467 w 79728"/>
                  <a:gd name="connsiteY3" fmla="*/ 39698 h 86335"/>
                  <a:gd name="connsiteX4" fmla="*/ 58175 w 79728"/>
                  <a:gd name="connsiteY4" fmla="*/ 20532 h 86335"/>
                  <a:gd name="connsiteX5" fmla="*/ 37990 w 79728"/>
                  <a:gd name="connsiteY5" fmla="*/ 14484 h 86335"/>
                  <a:gd name="connsiteX6" fmla="*/ 37480 w 79728"/>
                  <a:gd name="connsiteY6" fmla="*/ 128 h 86335"/>
                  <a:gd name="connsiteX7" fmla="*/ 69033 w 79728"/>
                  <a:gd name="connsiteY7" fmla="*/ 11715 h 86335"/>
                  <a:gd name="connsiteX8" fmla="*/ 70928 w 79728"/>
                  <a:gd name="connsiteY8" fmla="*/ 51503 h 86335"/>
                  <a:gd name="connsiteX9" fmla="*/ 38282 w 79728"/>
                  <a:gd name="connsiteY9" fmla="*/ 86336 h 86335"/>
                  <a:gd name="connsiteX10" fmla="*/ 26258 w 79728"/>
                  <a:gd name="connsiteY10" fmla="*/ 75040 h 86335"/>
                  <a:gd name="connsiteX11" fmla="*/ 35658 w 79728"/>
                  <a:gd name="connsiteY11" fmla="*/ 64984 h 86335"/>
                  <a:gd name="connsiteX12" fmla="*/ 35367 w 79728"/>
                  <a:gd name="connsiteY12" fmla="*/ 64693 h 86335"/>
                  <a:gd name="connsiteX13" fmla="*/ 7821 w 79728"/>
                  <a:gd name="connsiteY13" fmla="*/ 59519 h 86335"/>
                  <a:gd name="connsiteX14" fmla="*/ 6364 w 79728"/>
                  <a:gd name="connsiteY14" fmla="*/ 28694 h 86335"/>
                  <a:gd name="connsiteX15" fmla="*/ 21157 w 79728"/>
                  <a:gd name="connsiteY15" fmla="*/ 54053 h 86335"/>
                  <a:gd name="connsiteX16" fmla="*/ 45496 w 79728"/>
                  <a:gd name="connsiteY16" fmla="*/ 53470 h 86335"/>
                  <a:gd name="connsiteX17" fmla="*/ 48775 w 79728"/>
                  <a:gd name="connsiteY17" fmla="*/ 49973 h 86335"/>
                  <a:gd name="connsiteX18" fmla="*/ 41124 w 79728"/>
                  <a:gd name="connsiteY18" fmla="*/ 42831 h 86335"/>
                  <a:gd name="connsiteX19" fmla="*/ 19772 w 79728"/>
                  <a:gd name="connsiteY19" fmla="*/ 39188 h 86335"/>
                  <a:gd name="connsiteX20" fmla="*/ 21084 w 79728"/>
                  <a:gd name="connsiteY20" fmla="*/ 54053 h 8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9728" h="86335">
                    <a:moveTo>
                      <a:pt x="6291" y="28694"/>
                    </a:moveTo>
                    <a:cubicBezTo>
                      <a:pt x="17149" y="17107"/>
                      <a:pt x="31723" y="20532"/>
                      <a:pt x="45788" y="33649"/>
                    </a:cubicBezTo>
                    <a:lnTo>
                      <a:pt x="55552" y="42831"/>
                    </a:lnTo>
                    <a:lnTo>
                      <a:pt x="58467" y="39698"/>
                    </a:lnTo>
                    <a:cubicBezTo>
                      <a:pt x="64588" y="33212"/>
                      <a:pt x="64734" y="26654"/>
                      <a:pt x="58175" y="20532"/>
                    </a:cubicBezTo>
                    <a:cubicBezTo>
                      <a:pt x="52054" y="14775"/>
                      <a:pt x="45277" y="13391"/>
                      <a:pt x="37990" y="14484"/>
                    </a:cubicBezTo>
                    <a:lnTo>
                      <a:pt x="37480" y="128"/>
                    </a:lnTo>
                    <a:cubicBezTo>
                      <a:pt x="47536" y="-600"/>
                      <a:pt x="58175" y="1586"/>
                      <a:pt x="69033" y="11715"/>
                    </a:cubicBezTo>
                    <a:cubicBezTo>
                      <a:pt x="82733" y="24540"/>
                      <a:pt x="83170" y="38386"/>
                      <a:pt x="70928" y="51503"/>
                    </a:cubicBezTo>
                    <a:lnTo>
                      <a:pt x="38282" y="86336"/>
                    </a:lnTo>
                    <a:lnTo>
                      <a:pt x="26258" y="75040"/>
                    </a:lnTo>
                    <a:lnTo>
                      <a:pt x="35658" y="64984"/>
                    </a:lnTo>
                    <a:lnTo>
                      <a:pt x="35367" y="64693"/>
                    </a:lnTo>
                    <a:cubicBezTo>
                      <a:pt x="24946" y="69138"/>
                      <a:pt x="16274" y="67535"/>
                      <a:pt x="7821" y="59519"/>
                    </a:cubicBezTo>
                    <a:cubicBezTo>
                      <a:pt x="-1579" y="50701"/>
                      <a:pt x="-3037" y="38750"/>
                      <a:pt x="6364" y="28694"/>
                    </a:cubicBezTo>
                    <a:close/>
                    <a:moveTo>
                      <a:pt x="21157" y="54053"/>
                    </a:moveTo>
                    <a:cubicBezTo>
                      <a:pt x="29173" y="61559"/>
                      <a:pt x="39520" y="59883"/>
                      <a:pt x="45496" y="53470"/>
                    </a:cubicBezTo>
                    <a:lnTo>
                      <a:pt x="48775" y="49973"/>
                    </a:lnTo>
                    <a:lnTo>
                      <a:pt x="41124" y="42831"/>
                    </a:lnTo>
                    <a:cubicBezTo>
                      <a:pt x="33982" y="36127"/>
                      <a:pt x="26112" y="32410"/>
                      <a:pt x="19772" y="39188"/>
                    </a:cubicBezTo>
                    <a:cubicBezTo>
                      <a:pt x="15546" y="43706"/>
                      <a:pt x="16056" y="49317"/>
                      <a:pt x="21084" y="54053"/>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83" name="Freeform 136">
                <a:extLst>
                  <a:ext uri="{FF2B5EF4-FFF2-40B4-BE49-F238E27FC236}">
                    <a16:creationId xmlns:a16="http://schemas.microsoft.com/office/drawing/2014/main" id="{6776BD17-3BF3-E9B3-C328-4E077F9B7366}"/>
                  </a:ext>
                </a:extLst>
              </p:cNvPr>
              <p:cNvSpPr/>
              <p:nvPr/>
            </p:nvSpPr>
            <p:spPr>
              <a:xfrm>
                <a:off x="8046327" y="3164107"/>
                <a:ext cx="89558" cy="97793"/>
              </a:xfrm>
              <a:custGeom>
                <a:avLst/>
                <a:gdLst>
                  <a:gd name="connsiteX0" fmla="*/ 52177 w 89558"/>
                  <a:gd name="connsiteY0" fmla="*/ 146 h 97793"/>
                  <a:gd name="connsiteX1" fmla="*/ 63909 w 89558"/>
                  <a:gd name="connsiteY1" fmla="*/ 11805 h 97793"/>
                  <a:gd name="connsiteX2" fmla="*/ 52905 w 89558"/>
                  <a:gd name="connsiteY2" fmla="*/ 22809 h 97793"/>
                  <a:gd name="connsiteX3" fmla="*/ 53124 w 89558"/>
                  <a:gd name="connsiteY3" fmla="*/ 23028 h 97793"/>
                  <a:gd name="connsiteX4" fmla="*/ 82273 w 89558"/>
                  <a:gd name="connsiteY4" fmla="*/ 28128 h 97793"/>
                  <a:gd name="connsiteX5" fmla="*/ 79795 w 89558"/>
                  <a:gd name="connsiteY5" fmla="*/ 63180 h 97793"/>
                  <a:gd name="connsiteX6" fmla="*/ 45327 w 89558"/>
                  <a:gd name="connsiteY6" fmla="*/ 97794 h 97793"/>
                  <a:gd name="connsiteX7" fmla="*/ 33230 w 89558"/>
                  <a:gd name="connsiteY7" fmla="*/ 85697 h 97793"/>
                  <a:gd name="connsiteX8" fmla="*/ 64783 w 89558"/>
                  <a:gd name="connsiteY8" fmla="*/ 53998 h 97793"/>
                  <a:gd name="connsiteX9" fmla="*/ 66532 w 89558"/>
                  <a:gd name="connsiteY9" fmla="*/ 33230 h 97793"/>
                  <a:gd name="connsiteX10" fmla="*/ 41319 w 89558"/>
                  <a:gd name="connsiteY10" fmla="*/ 35197 h 97793"/>
                  <a:gd name="connsiteX11" fmla="*/ 12097 w 89558"/>
                  <a:gd name="connsiteY11" fmla="*/ 64564 h 97793"/>
                  <a:gd name="connsiteX12" fmla="*/ 0 w 89558"/>
                  <a:gd name="connsiteY12" fmla="*/ 52468 h 97793"/>
                  <a:gd name="connsiteX13" fmla="*/ 52177 w 89558"/>
                  <a:gd name="connsiteY13" fmla="*/ 0 h 97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558" h="97793">
                    <a:moveTo>
                      <a:pt x="52177" y="146"/>
                    </a:moveTo>
                    <a:lnTo>
                      <a:pt x="63909" y="11805"/>
                    </a:lnTo>
                    <a:lnTo>
                      <a:pt x="52905" y="22809"/>
                    </a:lnTo>
                    <a:lnTo>
                      <a:pt x="53124" y="23028"/>
                    </a:lnTo>
                    <a:cubicBezTo>
                      <a:pt x="61504" y="19457"/>
                      <a:pt x="72289" y="18145"/>
                      <a:pt x="82273" y="28128"/>
                    </a:cubicBezTo>
                    <a:cubicBezTo>
                      <a:pt x="93568" y="39351"/>
                      <a:pt x="90944" y="52030"/>
                      <a:pt x="79795" y="63180"/>
                    </a:cubicBezTo>
                    <a:lnTo>
                      <a:pt x="45327" y="97794"/>
                    </a:lnTo>
                    <a:lnTo>
                      <a:pt x="33230" y="85697"/>
                    </a:lnTo>
                    <a:lnTo>
                      <a:pt x="64783" y="53998"/>
                    </a:lnTo>
                    <a:cubicBezTo>
                      <a:pt x="71779" y="46930"/>
                      <a:pt x="73601" y="40225"/>
                      <a:pt x="66532" y="33230"/>
                    </a:cubicBezTo>
                    <a:cubicBezTo>
                      <a:pt x="59318" y="26015"/>
                      <a:pt x="50063" y="26380"/>
                      <a:pt x="41319" y="35197"/>
                    </a:cubicBezTo>
                    <a:lnTo>
                      <a:pt x="12097" y="64564"/>
                    </a:lnTo>
                    <a:lnTo>
                      <a:pt x="0" y="52468"/>
                    </a:lnTo>
                    <a:lnTo>
                      <a:pt x="52177"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84" name="Freeform 137">
                <a:extLst>
                  <a:ext uri="{FF2B5EF4-FFF2-40B4-BE49-F238E27FC236}">
                    <a16:creationId xmlns:a16="http://schemas.microsoft.com/office/drawing/2014/main" id="{E5D8FDD7-56DE-9CB3-DD40-E1DB9137F7D5}"/>
                  </a:ext>
                </a:extLst>
              </p:cNvPr>
              <p:cNvSpPr/>
              <p:nvPr/>
            </p:nvSpPr>
            <p:spPr>
              <a:xfrm>
                <a:off x="8107769" y="3230324"/>
                <a:ext cx="80661" cy="75308"/>
              </a:xfrm>
              <a:custGeom>
                <a:avLst/>
                <a:gdLst>
                  <a:gd name="connsiteX0" fmla="*/ 62 w 80661"/>
                  <a:gd name="connsiteY0" fmla="*/ 33472 h 75308"/>
                  <a:gd name="connsiteX1" fmla="*/ 14563 w 80661"/>
                  <a:gd name="connsiteY1" fmla="*/ 33836 h 75308"/>
                  <a:gd name="connsiteX2" fmla="*/ 22215 w 80661"/>
                  <a:gd name="connsiteY2" fmla="*/ 54168 h 75308"/>
                  <a:gd name="connsiteX3" fmla="*/ 37372 w 80661"/>
                  <a:gd name="connsiteY3" fmla="*/ 58175 h 75308"/>
                  <a:gd name="connsiteX4" fmla="*/ 33874 w 80661"/>
                  <a:gd name="connsiteY4" fmla="*/ 38136 h 75308"/>
                  <a:gd name="connsiteX5" fmla="*/ 34020 w 80661"/>
                  <a:gd name="connsiteY5" fmla="*/ 5853 h 75308"/>
                  <a:gd name="connsiteX6" fmla="*/ 68999 w 80661"/>
                  <a:gd name="connsiteY6" fmla="*/ 11246 h 75308"/>
                  <a:gd name="connsiteX7" fmla="*/ 80658 w 80661"/>
                  <a:gd name="connsiteY7" fmla="*/ 38063 h 75308"/>
                  <a:gd name="connsiteX8" fmla="*/ 66521 w 80661"/>
                  <a:gd name="connsiteY8" fmla="*/ 37698 h 75308"/>
                  <a:gd name="connsiteX9" fmla="*/ 59744 w 80661"/>
                  <a:gd name="connsiteY9" fmla="*/ 20428 h 75308"/>
                  <a:gd name="connsiteX10" fmla="*/ 45971 w 80661"/>
                  <a:gd name="connsiteY10" fmla="*/ 17294 h 75308"/>
                  <a:gd name="connsiteX11" fmla="*/ 49906 w 80661"/>
                  <a:gd name="connsiteY11" fmla="*/ 35658 h 75308"/>
                  <a:gd name="connsiteX12" fmla="*/ 49760 w 80661"/>
                  <a:gd name="connsiteY12" fmla="*/ 69325 h 75308"/>
                  <a:gd name="connsiteX13" fmla="*/ 12887 w 80661"/>
                  <a:gd name="connsiteY13" fmla="*/ 63422 h 75308"/>
                  <a:gd name="connsiteX14" fmla="*/ 62 w 80661"/>
                  <a:gd name="connsiteY14" fmla="*/ 33399 h 75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661" h="75308">
                    <a:moveTo>
                      <a:pt x="62" y="33472"/>
                    </a:moveTo>
                    <a:lnTo>
                      <a:pt x="14563" y="33836"/>
                    </a:lnTo>
                    <a:cubicBezTo>
                      <a:pt x="13908" y="42581"/>
                      <a:pt x="16822" y="48556"/>
                      <a:pt x="22215" y="54168"/>
                    </a:cubicBezTo>
                    <a:cubicBezTo>
                      <a:pt x="27389" y="59560"/>
                      <a:pt x="33000" y="62329"/>
                      <a:pt x="37372" y="58175"/>
                    </a:cubicBezTo>
                    <a:cubicBezTo>
                      <a:pt x="42255" y="53585"/>
                      <a:pt x="39194" y="47755"/>
                      <a:pt x="33874" y="38136"/>
                    </a:cubicBezTo>
                    <a:cubicBezTo>
                      <a:pt x="28118" y="27788"/>
                      <a:pt x="23454" y="15910"/>
                      <a:pt x="34020" y="5853"/>
                    </a:cubicBezTo>
                    <a:cubicBezTo>
                      <a:pt x="43931" y="-3620"/>
                      <a:pt x="56975" y="-1434"/>
                      <a:pt x="68999" y="11246"/>
                    </a:cubicBezTo>
                    <a:cubicBezTo>
                      <a:pt x="76869" y="19480"/>
                      <a:pt x="80804" y="28735"/>
                      <a:pt x="80658" y="38063"/>
                    </a:cubicBezTo>
                    <a:lnTo>
                      <a:pt x="66521" y="37698"/>
                    </a:lnTo>
                    <a:cubicBezTo>
                      <a:pt x="66813" y="30557"/>
                      <a:pt x="63898" y="24800"/>
                      <a:pt x="59744" y="20428"/>
                    </a:cubicBezTo>
                    <a:cubicBezTo>
                      <a:pt x="54861" y="15254"/>
                      <a:pt x="49906" y="13578"/>
                      <a:pt x="45971" y="17294"/>
                    </a:cubicBezTo>
                    <a:cubicBezTo>
                      <a:pt x="42036" y="21084"/>
                      <a:pt x="44878" y="26622"/>
                      <a:pt x="49906" y="35658"/>
                    </a:cubicBezTo>
                    <a:cubicBezTo>
                      <a:pt x="55809" y="46152"/>
                      <a:pt x="61566" y="58103"/>
                      <a:pt x="49760" y="69325"/>
                    </a:cubicBezTo>
                    <a:cubicBezTo>
                      <a:pt x="39413" y="79235"/>
                      <a:pt x="25421" y="76539"/>
                      <a:pt x="12887" y="63422"/>
                    </a:cubicBezTo>
                    <a:cubicBezTo>
                      <a:pt x="3997" y="54095"/>
                      <a:pt x="-594" y="43965"/>
                      <a:pt x="62" y="3339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85" name="Freeform 138">
                <a:extLst>
                  <a:ext uri="{FF2B5EF4-FFF2-40B4-BE49-F238E27FC236}">
                    <a16:creationId xmlns:a16="http://schemas.microsoft.com/office/drawing/2014/main" id="{1D74C2E8-FA4A-8F35-9774-2B7BF6B7D5BC}"/>
                  </a:ext>
                </a:extLst>
              </p:cNvPr>
              <p:cNvSpPr/>
              <p:nvPr/>
            </p:nvSpPr>
            <p:spPr>
              <a:xfrm>
                <a:off x="8153740" y="3266005"/>
                <a:ext cx="96992" cy="73723"/>
              </a:xfrm>
              <a:custGeom>
                <a:avLst/>
                <a:gdLst>
                  <a:gd name="connsiteX0" fmla="*/ 91309 w 96992"/>
                  <a:gd name="connsiteY0" fmla="*/ 9596 h 73723"/>
                  <a:gd name="connsiteX1" fmla="*/ 96992 w 96992"/>
                  <a:gd name="connsiteY1" fmla="*/ 17321 h 73723"/>
                  <a:gd name="connsiteX2" fmla="*/ 87009 w 96992"/>
                  <a:gd name="connsiteY2" fmla="*/ 26430 h 73723"/>
                  <a:gd name="connsiteX3" fmla="*/ 83001 w 96992"/>
                  <a:gd name="connsiteY3" fmla="*/ 20454 h 73723"/>
                  <a:gd name="connsiteX4" fmla="*/ 70322 w 96992"/>
                  <a:gd name="connsiteY4" fmla="*/ 19944 h 73723"/>
                  <a:gd name="connsiteX5" fmla="*/ 66095 w 96992"/>
                  <a:gd name="connsiteY5" fmla="*/ 23806 h 73723"/>
                  <a:gd name="connsiteX6" fmla="*/ 76880 w 96992"/>
                  <a:gd name="connsiteY6" fmla="*/ 35611 h 73723"/>
                  <a:gd name="connsiteX7" fmla="*/ 67115 w 96992"/>
                  <a:gd name="connsiteY7" fmla="*/ 44575 h 73723"/>
                  <a:gd name="connsiteX8" fmla="*/ 56330 w 96992"/>
                  <a:gd name="connsiteY8" fmla="*/ 32769 h 73723"/>
                  <a:gd name="connsiteX9" fmla="*/ 11514 w 96992"/>
                  <a:gd name="connsiteY9" fmla="*/ 73723 h 73723"/>
                  <a:gd name="connsiteX10" fmla="*/ 0 w 96992"/>
                  <a:gd name="connsiteY10" fmla="*/ 61117 h 73723"/>
                  <a:gd name="connsiteX11" fmla="*/ 44816 w 96992"/>
                  <a:gd name="connsiteY11" fmla="*/ 20163 h 73723"/>
                  <a:gd name="connsiteX12" fmla="*/ 38477 w 96992"/>
                  <a:gd name="connsiteY12" fmla="*/ 13240 h 73723"/>
                  <a:gd name="connsiteX13" fmla="*/ 48242 w 96992"/>
                  <a:gd name="connsiteY13" fmla="*/ 4276 h 73723"/>
                  <a:gd name="connsiteX14" fmla="*/ 54581 w 96992"/>
                  <a:gd name="connsiteY14" fmla="*/ 11199 h 73723"/>
                  <a:gd name="connsiteX15" fmla="*/ 59828 w 96992"/>
                  <a:gd name="connsiteY15" fmla="*/ 6390 h 73723"/>
                  <a:gd name="connsiteX16" fmla="*/ 91309 w 96992"/>
                  <a:gd name="connsiteY16" fmla="*/ 9596 h 73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992" h="73723">
                    <a:moveTo>
                      <a:pt x="91309" y="9596"/>
                    </a:moveTo>
                    <a:cubicBezTo>
                      <a:pt x="93932" y="12438"/>
                      <a:pt x="95973" y="15280"/>
                      <a:pt x="96992" y="17321"/>
                    </a:cubicBezTo>
                    <a:lnTo>
                      <a:pt x="87009" y="26430"/>
                    </a:lnTo>
                    <a:cubicBezTo>
                      <a:pt x="86280" y="24754"/>
                      <a:pt x="84896" y="22494"/>
                      <a:pt x="83001" y="20454"/>
                    </a:cubicBezTo>
                    <a:cubicBezTo>
                      <a:pt x="77973" y="14989"/>
                      <a:pt x="74548" y="16082"/>
                      <a:pt x="70322" y="19944"/>
                    </a:cubicBezTo>
                    <a:lnTo>
                      <a:pt x="66095" y="23806"/>
                    </a:lnTo>
                    <a:lnTo>
                      <a:pt x="76880" y="35611"/>
                    </a:lnTo>
                    <a:lnTo>
                      <a:pt x="67115" y="44575"/>
                    </a:lnTo>
                    <a:lnTo>
                      <a:pt x="56330" y="32769"/>
                    </a:lnTo>
                    <a:lnTo>
                      <a:pt x="11514" y="73723"/>
                    </a:lnTo>
                    <a:lnTo>
                      <a:pt x="0" y="61117"/>
                    </a:lnTo>
                    <a:lnTo>
                      <a:pt x="44816" y="20163"/>
                    </a:lnTo>
                    <a:lnTo>
                      <a:pt x="38477" y="13240"/>
                    </a:lnTo>
                    <a:lnTo>
                      <a:pt x="48242" y="4276"/>
                    </a:lnTo>
                    <a:lnTo>
                      <a:pt x="54581" y="11199"/>
                    </a:lnTo>
                    <a:lnTo>
                      <a:pt x="59828" y="6390"/>
                    </a:lnTo>
                    <a:cubicBezTo>
                      <a:pt x="68937" y="-1918"/>
                      <a:pt x="79431" y="-3375"/>
                      <a:pt x="91309" y="9596"/>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86" name="Freeform 139">
                <a:extLst>
                  <a:ext uri="{FF2B5EF4-FFF2-40B4-BE49-F238E27FC236}">
                    <a16:creationId xmlns:a16="http://schemas.microsoft.com/office/drawing/2014/main" id="{438C0D34-8CF4-0BAB-B3D8-FCD231B4DBF8}"/>
                  </a:ext>
                </a:extLst>
              </p:cNvPr>
              <p:cNvSpPr/>
              <p:nvPr/>
            </p:nvSpPr>
            <p:spPr>
              <a:xfrm>
                <a:off x="8193557" y="3320873"/>
                <a:ext cx="77810" cy="77611"/>
              </a:xfrm>
              <a:custGeom>
                <a:avLst/>
                <a:gdLst>
                  <a:gd name="connsiteX0" fmla="*/ 14181 w 77810"/>
                  <a:gd name="connsiteY0" fmla="*/ 10474 h 77611"/>
                  <a:gd name="connsiteX1" fmla="*/ 67815 w 77810"/>
                  <a:gd name="connsiteY1" fmla="*/ 13608 h 77611"/>
                  <a:gd name="connsiteX2" fmla="*/ 63588 w 77810"/>
                  <a:gd name="connsiteY2" fmla="*/ 67169 h 77611"/>
                  <a:gd name="connsiteX3" fmla="*/ 10028 w 77810"/>
                  <a:gd name="connsiteY3" fmla="*/ 63962 h 77611"/>
                  <a:gd name="connsiteX4" fmla="*/ 14181 w 77810"/>
                  <a:gd name="connsiteY4" fmla="*/ 10474 h 77611"/>
                  <a:gd name="connsiteX5" fmla="*/ 20521 w 77810"/>
                  <a:gd name="connsiteY5" fmla="*/ 54926 h 77611"/>
                  <a:gd name="connsiteX6" fmla="*/ 51929 w 77810"/>
                  <a:gd name="connsiteY6" fmla="*/ 53760 h 77611"/>
                  <a:gd name="connsiteX7" fmla="*/ 57394 w 77810"/>
                  <a:gd name="connsiteY7" fmla="*/ 22790 h 77611"/>
                  <a:gd name="connsiteX8" fmla="*/ 25987 w 77810"/>
                  <a:gd name="connsiteY8" fmla="*/ 23956 h 77611"/>
                  <a:gd name="connsiteX9" fmla="*/ 20521 w 77810"/>
                  <a:gd name="connsiteY9" fmla="*/ 54853 h 77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10" h="77611">
                    <a:moveTo>
                      <a:pt x="14181" y="10474"/>
                    </a:moveTo>
                    <a:cubicBezTo>
                      <a:pt x="31743" y="-4829"/>
                      <a:pt x="53314" y="-3007"/>
                      <a:pt x="67815" y="13608"/>
                    </a:cubicBezTo>
                    <a:cubicBezTo>
                      <a:pt x="82316" y="30296"/>
                      <a:pt x="81151" y="51866"/>
                      <a:pt x="63588" y="67169"/>
                    </a:cubicBezTo>
                    <a:cubicBezTo>
                      <a:pt x="46026" y="82472"/>
                      <a:pt x="24529" y="80577"/>
                      <a:pt x="10028" y="63962"/>
                    </a:cubicBezTo>
                    <a:cubicBezTo>
                      <a:pt x="-4474" y="47275"/>
                      <a:pt x="-3381" y="25778"/>
                      <a:pt x="14181" y="10474"/>
                    </a:cubicBezTo>
                    <a:close/>
                    <a:moveTo>
                      <a:pt x="20521" y="54926"/>
                    </a:moveTo>
                    <a:cubicBezTo>
                      <a:pt x="28100" y="63598"/>
                      <a:pt x="39978" y="64181"/>
                      <a:pt x="51929" y="53760"/>
                    </a:cubicBezTo>
                    <a:cubicBezTo>
                      <a:pt x="63953" y="43267"/>
                      <a:pt x="64973" y="31462"/>
                      <a:pt x="57394" y="22790"/>
                    </a:cubicBezTo>
                    <a:cubicBezTo>
                      <a:pt x="49816" y="14118"/>
                      <a:pt x="38011" y="13535"/>
                      <a:pt x="25987" y="23956"/>
                    </a:cubicBezTo>
                    <a:cubicBezTo>
                      <a:pt x="14035" y="34376"/>
                      <a:pt x="12943" y="46255"/>
                      <a:pt x="20521" y="54853"/>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87" name="Freeform 140">
                <a:extLst>
                  <a:ext uri="{FF2B5EF4-FFF2-40B4-BE49-F238E27FC236}">
                    <a16:creationId xmlns:a16="http://schemas.microsoft.com/office/drawing/2014/main" id="{5F77DFB8-650C-D7AC-AAA9-18C9E51A58CA}"/>
                  </a:ext>
                </a:extLst>
              </p:cNvPr>
              <p:cNvSpPr/>
              <p:nvPr/>
            </p:nvSpPr>
            <p:spPr>
              <a:xfrm>
                <a:off x="8239146" y="3376966"/>
                <a:ext cx="83146" cy="60410"/>
              </a:xfrm>
              <a:custGeom>
                <a:avLst/>
                <a:gdLst>
                  <a:gd name="connsiteX0" fmla="*/ 56986 w 83146"/>
                  <a:gd name="connsiteY0" fmla="*/ 146 h 60410"/>
                  <a:gd name="connsiteX1" fmla="*/ 67552 w 83146"/>
                  <a:gd name="connsiteY1" fmla="*/ 12898 h 60410"/>
                  <a:gd name="connsiteX2" fmla="*/ 55310 w 83146"/>
                  <a:gd name="connsiteY2" fmla="*/ 23028 h 60410"/>
                  <a:gd name="connsiteX3" fmla="*/ 55455 w 83146"/>
                  <a:gd name="connsiteY3" fmla="*/ 23246 h 60410"/>
                  <a:gd name="connsiteX4" fmla="*/ 79795 w 83146"/>
                  <a:gd name="connsiteY4" fmla="*/ 25505 h 60410"/>
                  <a:gd name="connsiteX5" fmla="*/ 83147 w 83146"/>
                  <a:gd name="connsiteY5" fmla="*/ 30971 h 60410"/>
                  <a:gd name="connsiteX6" fmla="*/ 70831 w 83146"/>
                  <a:gd name="connsiteY6" fmla="*/ 41173 h 60410"/>
                  <a:gd name="connsiteX7" fmla="*/ 66969 w 83146"/>
                  <a:gd name="connsiteY7" fmla="*/ 35124 h 60410"/>
                  <a:gd name="connsiteX8" fmla="*/ 39569 w 83146"/>
                  <a:gd name="connsiteY8" fmla="*/ 36655 h 60410"/>
                  <a:gd name="connsiteX9" fmla="*/ 10931 w 83146"/>
                  <a:gd name="connsiteY9" fmla="*/ 60411 h 60410"/>
                  <a:gd name="connsiteX10" fmla="*/ 0 w 83146"/>
                  <a:gd name="connsiteY10" fmla="*/ 47221 h 60410"/>
                  <a:gd name="connsiteX11" fmla="*/ 56913 w 83146"/>
                  <a:gd name="connsiteY11" fmla="*/ 0 h 6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146" h="60410">
                    <a:moveTo>
                      <a:pt x="56986" y="146"/>
                    </a:moveTo>
                    <a:lnTo>
                      <a:pt x="67552" y="12898"/>
                    </a:lnTo>
                    <a:lnTo>
                      <a:pt x="55310" y="23028"/>
                    </a:lnTo>
                    <a:lnTo>
                      <a:pt x="55455" y="23246"/>
                    </a:lnTo>
                    <a:cubicBezTo>
                      <a:pt x="66168" y="17635"/>
                      <a:pt x="73892" y="18364"/>
                      <a:pt x="79795" y="25505"/>
                    </a:cubicBezTo>
                    <a:cubicBezTo>
                      <a:pt x="81544" y="27619"/>
                      <a:pt x="82636" y="29659"/>
                      <a:pt x="83147" y="30971"/>
                    </a:cubicBezTo>
                    <a:lnTo>
                      <a:pt x="70831" y="41173"/>
                    </a:lnTo>
                    <a:cubicBezTo>
                      <a:pt x="70030" y="39497"/>
                      <a:pt x="68645" y="37165"/>
                      <a:pt x="66969" y="35124"/>
                    </a:cubicBezTo>
                    <a:cubicBezTo>
                      <a:pt x="59172" y="25724"/>
                      <a:pt x="50136" y="27910"/>
                      <a:pt x="39569" y="36655"/>
                    </a:cubicBezTo>
                    <a:lnTo>
                      <a:pt x="10931" y="60411"/>
                    </a:lnTo>
                    <a:lnTo>
                      <a:pt x="0" y="47221"/>
                    </a:lnTo>
                    <a:lnTo>
                      <a:pt x="56913"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88" name="Freeform 141">
                <a:extLst>
                  <a:ext uri="{FF2B5EF4-FFF2-40B4-BE49-F238E27FC236}">
                    <a16:creationId xmlns:a16="http://schemas.microsoft.com/office/drawing/2014/main" id="{26884D9E-2EE4-571B-3F15-7C1F7D49B2B8}"/>
                  </a:ext>
                </a:extLst>
              </p:cNvPr>
              <p:cNvSpPr/>
              <p:nvPr/>
            </p:nvSpPr>
            <p:spPr>
              <a:xfrm>
                <a:off x="8273906" y="3420470"/>
                <a:ext cx="114809" cy="126942"/>
              </a:xfrm>
              <a:custGeom>
                <a:avLst/>
                <a:gdLst>
                  <a:gd name="connsiteX0" fmla="*/ 58443 w 114809"/>
                  <a:gd name="connsiteY0" fmla="*/ 73 h 126942"/>
                  <a:gd name="connsiteX1" fmla="*/ 68572 w 114809"/>
                  <a:gd name="connsiteY1" fmla="*/ 13117 h 126942"/>
                  <a:gd name="connsiteX2" fmla="*/ 56257 w 114809"/>
                  <a:gd name="connsiteY2" fmla="*/ 22736 h 126942"/>
                  <a:gd name="connsiteX3" fmla="*/ 56403 w 114809"/>
                  <a:gd name="connsiteY3" fmla="*/ 22955 h 126942"/>
                  <a:gd name="connsiteX4" fmla="*/ 83220 w 114809"/>
                  <a:gd name="connsiteY4" fmla="*/ 29732 h 126942"/>
                  <a:gd name="connsiteX5" fmla="*/ 82053 w 114809"/>
                  <a:gd name="connsiteY5" fmla="*/ 55966 h 126942"/>
                  <a:gd name="connsiteX6" fmla="*/ 82272 w 114809"/>
                  <a:gd name="connsiteY6" fmla="*/ 56257 h 126942"/>
                  <a:gd name="connsiteX7" fmla="*/ 109599 w 114809"/>
                  <a:gd name="connsiteY7" fmla="*/ 63690 h 126942"/>
                  <a:gd name="connsiteX8" fmla="*/ 102093 w 114809"/>
                  <a:gd name="connsiteY8" fmla="*/ 96847 h 126942"/>
                  <a:gd name="connsiteX9" fmla="*/ 63326 w 114809"/>
                  <a:gd name="connsiteY9" fmla="*/ 126943 h 126942"/>
                  <a:gd name="connsiteX10" fmla="*/ 52832 w 114809"/>
                  <a:gd name="connsiteY10" fmla="*/ 113462 h 126942"/>
                  <a:gd name="connsiteX11" fmla="*/ 88394 w 114809"/>
                  <a:gd name="connsiteY11" fmla="*/ 85843 h 126942"/>
                  <a:gd name="connsiteX12" fmla="*/ 93713 w 114809"/>
                  <a:gd name="connsiteY12" fmla="*/ 67261 h 126942"/>
                  <a:gd name="connsiteX13" fmla="*/ 69811 w 114809"/>
                  <a:gd name="connsiteY13" fmla="*/ 67334 h 126942"/>
                  <a:gd name="connsiteX14" fmla="*/ 36873 w 114809"/>
                  <a:gd name="connsiteY14" fmla="*/ 92912 h 126942"/>
                  <a:gd name="connsiteX15" fmla="*/ 26453 w 114809"/>
                  <a:gd name="connsiteY15" fmla="*/ 79430 h 126942"/>
                  <a:gd name="connsiteX16" fmla="*/ 62014 w 114809"/>
                  <a:gd name="connsiteY16" fmla="*/ 51812 h 126942"/>
                  <a:gd name="connsiteX17" fmla="*/ 67261 w 114809"/>
                  <a:gd name="connsiteY17" fmla="*/ 33157 h 126942"/>
                  <a:gd name="connsiteX18" fmla="*/ 43431 w 114809"/>
                  <a:gd name="connsiteY18" fmla="*/ 33302 h 126942"/>
                  <a:gd name="connsiteX19" fmla="*/ 10494 w 114809"/>
                  <a:gd name="connsiteY19" fmla="*/ 58880 h 126942"/>
                  <a:gd name="connsiteX20" fmla="*/ 0 w 114809"/>
                  <a:gd name="connsiteY20" fmla="*/ 45399 h 126942"/>
                  <a:gd name="connsiteX21" fmla="*/ 58370 w 114809"/>
                  <a:gd name="connsiteY21" fmla="*/ 0 h 126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809" h="126942">
                    <a:moveTo>
                      <a:pt x="58443" y="73"/>
                    </a:moveTo>
                    <a:lnTo>
                      <a:pt x="68572" y="13117"/>
                    </a:lnTo>
                    <a:lnTo>
                      <a:pt x="56257" y="22736"/>
                    </a:lnTo>
                    <a:lnTo>
                      <a:pt x="56403" y="22955"/>
                    </a:lnTo>
                    <a:cubicBezTo>
                      <a:pt x="66969" y="19092"/>
                      <a:pt x="76515" y="21060"/>
                      <a:pt x="83220" y="29732"/>
                    </a:cubicBezTo>
                    <a:cubicBezTo>
                      <a:pt x="89486" y="37821"/>
                      <a:pt x="89778" y="46711"/>
                      <a:pt x="82053" y="55966"/>
                    </a:cubicBezTo>
                    <a:lnTo>
                      <a:pt x="82272" y="56257"/>
                    </a:lnTo>
                    <a:cubicBezTo>
                      <a:pt x="93713" y="51812"/>
                      <a:pt x="103186" y="55383"/>
                      <a:pt x="109599" y="63690"/>
                    </a:cubicBezTo>
                    <a:cubicBezTo>
                      <a:pt x="118489" y="75131"/>
                      <a:pt x="116012" y="85989"/>
                      <a:pt x="102093" y="96847"/>
                    </a:cubicBezTo>
                    <a:lnTo>
                      <a:pt x="63326" y="126943"/>
                    </a:lnTo>
                    <a:lnTo>
                      <a:pt x="52832" y="113462"/>
                    </a:lnTo>
                    <a:lnTo>
                      <a:pt x="88394" y="85843"/>
                    </a:lnTo>
                    <a:cubicBezTo>
                      <a:pt x="96045" y="79868"/>
                      <a:pt x="98960" y="74038"/>
                      <a:pt x="93713" y="67261"/>
                    </a:cubicBezTo>
                    <a:cubicBezTo>
                      <a:pt x="88175" y="60192"/>
                      <a:pt x="79503" y="59828"/>
                      <a:pt x="69811" y="67334"/>
                    </a:cubicBezTo>
                    <a:lnTo>
                      <a:pt x="36873" y="92912"/>
                    </a:lnTo>
                    <a:lnTo>
                      <a:pt x="26453" y="79430"/>
                    </a:lnTo>
                    <a:lnTo>
                      <a:pt x="62014" y="51812"/>
                    </a:lnTo>
                    <a:cubicBezTo>
                      <a:pt x="69665" y="45836"/>
                      <a:pt x="72580" y="39934"/>
                      <a:pt x="67261" y="33157"/>
                    </a:cubicBezTo>
                    <a:cubicBezTo>
                      <a:pt x="61722" y="26015"/>
                      <a:pt x="53123" y="25724"/>
                      <a:pt x="43431" y="33302"/>
                    </a:cubicBezTo>
                    <a:lnTo>
                      <a:pt x="10494" y="58880"/>
                    </a:lnTo>
                    <a:lnTo>
                      <a:pt x="0" y="45399"/>
                    </a:lnTo>
                    <a:lnTo>
                      <a:pt x="58370"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89" name="Freeform 142">
                <a:extLst>
                  <a:ext uri="{FF2B5EF4-FFF2-40B4-BE49-F238E27FC236}">
                    <a16:creationId xmlns:a16="http://schemas.microsoft.com/office/drawing/2014/main" id="{9685A1E7-4504-87BF-452E-8E217DF742AF}"/>
                  </a:ext>
                </a:extLst>
              </p:cNvPr>
              <p:cNvSpPr/>
              <p:nvPr/>
            </p:nvSpPr>
            <p:spPr>
              <a:xfrm>
                <a:off x="8353122" y="3526280"/>
                <a:ext cx="81000" cy="84604"/>
              </a:xfrm>
              <a:custGeom>
                <a:avLst/>
                <a:gdLst>
                  <a:gd name="connsiteX0" fmla="*/ 9396 w 81000"/>
                  <a:gd name="connsiteY0" fmla="*/ 22007 h 84604"/>
                  <a:gd name="connsiteX1" fmla="*/ 47143 w 81000"/>
                  <a:gd name="connsiteY1" fmla="*/ 34541 h 84604"/>
                  <a:gd name="connsiteX2" fmla="*/ 54941 w 81000"/>
                  <a:gd name="connsiteY2" fmla="*/ 45399 h 84604"/>
                  <a:gd name="connsiteX3" fmla="*/ 58366 w 81000"/>
                  <a:gd name="connsiteY3" fmla="*/ 42922 h 84604"/>
                  <a:gd name="connsiteX4" fmla="*/ 61791 w 81000"/>
                  <a:gd name="connsiteY4" fmla="*/ 24048 h 84604"/>
                  <a:gd name="connsiteX5" fmla="*/ 43136 w 81000"/>
                  <a:gd name="connsiteY5" fmla="*/ 14210 h 84604"/>
                  <a:gd name="connsiteX6" fmla="*/ 45395 w 81000"/>
                  <a:gd name="connsiteY6" fmla="*/ 0 h 84604"/>
                  <a:gd name="connsiteX7" fmla="*/ 74106 w 81000"/>
                  <a:gd name="connsiteY7" fmla="*/ 17416 h 84604"/>
                  <a:gd name="connsiteX8" fmla="*/ 68277 w 81000"/>
                  <a:gd name="connsiteY8" fmla="*/ 56767 h 84604"/>
                  <a:gd name="connsiteX9" fmla="*/ 29582 w 81000"/>
                  <a:gd name="connsiteY9" fmla="*/ 84604 h 84604"/>
                  <a:gd name="connsiteX10" fmla="*/ 19962 w 81000"/>
                  <a:gd name="connsiteY10" fmla="*/ 71196 h 84604"/>
                  <a:gd name="connsiteX11" fmla="*/ 31112 w 81000"/>
                  <a:gd name="connsiteY11" fmla="*/ 63180 h 84604"/>
                  <a:gd name="connsiteX12" fmla="*/ 30893 w 81000"/>
                  <a:gd name="connsiteY12" fmla="*/ 62888 h 84604"/>
                  <a:gd name="connsiteX13" fmla="*/ 4878 w 81000"/>
                  <a:gd name="connsiteY13" fmla="*/ 52541 h 84604"/>
                  <a:gd name="connsiteX14" fmla="*/ 9469 w 81000"/>
                  <a:gd name="connsiteY14" fmla="*/ 22007 h 84604"/>
                  <a:gd name="connsiteX15" fmla="*/ 19088 w 81000"/>
                  <a:gd name="connsiteY15" fmla="*/ 49772 h 84604"/>
                  <a:gd name="connsiteX16" fmla="*/ 43063 w 81000"/>
                  <a:gd name="connsiteY16" fmla="*/ 53925 h 84604"/>
                  <a:gd name="connsiteX17" fmla="*/ 46998 w 81000"/>
                  <a:gd name="connsiteY17" fmla="*/ 51156 h 84604"/>
                  <a:gd name="connsiteX18" fmla="*/ 40877 w 81000"/>
                  <a:gd name="connsiteY18" fmla="*/ 42630 h 84604"/>
                  <a:gd name="connsiteX19" fmla="*/ 20691 w 81000"/>
                  <a:gd name="connsiteY19" fmla="*/ 34906 h 84604"/>
                  <a:gd name="connsiteX20" fmla="*/ 19161 w 81000"/>
                  <a:gd name="connsiteY20" fmla="*/ 49772 h 84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000" h="84604">
                    <a:moveTo>
                      <a:pt x="9396" y="22007"/>
                    </a:moveTo>
                    <a:cubicBezTo>
                      <a:pt x="22294" y="12753"/>
                      <a:pt x="35921" y="18947"/>
                      <a:pt x="47143" y="34541"/>
                    </a:cubicBezTo>
                    <a:lnTo>
                      <a:pt x="54941" y="45399"/>
                    </a:lnTo>
                    <a:lnTo>
                      <a:pt x="58366" y="42922"/>
                    </a:lnTo>
                    <a:cubicBezTo>
                      <a:pt x="65653" y="37748"/>
                      <a:pt x="67037" y="31335"/>
                      <a:pt x="61791" y="24048"/>
                    </a:cubicBezTo>
                    <a:cubicBezTo>
                      <a:pt x="56909" y="17271"/>
                      <a:pt x="50569" y="14574"/>
                      <a:pt x="43136" y="14210"/>
                    </a:cubicBezTo>
                    <a:lnTo>
                      <a:pt x="45395" y="0"/>
                    </a:lnTo>
                    <a:cubicBezTo>
                      <a:pt x="55451" y="1239"/>
                      <a:pt x="65434" y="5393"/>
                      <a:pt x="74106" y="17416"/>
                    </a:cubicBezTo>
                    <a:cubicBezTo>
                      <a:pt x="85110" y="32647"/>
                      <a:pt x="82778" y="46347"/>
                      <a:pt x="68277" y="56767"/>
                    </a:cubicBezTo>
                    <a:lnTo>
                      <a:pt x="29582" y="84604"/>
                    </a:lnTo>
                    <a:lnTo>
                      <a:pt x="19962" y="71196"/>
                    </a:lnTo>
                    <a:lnTo>
                      <a:pt x="31112" y="63180"/>
                    </a:lnTo>
                    <a:lnTo>
                      <a:pt x="30893" y="62888"/>
                    </a:lnTo>
                    <a:cubicBezTo>
                      <a:pt x="19817" y="65220"/>
                      <a:pt x="11655" y="61941"/>
                      <a:pt x="4878" y="52541"/>
                    </a:cubicBezTo>
                    <a:cubicBezTo>
                      <a:pt x="-2628" y="42047"/>
                      <a:pt x="-1753" y="30096"/>
                      <a:pt x="9469" y="22007"/>
                    </a:cubicBezTo>
                    <a:close/>
                    <a:moveTo>
                      <a:pt x="19088" y="49772"/>
                    </a:moveTo>
                    <a:cubicBezTo>
                      <a:pt x="25501" y="58735"/>
                      <a:pt x="35994" y="59026"/>
                      <a:pt x="43063" y="53925"/>
                    </a:cubicBezTo>
                    <a:lnTo>
                      <a:pt x="46998" y="51156"/>
                    </a:lnTo>
                    <a:lnTo>
                      <a:pt x="40877" y="42630"/>
                    </a:lnTo>
                    <a:cubicBezTo>
                      <a:pt x="35120" y="34687"/>
                      <a:pt x="28197" y="29513"/>
                      <a:pt x="20691" y="34906"/>
                    </a:cubicBezTo>
                    <a:cubicBezTo>
                      <a:pt x="15663" y="38476"/>
                      <a:pt x="15080" y="44088"/>
                      <a:pt x="19161" y="49772"/>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90" name="Freeform 143">
                <a:extLst>
                  <a:ext uri="{FF2B5EF4-FFF2-40B4-BE49-F238E27FC236}">
                    <a16:creationId xmlns:a16="http://schemas.microsoft.com/office/drawing/2014/main" id="{EEA03556-AE1E-982A-06F2-86F8F3EFB832}"/>
                  </a:ext>
                </a:extLst>
              </p:cNvPr>
              <p:cNvSpPr/>
              <p:nvPr/>
            </p:nvSpPr>
            <p:spPr>
              <a:xfrm>
                <a:off x="8400224" y="3580715"/>
                <a:ext cx="81002" cy="75058"/>
              </a:xfrm>
              <a:custGeom>
                <a:avLst/>
                <a:gdLst>
                  <a:gd name="connsiteX0" fmla="*/ 9661 w 81002"/>
                  <a:gd name="connsiteY0" fmla="*/ 37165 h 75058"/>
                  <a:gd name="connsiteX1" fmla="*/ 44567 w 81002"/>
                  <a:gd name="connsiteY1" fmla="*/ 13336 h 75058"/>
                  <a:gd name="connsiteX2" fmla="*/ 38446 w 81002"/>
                  <a:gd name="connsiteY2" fmla="*/ 4445 h 75058"/>
                  <a:gd name="connsiteX3" fmla="*/ 44931 w 81002"/>
                  <a:gd name="connsiteY3" fmla="*/ 0 h 75058"/>
                  <a:gd name="connsiteX4" fmla="*/ 79181 w 81002"/>
                  <a:gd name="connsiteY4" fmla="*/ 6486 h 75058"/>
                  <a:gd name="connsiteX5" fmla="*/ 81002 w 81002"/>
                  <a:gd name="connsiteY5" fmla="*/ 9182 h 75058"/>
                  <a:gd name="connsiteX6" fmla="*/ 65116 w 81002"/>
                  <a:gd name="connsiteY6" fmla="*/ 20040 h 75058"/>
                  <a:gd name="connsiteX7" fmla="*/ 74153 w 81002"/>
                  <a:gd name="connsiteY7" fmla="*/ 33302 h 75058"/>
                  <a:gd name="connsiteX8" fmla="*/ 63222 w 81002"/>
                  <a:gd name="connsiteY8" fmla="*/ 40808 h 75058"/>
                  <a:gd name="connsiteX9" fmla="*/ 54186 w 81002"/>
                  <a:gd name="connsiteY9" fmla="*/ 27546 h 75058"/>
                  <a:gd name="connsiteX10" fmla="*/ 22049 w 81002"/>
                  <a:gd name="connsiteY10" fmla="*/ 49480 h 75058"/>
                  <a:gd name="connsiteX11" fmla="*/ 19717 w 81002"/>
                  <a:gd name="connsiteY11" fmla="*/ 60702 h 75058"/>
                  <a:gd name="connsiteX12" fmla="*/ 25256 w 81002"/>
                  <a:gd name="connsiteY12" fmla="*/ 66751 h 75058"/>
                  <a:gd name="connsiteX13" fmla="*/ 13159 w 81002"/>
                  <a:gd name="connsiteY13" fmla="*/ 75058 h 75058"/>
                  <a:gd name="connsiteX14" fmla="*/ 5580 w 81002"/>
                  <a:gd name="connsiteY14" fmla="*/ 66095 h 75058"/>
                  <a:gd name="connsiteX15" fmla="*/ 9734 w 81002"/>
                  <a:gd name="connsiteY15" fmla="*/ 37310 h 75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1002" h="75058">
                    <a:moveTo>
                      <a:pt x="9661" y="37165"/>
                    </a:moveTo>
                    <a:lnTo>
                      <a:pt x="44567" y="13336"/>
                    </a:lnTo>
                    <a:lnTo>
                      <a:pt x="38446" y="4445"/>
                    </a:lnTo>
                    <a:lnTo>
                      <a:pt x="44931" y="0"/>
                    </a:lnTo>
                    <a:lnTo>
                      <a:pt x="79181" y="6486"/>
                    </a:lnTo>
                    <a:lnTo>
                      <a:pt x="81002" y="9182"/>
                    </a:lnTo>
                    <a:lnTo>
                      <a:pt x="65116" y="20040"/>
                    </a:lnTo>
                    <a:lnTo>
                      <a:pt x="74153" y="33302"/>
                    </a:lnTo>
                    <a:lnTo>
                      <a:pt x="63222" y="40808"/>
                    </a:lnTo>
                    <a:lnTo>
                      <a:pt x="54186" y="27546"/>
                    </a:lnTo>
                    <a:lnTo>
                      <a:pt x="22049" y="49480"/>
                    </a:lnTo>
                    <a:cubicBezTo>
                      <a:pt x="16657" y="53124"/>
                      <a:pt x="16438" y="55893"/>
                      <a:pt x="19717" y="60702"/>
                    </a:cubicBezTo>
                    <a:cubicBezTo>
                      <a:pt x="21393" y="63107"/>
                      <a:pt x="23288" y="65147"/>
                      <a:pt x="25256" y="66751"/>
                    </a:cubicBezTo>
                    <a:lnTo>
                      <a:pt x="13159" y="75058"/>
                    </a:lnTo>
                    <a:cubicBezTo>
                      <a:pt x="10827" y="73018"/>
                      <a:pt x="7985" y="69665"/>
                      <a:pt x="5580" y="66095"/>
                    </a:cubicBezTo>
                    <a:cubicBezTo>
                      <a:pt x="-2800" y="53852"/>
                      <a:pt x="-1998" y="45326"/>
                      <a:pt x="9734" y="3731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91" name="Freeform 144">
                <a:extLst>
                  <a:ext uri="{FF2B5EF4-FFF2-40B4-BE49-F238E27FC236}">
                    <a16:creationId xmlns:a16="http://schemas.microsoft.com/office/drawing/2014/main" id="{3C52C803-30C3-C215-E586-B9D5BB10BC02}"/>
                  </a:ext>
                </a:extLst>
              </p:cNvPr>
              <p:cNvSpPr/>
              <p:nvPr/>
            </p:nvSpPr>
            <p:spPr>
              <a:xfrm>
                <a:off x="8422710" y="3614329"/>
                <a:ext cx="93836" cy="69573"/>
              </a:xfrm>
              <a:custGeom>
                <a:avLst/>
                <a:gdLst>
                  <a:gd name="connsiteX0" fmla="*/ 61650 w 93836"/>
                  <a:gd name="connsiteY0" fmla="*/ 14555 h 69573"/>
                  <a:gd name="connsiteX1" fmla="*/ 71050 w 93836"/>
                  <a:gd name="connsiteY1" fmla="*/ 28838 h 69573"/>
                  <a:gd name="connsiteX2" fmla="*/ 9400 w 93836"/>
                  <a:gd name="connsiteY2" fmla="*/ 69573 h 69573"/>
                  <a:gd name="connsiteX3" fmla="*/ 0 w 93836"/>
                  <a:gd name="connsiteY3" fmla="*/ 55290 h 69573"/>
                  <a:gd name="connsiteX4" fmla="*/ 61650 w 93836"/>
                  <a:gd name="connsiteY4" fmla="*/ 14555 h 69573"/>
                  <a:gd name="connsiteX5" fmla="*/ 91964 w 93836"/>
                  <a:gd name="connsiteY5" fmla="*/ 4790 h 69573"/>
                  <a:gd name="connsiteX6" fmla="*/ 89195 w 93836"/>
                  <a:gd name="connsiteY6" fmla="*/ 18927 h 69573"/>
                  <a:gd name="connsiteX7" fmla="*/ 75204 w 93836"/>
                  <a:gd name="connsiteY7" fmla="*/ 15867 h 69573"/>
                  <a:gd name="connsiteX8" fmla="*/ 77900 w 93836"/>
                  <a:gd name="connsiteY8" fmla="*/ 1803 h 69573"/>
                  <a:gd name="connsiteX9" fmla="*/ 91891 w 93836"/>
                  <a:gd name="connsiteY9" fmla="*/ 4790 h 69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836" h="69573">
                    <a:moveTo>
                      <a:pt x="61650" y="14555"/>
                    </a:moveTo>
                    <a:lnTo>
                      <a:pt x="71050" y="28838"/>
                    </a:lnTo>
                    <a:lnTo>
                      <a:pt x="9400" y="69573"/>
                    </a:lnTo>
                    <a:lnTo>
                      <a:pt x="0" y="55290"/>
                    </a:lnTo>
                    <a:lnTo>
                      <a:pt x="61650" y="14555"/>
                    </a:lnTo>
                    <a:close/>
                    <a:moveTo>
                      <a:pt x="91964" y="4790"/>
                    </a:moveTo>
                    <a:cubicBezTo>
                      <a:pt x="95244" y="9746"/>
                      <a:pt x="94150" y="15648"/>
                      <a:pt x="89195" y="18927"/>
                    </a:cubicBezTo>
                    <a:cubicBezTo>
                      <a:pt x="84240" y="22207"/>
                      <a:pt x="78483" y="20822"/>
                      <a:pt x="75204" y="15867"/>
                    </a:cubicBezTo>
                    <a:cubicBezTo>
                      <a:pt x="71925" y="10912"/>
                      <a:pt x="72945" y="5155"/>
                      <a:pt x="77900" y="1803"/>
                    </a:cubicBezTo>
                    <a:cubicBezTo>
                      <a:pt x="82855" y="-1477"/>
                      <a:pt x="88612" y="-165"/>
                      <a:pt x="91891" y="479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92" name="Freeform 145">
                <a:extLst>
                  <a:ext uri="{FF2B5EF4-FFF2-40B4-BE49-F238E27FC236}">
                    <a16:creationId xmlns:a16="http://schemas.microsoft.com/office/drawing/2014/main" id="{3EA756E8-D9D2-1904-718E-3C870D72F413}"/>
                  </a:ext>
                </a:extLst>
              </p:cNvPr>
              <p:cNvSpPr/>
              <p:nvPr/>
            </p:nvSpPr>
            <p:spPr>
              <a:xfrm>
                <a:off x="8453251" y="3670256"/>
                <a:ext cx="77935" cy="77427"/>
              </a:xfrm>
              <a:custGeom>
                <a:avLst/>
                <a:gdLst>
                  <a:gd name="connsiteX0" fmla="*/ 18866 w 77935"/>
                  <a:gd name="connsiteY0" fmla="*/ 6796 h 77427"/>
                  <a:gd name="connsiteX1" fmla="*/ 71480 w 77935"/>
                  <a:gd name="connsiteY1" fmla="*/ 18237 h 77427"/>
                  <a:gd name="connsiteX2" fmla="*/ 59018 w 77935"/>
                  <a:gd name="connsiteY2" fmla="*/ 70632 h 77427"/>
                  <a:gd name="connsiteX3" fmla="*/ 6478 w 77935"/>
                  <a:gd name="connsiteY3" fmla="*/ 59191 h 77427"/>
                  <a:gd name="connsiteX4" fmla="*/ 18866 w 77935"/>
                  <a:gd name="connsiteY4" fmla="*/ 6869 h 77427"/>
                  <a:gd name="connsiteX5" fmla="*/ 18210 w 77935"/>
                  <a:gd name="connsiteY5" fmla="*/ 51685 h 77427"/>
                  <a:gd name="connsiteX6" fmla="*/ 49472 w 77935"/>
                  <a:gd name="connsiteY6" fmla="*/ 55401 h 77427"/>
                  <a:gd name="connsiteX7" fmla="*/ 59675 w 77935"/>
                  <a:gd name="connsiteY7" fmla="*/ 25670 h 77427"/>
                  <a:gd name="connsiteX8" fmla="*/ 28412 w 77935"/>
                  <a:gd name="connsiteY8" fmla="*/ 21953 h 77427"/>
                  <a:gd name="connsiteX9" fmla="*/ 18210 w 77935"/>
                  <a:gd name="connsiteY9" fmla="*/ 51685 h 7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935" h="77427">
                    <a:moveTo>
                      <a:pt x="18866" y="6796"/>
                    </a:moveTo>
                    <a:cubicBezTo>
                      <a:pt x="38614" y="-5665"/>
                      <a:pt x="59675" y="-491"/>
                      <a:pt x="71480" y="18237"/>
                    </a:cubicBezTo>
                    <a:cubicBezTo>
                      <a:pt x="83285" y="36965"/>
                      <a:pt x="78767" y="58171"/>
                      <a:pt x="59018" y="70632"/>
                    </a:cubicBezTo>
                    <a:cubicBezTo>
                      <a:pt x="39271" y="83093"/>
                      <a:pt x="18283" y="77919"/>
                      <a:pt x="6478" y="59191"/>
                    </a:cubicBezTo>
                    <a:cubicBezTo>
                      <a:pt x="-5327" y="40463"/>
                      <a:pt x="-882" y="19330"/>
                      <a:pt x="18866" y="6869"/>
                    </a:cubicBezTo>
                    <a:close/>
                    <a:moveTo>
                      <a:pt x="18210" y="51685"/>
                    </a:moveTo>
                    <a:cubicBezTo>
                      <a:pt x="24331" y="61450"/>
                      <a:pt x="35991" y="63855"/>
                      <a:pt x="49472" y="55401"/>
                    </a:cubicBezTo>
                    <a:cubicBezTo>
                      <a:pt x="62954" y="46875"/>
                      <a:pt x="65796" y="35362"/>
                      <a:pt x="59675" y="25670"/>
                    </a:cubicBezTo>
                    <a:cubicBezTo>
                      <a:pt x="53553" y="15905"/>
                      <a:pt x="41967" y="13500"/>
                      <a:pt x="28412" y="21953"/>
                    </a:cubicBezTo>
                    <a:cubicBezTo>
                      <a:pt x="14931" y="30406"/>
                      <a:pt x="12089" y="41993"/>
                      <a:pt x="18210" y="5168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93" name="Freeform 146">
                <a:extLst>
                  <a:ext uri="{FF2B5EF4-FFF2-40B4-BE49-F238E27FC236}">
                    <a16:creationId xmlns:a16="http://schemas.microsoft.com/office/drawing/2014/main" id="{922D95E1-A186-29EF-AC72-8974B240D140}"/>
                  </a:ext>
                </a:extLst>
              </p:cNvPr>
              <p:cNvSpPr/>
              <p:nvPr/>
            </p:nvSpPr>
            <p:spPr>
              <a:xfrm>
                <a:off x="8488878" y="3736297"/>
                <a:ext cx="89376" cy="92693"/>
              </a:xfrm>
              <a:custGeom>
                <a:avLst/>
                <a:gdLst>
                  <a:gd name="connsiteX0" fmla="*/ 63690 w 89376"/>
                  <a:gd name="connsiteY0" fmla="*/ 0 h 92693"/>
                  <a:gd name="connsiteX1" fmla="*/ 72070 w 89376"/>
                  <a:gd name="connsiteY1" fmla="*/ 14283 h 92693"/>
                  <a:gd name="connsiteX2" fmla="*/ 58662 w 89376"/>
                  <a:gd name="connsiteY2" fmla="*/ 22153 h 92693"/>
                  <a:gd name="connsiteX3" fmla="*/ 58807 w 89376"/>
                  <a:gd name="connsiteY3" fmla="*/ 22372 h 92693"/>
                  <a:gd name="connsiteX4" fmla="*/ 85697 w 89376"/>
                  <a:gd name="connsiteY4" fmla="*/ 34687 h 92693"/>
                  <a:gd name="connsiteX5" fmla="*/ 74475 w 89376"/>
                  <a:gd name="connsiteY5" fmla="*/ 67989 h 92693"/>
                  <a:gd name="connsiteX6" fmla="*/ 32428 w 89376"/>
                  <a:gd name="connsiteY6" fmla="*/ 92693 h 92693"/>
                  <a:gd name="connsiteX7" fmla="*/ 23756 w 89376"/>
                  <a:gd name="connsiteY7" fmla="*/ 77973 h 92693"/>
                  <a:gd name="connsiteX8" fmla="*/ 62305 w 89376"/>
                  <a:gd name="connsiteY8" fmla="*/ 55310 h 92693"/>
                  <a:gd name="connsiteX9" fmla="*/ 69301 w 89376"/>
                  <a:gd name="connsiteY9" fmla="*/ 35707 h 92693"/>
                  <a:gd name="connsiteX10" fmla="*/ 44379 w 89376"/>
                  <a:gd name="connsiteY10" fmla="*/ 31189 h 92693"/>
                  <a:gd name="connsiteX11" fmla="*/ 8672 w 89376"/>
                  <a:gd name="connsiteY11" fmla="*/ 52176 h 92693"/>
                  <a:gd name="connsiteX12" fmla="*/ 0 w 89376"/>
                  <a:gd name="connsiteY12" fmla="*/ 37456 h 92693"/>
                  <a:gd name="connsiteX13" fmla="*/ 63763 w 89376"/>
                  <a:gd name="connsiteY13" fmla="*/ 0 h 9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76" h="92693">
                    <a:moveTo>
                      <a:pt x="63690" y="0"/>
                    </a:moveTo>
                    <a:lnTo>
                      <a:pt x="72070" y="14283"/>
                    </a:lnTo>
                    <a:lnTo>
                      <a:pt x="58662" y="22153"/>
                    </a:lnTo>
                    <a:lnTo>
                      <a:pt x="58807" y="22372"/>
                    </a:lnTo>
                    <a:cubicBezTo>
                      <a:pt x="67771" y="20987"/>
                      <a:pt x="78556" y="22517"/>
                      <a:pt x="85697" y="34687"/>
                    </a:cubicBezTo>
                    <a:cubicBezTo>
                      <a:pt x="93713" y="48387"/>
                      <a:pt x="88029" y="59974"/>
                      <a:pt x="74475" y="67989"/>
                    </a:cubicBezTo>
                    <a:lnTo>
                      <a:pt x="32428" y="92693"/>
                    </a:lnTo>
                    <a:lnTo>
                      <a:pt x="23756" y="77973"/>
                    </a:lnTo>
                    <a:lnTo>
                      <a:pt x="62305" y="55310"/>
                    </a:lnTo>
                    <a:cubicBezTo>
                      <a:pt x="70831" y="50282"/>
                      <a:pt x="74329" y="44233"/>
                      <a:pt x="69301" y="35707"/>
                    </a:cubicBezTo>
                    <a:cubicBezTo>
                      <a:pt x="64127" y="26890"/>
                      <a:pt x="55091" y="24922"/>
                      <a:pt x="44379" y="31189"/>
                    </a:cubicBezTo>
                    <a:lnTo>
                      <a:pt x="8672" y="52176"/>
                    </a:lnTo>
                    <a:lnTo>
                      <a:pt x="0" y="37456"/>
                    </a:lnTo>
                    <a:lnTo>
                      <a:pt x="63763"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94" name="Freeform 147">
                <a:extLst>
                  <a:ext uri="{FF2B5EF4-FFF2-40B4-BE49-F238E27FC236}">
                    <a16:creationId xmlns:a16="http://schemas.microsoft.com/office/drawing/2014/main" id="{82924E1A-2813-9D02-FEE7-84BDABB66452}"/>
                  </a:ext>
                </a:extLst>
              </p:cNvPr>
              <p:cNvSpPr/>
              <p:nvPr/>
            </p:nvSpPr>
            <p:spPr>
              <a:xfrm>
                <a:off x="8547685" y="3841087"/>
                <a:ext cx="107448" cy="125776"/>
              </a:xfrm>
              <a:custGeom>
                <a:avLst/>
                <a:gdLst>
                  <a:gd name="connsiteX0" fmla="*/ 65293 w 107448"/>
                  <a:gd name="connsiteY0" fmla="*/ 0 h 125776"/>
                  <a:gd name="connsiteX1" fmla="*/ 72945 w 107448"/>
                  <a:gd name="connsiteY1" fmla="*/ 14647 h 125776"/>
                  <a:gd name="connsiteX2" fmla="*/ 59099 w 107448"/>
                  <a:gd name="connsiteY2" fmla="*/ 21861 h 125776"/>
                  <a:gd name="connsiteX3" fmla="*/ 59245 w 107448"/>
                  <a:gd name="connsiteY3" fmla="*/ 22080 h 125776"/>
                  <a:gd name="connsiteX4" fmla="*/ 84459 w 107448"/>
                  <a:gd name="connsiteY4" fmla="*/ 33594 h 125776"/>
                  <a:gd name="connsiteX5" fmla="*/ 78629 w 107448"/>
                  <a:gd name="connsiteY5" fmla="*/ 59245 h 125776"/>
                  <a:gd name="connsiteX6" fmla="*/ 78847 w 107448"/>
                  <a:gd name="connsiteY6" fmla="*/ 59609 h 125776"/>
                  <a:gd name="connsiteX7" fmla="*/ 104426 w 107448"/>
                  <a:gd name="connsiteY7" fmla="*/ 71852 h 125776"/>
                  <a:gd name="connsiteX8" fmla="*/ 91090 w 107448"/>
                  <a:gd name="connsiteY8" fmla="*/ 103114 h 125776"/>
                  <a:gd name="connsiteX9" fmla="*/ 47586 w 107448"/>
                  <a:gd name="connsiteY9" fmla="*/ 125777 h 125776"/>
                  <a:gd name="connsiteX10" fmla="*/ 39715 w 107448"/>
                  <a:gd name="connsiteY10" fmla="*/ 110620 h 125776"/>
                  <a:gd name="connsiteX11" fmla="*/ 79649 w 107448"/>
                  <a:gd name="connsiteY11" fmla="*/ 89778 h 125776"/>
                  <a:gd name="connsiteX12" fmla="*/ 88175 w 107448"/>
                  <a:gd name="connsiteY12" fmla="*/ 72434 h 125776"/>
                  <a:gd name="connsiteX13" fmla="*/ 64638 w 107448"/>
                  <a:gd name="connsiteY13" fmla="*/ 68281 h 125776"/>
                  <a:gd name="connsiteX14" fmla="*/ 27692 w 107448"/>
                  <a:gd name="connsiteY14" fmla="*/ 87519 h 125776"/>
                  <a:gd name="connsiteX15" fmla="*/ 19821 w 107448"/>
                  <a:gd name="connsiteY15" fmla="*/ 72434 h 125776"/>
                  <a:gd name="connsiteX16" fmla="*/ 59755 w 107448"/>
                  <a:gd name="connsiteY16" fmla="*/ 51593 h 125776"/>
                  <a:gd name="connsiteX17" fmla="*/ 68281 w 107448"/>
                  <a:gd name="connsiteY17" fmla="*/ 34177 h 125776"/>
                  <a:gd name="connsiteX18" fmla="*/ 44816 w 107448"/>
                  <a:gd name="connsiteY18" fmla="*/ 30023 h 125776"/>
                  <a:gd name="connsiteX19" fmla="*/ 7870 w 107448"/>
                  <a:gd name="connsiteY19" fmla="*/ 49334 h 125776"/>
                  <a:gd name="connsiteX20" fmla="*/ 0 w 107448"/>
                  <a:gd name="connsiteY20" fmla="*/ 34177 h 125776"/>
                  <a:gd name="connsiteX21" fmla="*/ 65585 w 107448"/>
                  <a:gd name="connsiteY21" fmla="*/ 0 h 125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7448" h="125776">
                    <a:moveTo>
                      <a:pt x="65293" y="0"/>
                    </a:moveTo>
                    <a:lnTo>
                      <a:pt x="72945" y="14647"/>
                    </a:lnTo>
                    <a:lnTo>
                      <a:pt x="59099" y="21861"/>
                    </a:lnTo>
                    <a:lnTo>
                      <a:pt x="59245" y="22080"/>
                    </a:lnTo>
                    <a:cubicBezTo>
                      <a:pt x="70322" y="20185"/>
                      <a:pt x="79358" y="23829"/>
                      <a:pt x="84459" y="33594"/>
                    </a:cubicBezTo>
                    <a:cubicBezTo>
                      <a:pt x="89196" y="42630"/>
                      <a:pt x="87811" y="51520"/>
                      <a:pt x="78629" y="59245"/>
                    </a:cubicBezTo>
                    <a:lnTo>
                      <a:pt x="78847" y="59609"/>
                    </a:lnTo>
                    <a:cubicBezTo>
                      <a:pt x="90871" y="57277"/>
                      <a:pt x="99543" y="62451"/>
                      <a:pt x="104426" y="71852"/>
                    </a:cubicBezTo>
                    <a:cubicBezTo>
                      <a:pt x="111130" y="84677"/>
                      <a:pt x="106685" y="94952"/>
                      <a:pt x="91090" y="103114"/>
                    </a:cubicBezTo>
                    <a:lnTo>
                      <a:pt x="47586" y="125777"/>
                    </a:lnTo>
                    <a:lnTo>
                      <a:pt x="39715" y="110620"/>
                    </a:lnTo>
                    <a:lnTo>
                      <a:pt x="79649" y="89778"/>
                    </a:lnTo>
                    <a:cubicBezTo>
                      <a:pt x="88248" y="85260"/>
                      <a:pt x="92183" y="80013"/>
                      <a:pt x="88175" y="72434"/>
                    </a:cubicBezTo>
                    <a:cubicBezTo>
                      <a:pt x="84021" y="64492"/>
                      <a:pt x="75569" y="62524"/>
                      <a:pt x="64638" y="68281"/>
                    </a:cubicBezTo>
                    <a:lnTo>
                      <a:pt x="27692" y="87519"/>
                    </a:lnTo>
                    <a:lnTo>
                      <a:pt x="19821" y="72434"/>
                    </a:lnTo>
                    <a:lnTo>
                      <a:pt x="59755" y="51593"/>
                    </a:lnTo>
                    <a:cubicBezTo>
                      <a:pt x="68354" y="47075"/>
                      <a:pt x="72289" y="41829"/>
                      <a:pt x="68281" y="34177"/>
                    </a:cubicBezTo>
                    <a:cubicBezTo>
                      <a:pt x="64128" y="26161"/>
                      <a:pt x="55674" y="24339"/>
                      <a:pt x="44816" y="30023"/>
                    </a:cubicBezTo>
                    <a:lnTo>
                      <a:pt x="7870" y="49334"/>
                    </a:lnTo>
                    <a:lnTo>
                      <a:pt x="0" y="34177"/>
                    </a:lnTo>
                    <a:lnTo>
                      <a:pt x="65585"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95" name="Freeform 148">
                <a:extLst>
                  <a:ext uri="{FF2B5EF4-FFF2-40B4-BE49-F238E27FC236}">
                    <a16:creationId xmlns:a16="http://schemas.microsoft.com/office/drawing/2014/main" id="{9BBF33BB-63AE-3106-686C-85339F55E2AB}"/>
                  </a:ext>
                </a:extLst>
              </p:cNvPr>
              <p:cNvSpPr/>
              <p:nvPr/>
            </p:nvSpPr>
            <p:spPr>
              <a:xfrm>
                <a:off x="8607398" y="3957026"/>
                <a:ext cx="80956" cy="80450"/>
              </a:xfrm>
              <a:custGeom>
                <a:avLst/>
                <a:gdLst>
                  <a:gd name="connsiteX0" fmla="*/ 12504 w 80956"/>
                  <a:gd name="connsiteY0" fmla="*/ 15157 h 80450"/>
                  <a:gd name="connsiteX1" fmla="*/ 47410 w 80956"/>
                  <a:gd name="connsiteY1" fmla="*/ 34177 h 80450"/>
                  <a:gd name="connsiteX2" fmla="*/ 53167 w 80956"/>
                  <a:gd name="connsiteY2" fmla="*/ 46273 h 80450"/>
                  <a:gd name="connsiteX3" fmla="*/ 57029 w 80956"/>
                  <a:gd name="connsiteY3" fmla="*/ 44452 h 80450"/>
                  <a:gd name="connsiteX4" fmla="*/ 63733 w 80956"/>
                  <a:gd name="connsiteY4" fmla="*/ 26525 h 80450"/>
                  <a:gd name="connsiteX5" fmla="*/ 47118 w 80956"/>
                  <a:gd name="connsiteY5" fmla="*/ 13554 h 80450"/>
                  <a:gd name="connsiteX6" fmla="*/ 51928 w 80956"/>
                  <a:gd name="connsiteY6" fmla="*/ 0 h 80450"/>
                  <a:gd name="connsiteX7" fmla="*/ 77069 w 80956"/>
                  <a:gd name="connsiteY7" fmla="*/ 22299 h 80450"/>
                  <a:gd name="connsiteX8" fmla="*/ 64316 w 80956"/>
                  <a:gd name="connsiteY8" fmla="*/ 59973 h 80450"/>
                  <a:gd name="connsiteX9" fmla="*/ 21249 w 80956"/>
                  <a:gd name="connsiteY9" fmla="*/ 80450 h 80450"/>
                  <a:gd name="connsiteX10" fmla="*/ 14180 w 80956"/>
                  <a:gd name="connsiteY10" fmla="*/ 65585 h 80450"/>
                  <a:gd name="connsiteX11" fmla="*/ 26568 w 80956"/>
                  <a:gd name="connsiteY11" fmla="*/ 59682 h 80450"/>
                  <a:gd name="connsiteX12" fmla="*/ 26422 w 80956"/>
                  <a:gd name="connsiteY12" fmla="*/ 59318 h 80450"/>
                  <a:gd name="connsiteX13" fmla="*/ 2667 w 80956"/>
                  <a:gd name="connsiteY13" fmla="*/ 44452 h 80450"/>
                  <a:gd name="connsiteX14" fmla="*/ 12577 w 80956"/>
                  <a:gd name="connsiteY14" fmla="*/ 15230 h 80450"/>
                  <a:gd name="connsiteX15" fmla="*/ 17095 w 80956"/>
                  <a:gd name="connsiteY15" fmla="*/ 44160 h 80450"/>
                  <a:gd name="connsiteX16" fmla="*/ 39904 w 80956"/>
                  <a:gd name="connsiteY16" fmla="*/ 52541 h 80450"/>
                  <a:gd name="connsiteX17" fmla="*/ 44203 w 80956"/>
                  <a:gd name="connsiteY17" fmla="*/ 50500 h 80450"/>
                  <a:gd name="connsiteX18" fmla="*/ 39685 w 80956"/>
                  <a:gd name="connsiteY18" fmla="*/ 41027 h 80450"/>
                  <a:gd name="connsiteX19" fmla="*/ 21176 w 80956"/>
                  <a:gd name="connsiteY19" fmla="*/ 29804 h 80450"/>
                  <a:gd name="connsiteX20" fmla="*/ 17022 w 80956"/>
                  <a:gd name="connsiteY20" fmla="*/ 44160 h 8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956" h="80450">
                    <a:moveTo>
                      <a:pt x="12504" y="15157"/>
                    </a:moveTo>
                    <a:cubicBezTo>
                      <a:pt x="26860" y="8307"/>
                      <a:pt x="39175" y="16833"/>
                      <a:pt x="47410" y="34177"/>
                    </a:cubicBezTo>
                    <a:lnTo>
                      <a:pt x="53167" y="46273"/>
                    </a:lnTo>
                    <a:lnTo>
                      <a:pt x="57029" y="44452"/>
                    </a:lnTo>
                    <a:cubicBezTo>
                      <a:pt x="65117" y="40590"/>
                      <a:pt x="67595" y="34614"/>
                      <a:pt x="63733" y="26525"/>
                    </a:cubicBezTo>
                    <a:cubicBezTo>
                      <a:pt x="60162" y="18947"/>
                      <a:pt x="54405" y="15157"/>
                      <a:pt x="47118" y="13554"/>
                    </a:cubicBezTo>
                    <a:lnTo>
                      <a:pt x="51928" y="0"/>
                    </a:lnTo>
                    <a:cubicBezTo>
                      <a:pt x="61547" y="2988"/>
                      <a:pt x="70656" y="8890"/>
                      <a:pt x="77069" y="22299"/>
                    </a:cubicBezTo>
                    <a:cubicBezTo>
                      <a:pt x="85157" y="39278"/>
                      <a:pt x="80494" y="52249"/>
                      <a:pt x="64316" y="59973"/>
                    </a:cubicBezTo>
                    <a:lnTo>
                      <a:pt x="21249" y="80450"/>
                    </a:lnTo>
                    <a:lnTo>
                      <a:pt x="14180" y="65585"/>
                    </a:lnTo>
                    <a:lnTo>
                      <a:pt x="26568" y="59682"/>
                    </a:lnTo>
                    <a:lnTo>
                      <a:pt x="26422" y="59318"/>
                    </a:lnTo>
                    <a:cubicBezTo>
                      <a:pt x="15127" y="59682"/>
                      <a:pt x="7694" y="54945"/>
                      <a:pt x="2667" y="44452"/>
                    </a:cubicBezTo>
                    <a:cubicBezTo>
                      <a:pt x="-2872" y="32792"/>
                      <a:pt x="116" y="21206"/>
                      <a:pt x="12577" y="15230"/>
                    </a:cubicBezTo>
                    <a:close/>
                    <a:moveTo>
                      <a:pt x="17095" y="44160"/>
                    </a:moveTo>
                    <a:cubicBezTo>
                      <a:pt x="21832" y="54144"/>
                      <a:pt x="32034" y="56257"/>
                      <a:pt x="39904" y="52541"/>
                    </a:cubicBezTo>
                    <a:lnTo>
                      <a:pt x="44203" y="50500"/>
                    </a:lnTo>
                    <a:lnTo>
                      <a:pt x="39685" y="41027"/>
                    </a:lnTo>
                    <a:cubicBezTo>
                      <a:pt x="35459" y="32209"/>
                      <a:pt x="29556" y="25869"/>
                      <a:pt x="21176" y="29804"/>
                    </a:cubicBezTo>
                    <a:cubicBezTo>
                      <a:pt x="15638" y="32428"/>
                      <a:pt x="14035" y="37821"/>
                      <a:pt x="17022" y="4416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96" name="Freeform 149">
                <a:extLst>
                  <a:ext uri="{FF2B5EF4-FFF2-40B4-BE49-F238E27FC236}">
                    <a16:creationId xmlns:a16="http://schemas.microsoft.com/office/drawing/2014/main" id="{85A45CAE-F5DA-B998-0E3A-DF6DFBA25947}"/>
                  </a:ext>
                </a:extLst>
              </p:cNvPr>
              <p:cNvSpPr/>
              <p:nvPr/>
            </p:nvSpPr>
            <p:spPr>
              <a:xfrm>
                <a:off x="8636881" y="4025307"/>
                <a:ext cx="87930" cy="88466"/>
              </a:xfrm>
              <a:custGeom>
                <a:avLst/>
                <a:gdLst>
                  <a:gd name="connsiteX0" fmla="*/ 67625 w 87930"/>
                  <a:gd name="connsiteY0" fmla="*/ 73 h 88466"/>
                  <a:gd name="connsiteX1" fmla="*/ 74329 w 87930"/>
                  <a:gd name="connsiteY1" fmla="*/ 15230 h 88466"/>
                  <a:gd name="connsiteX2" fmla="*/ 60119 w 87930"/>
                  <a:gd name="connsiteY2" fmla="*/ 21497 h 88466"/>
                  <a:gd name="connsiteX3" fmla="*/ 60119 w 87930"/>
                  <a:gd name="connsiteY3" fmla="*/ 21716 h 88466"/>
                  <a:gd name="connsiteX4" fmla="*/ 85552 w 87930"/>
                  <a:gd name="connsiteY4" fmla="*/ 37092 h 88466"/>
                  <a:gd name="connsiteX5" fmla="*/ 70540 w 87930"/>
                  <a:gd name="connsiteY5" fmla="*/ 68791 h 88466"/>
                  <a:gd name="connsiteX6" fmla="*/ 25869 w 87930"/>
                  <a:gd name="connsiteY6" fmla="*/ 88467 h 88466"/>
                  <a:gd name="connsiteX7" fmla="*/ 18947 w 87930"/>
                  <a:gd name="connsiteY7" fmla="*/ 72799 h 88466"/>
                  <a:gd name="connsiteX8" fmla="*/ 59828 w 87930"/>
                  <a:gd name="connsiteY8" fmla="*/ 54800 h 88466"/>
                  <a:gd name="connsiteX9" fmla="*/ 69009 w 87930"/>
                  <a:gd name="connsiteY9" fmla="*/ 36145 h 88466"/>
                  <a:gd name="connsiteX10" fmla="*/ 44816 w 87930"/>
                  <a:gd name="connsiteY10" fmla="*/ 28784 h 88466"/>
                  <a:gd name="connsiteX11" fmla="*/ 6922 w 87930"/>
                  <a:gd name="connsiteY11" fmla="*/ 45472 h 88466"/>
                  <a:gd name="connsiteX12" fmla="*/ 0 w 87930"/>
                  <a:gd name="connsiteY12" fmla="*/ 29805 h 88466"/>
                  <a:gd name="connsiteX13" fmla="*/ 67625 w 87930"/>
                  <a:gd name="connsiteY13" fmla="*/ 0 h 8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930" h="88466">
                    <a:moveTo>
                      <a:pt x="67625" y="73"/>
                    </a:moveTo>
                    <a:lnTo>
                      <a:pt x="74329" y="15230"/>
                    </a:lnTo>
                    <a:lnTo>
                      <a:pt x="60119" y="21497"/>
                    </a:lnTo>
                    <a:lnTo>
                      <a:pt x="60119" y="21716"/>
                    </a:lnTo>
                    <a:cubicBezTo>
                      <a:pt x="69301" y="21424"/>
                      <a:pt x="79867" y="24121"/>
                      <a:pt x="85552" y="37092"/>
                    </a:cubicBezTo>
                    <a:cubicBezTo>
                      <a:pt x="91964" y="51593"/>
                      <a:pt x="84895" y="62451"/>
                      <a:pt x="70540" y="68791"/>
                    </a:cubicBezTo>
                    <a:lnTo>
                      <a:pt x="25869" y="88467"/>
                    </a:lnTo>
                    <a:lnTo>
                      <a:pt x="18947" y="72799"/>
                    </a:lnTo>
                    <a:lnTo>
                      <a:pt x="59828" y="54800"/>
                    </a:lnTo>
                    <a:cubicBezTo>
                      <a:pt x="68937" y="50791"/>
                      <a:pt x="73017" y="45254"/>
                      <a:pt x="69009" y="36145"/>
                    </a:cubicBezTo>
                    <a:cubicBezTo>
                      <a:pt x="64929" y="26817"/>
                      <a:pt x="56184" y="23756"/>
                      <a:pt x="44816" y="28784"/>
                    </a:cubicBezTo>
                    <a:lnTo>
                      <a:pt x="6922" y="45472"/>
                    </a:lnTo>
                    <a:lnTo>
                      <a:pt x="0" y="29805"/>
                    </a:lnTo>
                    <a:lnTo>
                      <a:pt x="67625"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97" name="Freeform 150">
                <a:extLst>
                  <a:ext uri="{FF2B5EF4-FFF2-40B4-BE49-F238E27FC236}">
                    <a16:creationId xmlns:a16="http://schemas.microsoft.com/office/drawing/2014/main" id="{6DABFFFC-1F07-56F9-D860-9FFD8CC18BDB}"/>
                  </a:ext>
                </a:extLst>
              </p:cNvPr>
              <p:cNvSpPr/>
              <p:nvPr/>
            </p:nvSpPr>
            <p:spPr>
              <a:xfrm>
                <a:off x="8673611" y="4107652"/>
                <a:ext cx="80628" cy="78337"/>
              </a:xfrm>
              <a:custGeom>
                <a:avLst/>
                <a:gdLst>
                  <a:gd name="connsiteX0" fmla="*/ 13697 w 80628"/>
                  <a:gd name="connsiteY0" fmla="*/ 12826 h 78337"/>
                  <a:gd name="connsiteX1" fmla="*/ 47364 w 80628"/>
                  <a:gd name="connsiteY1" fmla="*/ 33886 h 78337"/>
                  <a:gd name="connsiteX2" fmla="*/ 52392 w 80628"/>
                  <a:gd name="connsiteY2" fmla="*/ 46274 h 78337"/>
                  <a:gd name="connsiteX3" fmla="*/ 56327 w 80628"/>
                  <a:gd name="connsiteY3" fmla="*/ 44670 h 78337"/>
                  <a:gd name="connsiteX4" fmla="*/ 64124 w 80628"/>
                  <a:gd name="connsiteY4" fmla="*/ 27181 h 78337"/>
                  <a:gd name="connsiteX5" fmla="*/ 48311 w 80628"/>
                  <a:gd name="connsiteY5" fmla="*/ 13263 h 78337"/>
                  <a:gd name="connsiteX6" fmla="*/ 53849 w 80628"/>
                  <a:gd name="connsiteY6" fmla="*/ 0 h 78337"/>
                  <a:gd name="connsiteX7" fmla="*/ 77606 w 80628"/>
                  <a:gd name="connsiteY7" fmla="*/ 23683 h 78337"/>
                  <a:gd name="connsiteX8" fmla="*/ 62667 w 80628"/>
                  <a:gd name="connsiteY8" fmla="*/ 60484 h 78337"/>
                  <a:gd name="connsiteX9" fmla="*/ 18506 w 80628"/>
                  <a:gd name="connsiteY9" fmla="*/ 78337 h 78337"/>
                  <a:gd name="connsiteX10" fmla="*/ 12312 w 80628"/>
                  <a:gd name="connsiteY10" fmla="*/ 63034 h 78337"/>
                  <a:gd name="connsiteX11" fmla="*/ 24992 w 80628"/>
                  <a:gd name="connsiteY11" fmla="*/ 57860 h 78337"/>
                  <a:gd name="connsiteX12" fmla="*/ 24846 w 80628"/>
                  <a:gd name="connsiteY12" fmla="*/ 57496 h 78337"/>
                  <a:gd name="connsiteX13" fmla="*/ 2038 w 80628"/>
                  <a:gd name="connsiteY13" fmla="*/ 41318 h 78337"/>
                  <a:gd name="connsiteX14" fmla="*/ 13624 w 80628"/>
                  <a:gd name="connsiteY14" fmla="*/ 12753 h 78337"/>
                  <a:gd name="connsiteX15" fmla="*/ 16539 w 80628"/>
                  <a:gd name="connsiteY15" fmla="*/ 42047 h 78337"/>
                  <a:gd name="connsiteX16" fmla="*/ 38838 w 80628"/>
                  <a:gd name="connsiteY16" fmla="*/ 51739 h 78337"/>
                  <a:gd name="connsiteX17" fmla="*/ 43283 w 80628"/>
                  <a:gd name="connsiteY17" fmla="*/ 49917 h 78337"/>
                  <a:gd name="connsiteX18" fmla="*/ 39348 w 80628"/>
                  <a:gd name="connsiteY18" fmla="*/ 40225 h 78337"/>
                  <a:gd name="connsiteX19" fmla="*/ 21567 w 80628"/>
                  <a:gd name="connsiteY19" fmla="*/ 27983 h 78337"/>
                  <a:gd name="connsiteX20" fmla="*/ 16539 w 80628"/>
                  <a:gd name="connsiteY20" fmla="*/ 42047 h 7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628" h="78337">
                    <a:moveTo>
                      <a:pt x="13697" y="12826"/>
                    </a:moveTo>
                    <a:cubicBezTo>
                      <a:pt x="28417" y="6850"/>
                      <a:pt x="40150" y="16105"/>
                      <a:pt x="47364" y="33886"/>
                    </a:cubicBezTo>
                    <a:lnTo>
                      <a:pt x="52392" y="46274"/>
                    </a:lnTo>
                    <a:lnTo>
                      <a:pt x="56327" y="44670"/>
                    </a:lnTo>
                    <a:cubicBezTo>
                      <a:pt x="64561" y="41318"/>
                      <a:pt x="67476" y="35489"/>
                      <a:pt x="64124" y="27181"/>
                    </a:cubicBezTo>
                    <a:cubicBezTo>
                      <a:pt x="60991" y="19457"/>
                      <a:pt x="55452" y="15303"/>
                      <a:pt x="48311" y="13263"/>
                    </a:cubicBezTo>
                    <a:lnTo>
                      <a:pt x="53849" y="0"/>
                    </a:lnTo>
                    <a:cubicBezTo>
                      <a:pt x="63323" y="3571"/>
                      <a:pt x="71994" y="9983"/>
                      <a:pt x="77606" y="23683"/>
                    </a:cubicBezTo>
                    <a:cubicBezTo>
                      <a:pt x="84674" y="41100"/>
                      <a:pt x="79209" y="53779"/>
                      <a:pt x="62667" y="60484"/>
                    </a:cubicBezTo>
                    <a:lnTo>
                      <a:pt x="18506" y="78337"/>
                    </a:lnTo>
                    <a:lnTo>
                      <a:pt x="12312" y="63034"/>
                    </a:lnTo>
                    <a:lnTo>
                      <a:pt x="24992" y="57860"/>
                    </a:lnTo>
                    <a:lnTo>
                      <a:pt x="24846" y="57496"/>
                    </a:lnTo>
                    <a:cubicBezTo>
                      <a:pt x="13551" y="57205"/>
                      <a:pt x="6410" y="52104"/>
                      <a:pt x="2038" y="41318"/>
                    </a:cubicBezTo>
                    <a:cubicBezTo>
                      <a:pt x="-2772" y="29368"/>
                      <a:pt x="871" y="17927"/>
                      <a:pt x="13624" y="12753"/>
                    </a:cubicBezTo>
                    <a:close/>
                    <a:moveTo>
                      <a:pt x="16539" y="42047"/>
                    </a:moveTo>
                    <a:cubicBezTo>
                      <a:pt x="20693" y="52249"/>
                      <a:pt x="30749" y="55018"/>
                      <a:pt x="38838" y="51739"/>
                    </a:cubicBezTo>
                    <a:lnTo>
                      <a:pt x="43283" y="49917"/>
                    </a:lnTo>
                    <a:lnTo>
                      <a:pt x="39348" y="40225"/>
                    </a:lnTo>
                    <a:cubicBezTo>
                      <a:pt x="35704" y="31116"/>
                      <a:pt x="30166" y="24485"/>
                      <a:pt x="21567" y="27983"/>
                    </a:cubicBezTo>
                    <a:cubicBezTo>
                      <a:pt x="15883" y="30315"/>
                      <a:pt x="13915" y="35562"/>
                      <a:pt x="16539" y="42047"/>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98" name="Freeform 151">
                <a:extLst>
                  <a:ext uri="{FF2B5EF4-FFF2-40B4-BE49-F238E27FC236}">
                    <a16:creationId xmlns:a16="http://schemas.microsoft.com/office/drawing/2014/main" id="{963FE975-7E3C-5F81-1E31-C265ABC72168}"/>
                  </a:ext>
                </a:extLst>
              </p:cNvPr>
              <p:cNvSpPr/>
              <p:nvPr/>
            </p:nvSpPr>
            <p:spPr>
              <a:xfrm>
                <a:off x="8675799" y="4182647"/>
                <a:ext cx="126063" cy="86427"/>
              </a:xfrm>
              <a:custGeom>
                <a:avLst/>
                <a:gdLst>
                  <a:gd name="connsiteX0" fmla="*/ 10198 w 126063"/>
                  <a:gd name="connsiteY0" fmla="*/ 19665 h 86427"/>
                  <a:gd name="connsiteX1" fmla="*/ 29436 w 126063"/>
                  <a:gd name="connsiteY1" fmla="*/ 27098 h 86427"/>
                  <a:gd name="connsiteX2" fmla="*/ 36577 w 126063"/>
                  <a:gd name="connsiteY2" fmla="*/ 15293 h 86427"/>
                  <a:gd name="connsiteX3" fmla="*/ 52901 w 126063"/>
                  <a:gd name="connsiteY3" fmla="*/ 20831 h 86427"/>
                  <a:gd name="connsiteX4" fmla="*/ 68859 w 126063"/>
                  <a:gd name="connsiteY4" fmla="*/ 1812 h 86427"/>
                  <a:gd name="connsiteX5" fmla="*/ 103692 w 126063"/>
                  <a:gd name="connsiteY5" fmla="*/ 21122 h 86427"/>
                  <a:gd name="connsiteX6" fmla="*/ 106243 w 126063"/>
                  <a:gd name="connsiteY6" fmla="*/ 39705 h 86427"/>
                  <a:gd name="connsiteX7" fmla="*/ 125262 w 126063"/>
                  <a:gd name="connsiteY7" fmla="*/ 50344 h 86427"/>
                  <a:gd name="connsiteX8" fmla="*/ 126064 w 126063"/>
                  <a:gd name="connsiteY8" fmla="*/ 52530 h 86427"/>
                  <a:gd name="connsiteX9" fmla="*/ 112145 w 126063"/>
                  <a:gd name="connsiteY9" fmla="*/ 57704 h 86427"/>
                  <a:gd name="connsiteX10" fmla="*/ 111271 w 126063"/>
                  <a:gd name="connsiteY10" fmla="*/ 55372 h 86427"/>
                  <a:gd name="connsiteX11" fmla="*/ 104712 w 126063"/>
                  <a:gd name="connsiteY11" fmla="*/ 44952 h 86427"/>
                  <a:gd name="connsiteX12" fmla="*/ 89920 w 126063"/>
                  <a:gd name="connsiteY12" fmla="*/ 58287 h 86427"/>
                  <a:gd name="connsiteX13" fmla="*/ 55451 w 126063"/>
                  <a:gd name="connsiteY13" fmla="*/ 38685 h 86427"/>
                  <a:gd name="connsiteX14" fmla="*/ 52682 w 126063"/>
                  <a:gd name="connsiteY14" fmla="*/ 26078 h 86427"/>
                  <a:gd name="connsiteX15" fmla="*/ 48310 w 126063"/>
                  <a:gd name="connsiteY15" fmla="*/ 25932 h 86427"/>
                  <a:gd name="connsiteX16" fmla="*/ 48747 w 126063"/>
                  <a:gd name="connsiteY16" fmla="*/ 45753 h 86427"/>
                  <a:gd name="connsiteX17" fmla="*/ 40731 w 126063"/>
                  <a:gd name="connsiteY17" fmla="*/ 84739 h 86427"/>
                  <a:gd name="connsiteX18" fmla="*/ 4732 w 126063"/>
                  <a:gd name="connsiteY18" fmla="*/ 57850 h 86427"/>
                  <a:gd name="connsiteX19" fmla="*/ 10125 w 126063"/>
                  <a:gd name="connsiteY19" fmla="*/ 19592 h 86427"/>
                  <a:gd name="connsiteX20" fmla="*/ 16610 w 126063"/>
                  <a:gd name="connsiteY20" fmla="*/ 54425 h 86427"/>
                  <a:gd name="connsiteX21" fmla="*/ 33080 w 126063"/>
                  <a:gd name="connsiteY21" fmla="*/ 69364 h 86427"/>
                  <a:gd name="connsiteX22" fmla="*/ 34099 w 126063"/>
                  <a:gd name="connsiteY22" fmla="*/ 48668 h 86427"/>
                  <a:gd name="connsiteX23" fmla="*/ 30092 w 126063"/>
                  <a:gd name="connsiteY23" fmla="*/ 33365 h 86427"/>
                  <a:gd name="connsiteX24" fmla="*/ 20108 w 126063"/>
                  <a:gd name="connsiteY24" fmla="*/ 32490 h 86427"/>
                  <a:gd name="connsiteX25" fmla="*/ 16683 w 126063"/>
                  <a:gd name="connsiteY25" fmla="*/ 54425 h 86427"/>
                  <a:gd name="connsiteX26" fmla="*/ 66600 w 126063"/>
                  <a:gd name="connsiteY26" fmla="*/ 34531 h 86427"/>
                  <a:gd name="connsiteX27" fmla="*/ 84090 w 126063"/>
                  <a:gd name="connsiteY27" fmla="*/ 42766 h 86427"/>
                  <a:gd name="connsiteX28" fmla="*/ 92470 w 126063"/>
                  <a:gd name="connsiteY28" fmla="*/ 25349 h 86427"/>
                  <a:gd name="connsiteX29" fmla="*/ 74616 w 126063"/>
                  <a:gd name="connsiteY29" fmla="*/ 17260 h 86427"/>
                  <a:gd name="connsiteX30" fmla="*/ 66600 w 126063"/>
                  <a:gd name="connsiteY30" fmla="*/ 34458 h 86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6063" h="86427">
                    <a:moveTo>
                      <a:pt x="10198" y="19665"/>
                    </a:moveTo>
                    <a:cubicBezTo>
                      <a:pt x="17485" y="16969"/>
                      <a:pt x="24626" y="20248"/>
                      <a:pt x="29436" y="27098"/>
                    </a:cubicBezTo>
                    <a:cubicBezTo>
                      <a:pt x="29436" y="21487"/>
                      <a:pt x="31330" y="17260"/>
                      <a:pt x="36577" y="15293"/>
                    </a:cubicBezTo>
                    <a:cubicBezTo>
                      <a:pt x="42261" y="13180"/>
                      <a:pt x="48018" y="15147"/>
                      <a:pt x="52901" y="20831"/>
                    </a:cubicBezTo>
                    <a:cubicBezTo>
                      <a:pt x="54139" y="11868"/>
                      <a:pt x="59751" y="5236"/>
                      <a:pt x="68859" y="1812"/>
                    </a:cubicBezTo>
                    <a:cubicBezTo>
                      <a:pt x="82049" y="-3071"/>
                      <a:pt x="96332" y="1447"/>
                      <a:pt x="103692" y="21122"/>
                    </a:cubicBezTo>
                    <a:cubicBezTo>
                      <a:pt x="106389" y="28337"/>
                      <a:pt x="107044" y="34531"/>
                      <a:pt x="106243" y="39705"/>
                    </a:cubicBezTo>
                    <a:cubicBezTo>
                      <a:pt x="115133" y="38903"/>
                      <a:pt x="121983" y="41526"/>
                      <a:pt x="125262" y="50344"/>
                    </a:cubicBezTo>
                    <a:lnTo>
                      <a:pt x="126064" y="52530"/>
                    </a:lnTo>
                    <a:lnTo>
                      <a:pt x="112145" y="57704"/>
                    </a:lnTo>
                    <a:lnTo>
                      <a:pt x="111271" y="55372"/>
                    </a:lnTo>
                    <a:cubicBezTo>
                      <a:pt x="109012" y="49251"/>
                      <a:pt x="107190" y="46628"/>
                      <a:pt x="104712" y="44952"/>
                    </a:cubicBezTo>
                    <a:cubicBezTo>
                      <a:pt x="102016" y="51364"/>
                      <a:pt x="96624" y="55810"/>
                      <a:pt x="89920" y="58287"/>
                    </a:cubicBezTo>
                    <a:cubicBezTo>
                      <a:pt x="77021" y="63097"/>
                      <a:pt x="62666" y="58141"/>
                      <a:pt x="55451" y="38685"/>
                    </a:cubicBezTo>
                    <a:cubicBezTo>
                      <a:pt x="53775" y="34166"/>
                      <a:pt x="52828" y="30013"/>
                      <a:pt x="52682" y="26078"/>
                    </a:cubicBezTo>
                    <a:cubicBezTo>
                      <a:pt x="51225" y="25495"/>
                      <a:pt x="49767" y="25349"/>
                      <a:pt x="48310" y="25932"/>
                    </a:cubicBezTo>
                    <a:cubicBezTo>
                      <a:pt x="43573" y="27681"/>
                      <a:pt x="44885" y="33365"/>
                      <a:pt x="48747" y="45753"/>
                    </a:cubicBezTo>
                    <a:cubicBezTo>
                      <a:pt x="54431" y="63534"/>
                      <a:pt x="57127" y="78618"/>
                      <a:pt x="40731" y="84739"/>
                    </a:cubicBezTo>
                    <a:cubicBezTo>
                      <a:pt x="25647" y="90351"/>
                      <a:pt x="13768" y="82116"/>
                      <a:pt x="4732" y="57850"/>
                    </a:cubicBezTo>
                    <a:cubicBezTo>
                      <a:pt x="-3794" y="35041"/>
                      <a:pt x="-77" y="23381"/>
                      <a:pt x="10125" y="19592"/>
                    </a:cubicBezTo>
                    <a:close/>
                    <a:moveTo>
                      <a:pt x="16610" y="54425"/>
                    </a:moveTo>
                    <a:cubicBezTo>
                      <a:pt x="21274" y="66886"/>
                      <a:pt x="26084" y="71987"/>
                      <a:pt x="33080" y="69364"/>
                    </a:cubicBezTo>
                    <a:cubicBezTo>
                      <a:pt x="38982" y="67177"/>
                      <a:pt x="38326" y="61639"/>
                      <a:pt x="34099" y="48668"/>
                    </a:cubicBezTo>
                    <a:cubicBezTo>
                      <a:pt x="32424" y="43203"/>
                      <a:pt x="30893" y="38029"/>
                      <a:pt x="30092" y="33365"/>
                    </a:cubicBezTo>
                    <a:cubicBezTo>
                      <a:pt x="27177" y="31689"/>
                      <a:pt x="23825" y="31106"/>
                      <a:pt x="20108" y="32490"/>
                    </a:cubicBezTo>
                    <a:cubicBezTo>
                      <a:pt x="13112" y="35114"/>
                      <a:pt x="11655" y="40944"/>
                      <a:pt x="16683" y="54425"/>
                    </a:cubicBezTo>
                    <a:close/>
                    <a:moveTo>
                      <a:pt x="66600" y="34531"/>
                    </a:moveTo>
                    <a:cubicBezTo>
                      <a:pt x="69588" y="42547"/>
                      <a:pt x="76511" y="45607"/>
                      <a:pt x="84090" y="42766"/>
                    </a:cubicBezTo>
                    <a:cubicBezTo>
                      <a:pt x="92106" y="39778"/>
                      <a:pt x="95385" y="33219"/>
                      <a:pt x="92470" y="25349"/>
                    </a:cubicBezTo>
                    <a:cubicBezTo>
                      <a:pt x="89482" y="17333"/>
                      <a:pt x="82632" y="14272"/>
                      <a:pt x="74616" y="17260"/>
                    </a:cubicBezTo>
                    <a:cubicBezTo>
                      <a:pt x="66163" y="20394"/>
                      <a:pt x="63831" y="27098"/>
                      <a:pt x="66600" y="34458"/>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499" name="Freeform 152">
                <a:extLst>
                  <a:ext uri="{FF2B5EF4-FFF2-40B4-BE49-F238E27FC236}">
                    <a16:creationId xmlns:a16="http://schemas.microsoft.com/office/drawing/2014/main" id="{6E0A3CE6-2919-E646-DF7A-53D77EAC254F}"/>
                  </a:ext>
                </a:extLst>
              </p:cNvPr>
              <p:cNvSpPr/>
              <p:nvPr/>
            </p:nvSpPr>
            <p:spPr>
              <a:xfrm>
                <a:off x="8731879" y="4254941"/>
                <a:ext cx="77122" cy="75771"/>
              </a:xfrm>
              <a:custGeom>
                <a:avLst/>
                <a:gdLst>
                  <a:gd name="connsiteX0" fmla="*/ 26552 w 77122"/>
                  <a:gd name="connsiteY0" fmla="*/ 2681 h 75771"/>
                  <a:gd name="connsiteX1" fmla="*/ 74866 w 77122"/>
                  <a:gd name="connsiteY1" fmla="*/ 25417 h 75771"/>
                  <a:gd name="connsiteX2" fmla="*/ 51547 w 77122"/>
                  <a:gd name="connsiteY2" fmla="*/ 68776 h 75771"/>
                  <a:gd name="connsiteX3" fmla="*/ 45353 w 77122"/>
                  <a:gd name="connsiteY3" fmla="*/ 70598 h 75771"/>
                  <a:gd name="connsiteX4" fmla="*/ 28519 w 77122"/>
                  <a:gd name="connsiteY4" fmla="*/ 21117 h 75771"/>
                  <a:gd name="connsiteX5" fmla="*/ 15767 w 77122"/>
                  <a:gd name="connsiteY5" fmla="*/ 48007 h 75771"/>
                  <a:gd name="connsiteX6" fmla="*/ 29613 w 77122"/>
                  <a:gd name="connsiteY6" fmla="*/ 63165 h 75771"/>
                  <a:gd name="connsiteX7" fmla="*/ 23419 w 77122"/>
                  <a:gd name="connsiteY7" fmla="*/ 75771 h 75771"/>
                  <a:gd name="connsiteX8" fmla="*/ 2796 w 77122"/>
                  <a:gd name="connsiteY8" fmla="*/ 51505 h 75771"/>
                  <a:gd name="connsiteX9" fmla="*/ 26625 w 77122"/>
                  <a:gd name="connsiteY9" fmla="*/ 2608 h 75771"/>
                  <a:gd name="connsiteX10" fmla="*/ 49944 w 77122"/>
                  <a:gd name="connsiteY10" fmla="*/ 51287 h 75771"/>
                  <a:gd name="connsiteX11" fmla="*/ 62259 w 77122"/>
                  <a:gd name="connsiteY11" fmla="*/ 29279 h 75771"/>
                  <a:gd name="connsiteX12" fmla="*/ 38576 w 77122"/>
                  <a:gd name="connsiteY12" fmla="*/ 17984 h 75771"/>
                  <a:gd name="connsiteX13" fmla="*/ 49944 w 77122"/>
                  <a:gd name="connsiteY13" fmla="*/ 51359 h 75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122" h="75771">
                    <a:moveTo>
                      <a:pt x="26552" y="2681"/>
                    </a:moveTo>
                    <a:cubicBezTo>
                      <a:pt x="50891" y="-5626"/>
                      <a:pt x="68308" y="6325"/>
                      <a:pt x="74866" y="25417"/>
                    </a:cubicBezTo>
                    <a:cubicBezTo>
                      <a:pt x="82809" y="48809"/>
                      <a:pt x="68526" y="62946"/>
                      <a:pt x="51547" y="68776"/>
                    </a:cubicBezTo>
                    <a:cubicBezTo>
                      <a:pt x="49507" y="69504"/>
                      <a:pt x="47321" y="70088"/>
                      <a:pt x="45353" y="70598"/>
                    </a:cubicBezTo>
                    <a:lnTo>
                      <a:pt x="28519" y="21117"/>
                    </a:lnTo>
                    <a:cubicBezTo>
                      <a:pt x="15621" y="26802"/>
                      <a:pt x="11614" y="35838"/>
                      <a:pt x="15767" y="48007"/>
                    </a:cubicBezTo>
                    <a:cubicBezTo>
                      <a:pt x="18464" y="55877"/>
                      <a:pt x="22544" y="60323"/>
                      <a:pt x="29613" y="63165"/>
                    </a:cubicBezTo>
                    <a:lnTo>
                      <a:pt x="23419" y="75771"/>
                    </a:lnTo>
                    <a:cubicBezTo>
                      <a:pt x="13873" y="71764"/>
                      <a:pt x="7387" y="65059"/>
                      <a:pt x="2796" y="51505"/>
                    </a:cubicBezTo>
                    <a:cubicBezTo>
                      <a:pt x="-4856" y="29061"/>
                      <a:pt x="3233" y="10624"/>
                      <a:pt x="26625" y="2608"/>
                    </a:cubicBezTo>
                    <a:close/>
                    <a:moveTo>
                      <a:pt x="49944" y="51287"/>
                    </a:moveTo>
                    <a:cubicBezTo>
                      <a:pt x="61968" y="46185"/>
                      <a:pt x="65393" y="38316"/>
                      <a:pt x="62259" y="29279"/>
                    </a:cubicBezTo>
                    <a:cubicBezTo>
                      <a:pt x="59199" y="20316"/>
                      <a:pt x="51401" y="15361"/>
                      <a:pt x="38576" y="17984"/>
                    </a:cubicBezTo>
                    <a:lnTo>
                      <a:pt x="49944" y="51359"/>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00" name="Freeform 153">
                <a:extLst>
                  <a:ext uri="{FF2B5EF4-FFF2-40B4-BE49-F238E27FC236}">
                    <a16:creationId xmlns:a16="http://schemas.microsoft.com/office/drawing/2014/main" id="{72A49AF1-A954-264F-BE43-91951CE17C29}"/>
                  </a:ext>
                </a:extLst>
              </p:cNvPr>
              <p:cNvSpPr/>
              <p:nvPr/>
            </p:nvSpPr>
            <p:spPr>
              <a:xfrm>
                <a:off x="8751217" y="4329401"/>
                <a:ext cx="96848" cy="120238"/>
              </a:xfrm>
              <a:custGeom>
                <a:avLst/>
                <a:gdLst>
                  <a:gd name="connsiteX0" fmla="*/ 70758 w 96848"/>
                  <a:gd name="connsiteY0" fmla="*/ 0 h 120238"/>
                  <a:gd name="connsiteX1" fmla="*/ 75495 w 96848"/>
                  <a:gd name="connsiteY1" fmla="*/ 15886 h 120238"/>
                  <a:gd name="connsiteX2" fmla="*/ 60557 w 96848"/>
                  <a:gd name="connsiteY2" fmla="*/ 20404 h 120238"/>
                  <a:gd name="connsiteX3" fmla="*/ 60557 w 96848"/>
                  <a:gd name="connsiteY3" fmla="*/ 20696 h 120238"/>
                  <a:gd name="connsiteX4" fmla="*/ 83220 w 96848"/>
                  <a:gd name="connsiteY4" fmla="*/ 36728 h 120238"/>
                  <a:gd name="connsiteX5" fmla="*/ 72653 w 96848"/>
                  <a:gd name="connsiteY5" fmla="*/ 60775 h 120238"/>
                  <a:gd name="connsiteX6" fmla="*/ 72799 w 96848"/>
                  <a:gd name="connsiteY6" fmla="*/ 61140 h 120238"/>
                  <a:gd name="connsiteX7" fmla="*/ 95608 w 96848"/>
                  <a:gd name="connsiteY7" fmla="*/ 77900 h 120238"/>
                  <a:gd name="connsiteX8" fmla="*/ 76661 w 96848"/>
                  <a:gd name="connsiteY8" fmla="*/ 106101 h 120238"/>
                  <a:gd name="connsiteX9" fmla="*/ 29658 w 96848"/>
                  <a:gd name="connsiteY9" fmla="*/ 120239 h 120238"/>
                  <a:gd name="connsiteX10" fmla="*/ 24703 w 96848"/>
                  <a:gd name="connsiteY10" fmla="*/ 103842 h 120238"/>
                  <a:gd name="connsiteX11" fmla="*/ 67771 w 96848"/>
                  <a:gd name="connsiteY11" fmla="*/ 90871 h 120238"/>
                  <a:gd name="connsiteX12" fmla="*/ 79430 w 96848"/>
                  <a:gd name="connsiteY12" fmla="*/ 75423 h 120238"/>
                  <a:gd name="connsiteX13" fmla="*/ 57131 w 96848"/>
                  <a:gd name="connsiteY13" fmla="*/ 66896 h 120238"/>
                  <a:gd name="connsiteX14" fmla="*/ 17198 w 96848"/>
                  <a:gd name="connsiteY14" fmla="*/ 78920 h 120238"/>
                  <a:gd name="connsiteX15" fmla="*/ 12315 w 96848"/>
                  <a:gd name="connsiteY15" fmla="*/ 62597 h 120238"/>
                  <a:gd name="connsiteX16" fmla="*/ 55455 w 96848"/>
                  <a:gd name="connsiteY16" fmla="*/ 49626 h 120238"/>
                  <a:gd name="connsiteX17" fmla="*/ 67115 w 96848"/>
                  <a:gd name="connsiteY17" fmla="*/ 34177 h 120238"/>
                  <a:gd name="connsiteX18" fmla="*/ 44816 w 96848"/>
                  <a:gd name="connsiteY18" fmla="*/ 25724 h 120238"/>
                  <a:gd name="connsiteX19" fmla="*/ 4882 w 96848"/>
                  <a:gd name="connsiteY19" fmla="*/ 37748 h 120238"/>
                  <a:gd name="connsiteX20" fmla="*/ 0 w 96848"/>
                  <a:gd name="connsiteY20" fmla="*/ 21351 h 120238"/>
                  <a:gd name="connsiteX21" fmla="*/ 70758 w 96848"/>
                  <a:gd name="connsiteY21" fmla="*/ 73 h 12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6848" h="120238">
                    <a:moveTo>
                      <a:pt x="70758" y="0"/>
                    </a:moveTo>
                    <a:lnTo>
                      <a:pt x="75495" y="15886"/>
                    </a:lnTo>
                    <a:lnTo>
                      <a:pt x="60557" y="20404"/>
                    </a:lnTo>
                    <a:lnTo>
                      <a:pt x="60557" y="20696"/>
                    </a:lnTo>
                    <a:cubicBezTo>
                      <a:pt x="71852" y="20914"/>
                      <a:pt x="80086" y="26161"/>
                      <a:pt x="83220" y="36728"/>
                    </a:cubicBezTo>
                    <a:cubicBezTo>
                      <a:pt x="86134" y="46492"/>
                      <a:pt x="83220" y="54946"/>
                      <a:pt x="72653" y="60775"/>
                    </a:cubicBezTo>
                    <a:lnTo>
                      <a:pt x="72799" y="61140"/>
                    </a:lnTo>
                    <a:cubicBezTo>
                      <a:pt x="85041" y="61140"/>
                      <a:pt x="92620" y="67844"/>
                      <a:pt x="95608" y="77900"/>
                    </a:cubicBezTo>
                    <a:cubicBezTo>
                      <a:pt x="99762" y="91746"/>
                      <a:pt x="93494" y="101001"/>
                      <a:pt x="76661" y="106101"/>
                    </a:cubicBezTo>
                    <a:lnTo>
                      <a:pt x="29658" y="120239"/>
                    </a:lnTo>
                    <a:lnTo>
                      <a:pt x="24703" y="103842"/>
                    </a:lnTo>
                    <a:lnTo>
                      <a:pt x="67771" y="90871"/>
                    </a:lnTo>
                    <a:cubicBezTo>
                      <a:pt x="77098" y="88102"/>
                      <a:pt x="81908" y="83657"/>
                      <a:pt x="79430" y="75423"/>
                    </a:cubicBezTo>
                    <a:cubicBezTo>
                      <a:pt x="76807" y="66824"/>
                      <a:pt x="68864" y="63326"/>
                      <a:pt x="57131" y="66896"/>
                    </a:cubicBezTo>
                    <a:lnTo>
                      <a:pt x="17198" y="78920"/>
                    </a:lnTo>
                    <a:lnTo>
                      <a:pt x="12315" y="62597"/>
                    </a:lnTo>
                    <a:lnTo>
                      <a:pt x="55455" y="49626"/>
                    </a:lnTo>
                    <a:cubicBezTo>
                      <a:pt x="64783" y="46857"/>
                      <a:pt x="69593" y="42339"/>
                      <a:pt x="67115" y="34177"/>
                    </a:cubicBezTo>
                    <a:cubicBezTo>
                      <a:pt x="64491" y="25505"/>
                      <a:pt x="56621" y="22153"/>
                      <a:pt x="44816" y="25724"/>
                    </a:cubicBezTo>
                    <a:lnTo>
                      <a:pt x="4882" y="37748"/>
                    </a:lnTo>
                    <a:lnTo>
                      <a:pt x="0" y="21351"/>
                    </a:lnTo>
                    <a:lnTo>
                      <a:pt x="70758" y="73"/>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01" name="Freeform 154">
                <a:extLst>
                  <a:ext uri="{FF2B5EF4-FFF2-40B4-BE49-F238E27FC236}">
                    <a16:creationId xmlns:a16="http://schemas.microsoft.com/office/drawing/2014/main" id="{D71F1BA7-8113-6AA8-F035-4ECC9F32828A}"/>
                  </a:ext>
                </a:extLst>
              </p:cNvPr>
              <p:cNvSpPr/>
              <p:nvPr/>
            </p:nvSpPr>
            <p:spPr>
              <a:xfrm>
                <a:off x="8791151" y="4452859"/>
                <a:ext cx="77043" cy="74316"/>
              </a:xfrm>
              <a:custGeom>
                <a:avLst/>
                <a:gdLst>
                  <a:gd name="connsiteX0" fmla="*/ 29148 w 77043"/>
                  <a:gd name="connsiteY0" fmla="*/ 1663 h 74316"/>
                  <a:gd name="connsiteX1" fmla="*/ 75640 w 77043"/>
                  <a:gd name="connsiteY1" fmla="*/ 27897 h 74316"/>
                  <a:gd name="connsiteX2" fmla="*/ 49188 w 77043"/>
                  <a:gd name="connsiteY2" fmla="*/ 69434 h 74316"/>
                  <a:gd name="connsiteX3" fmla="*/ 42848 w 77043"/>
                  <a:gd name="connsiteY3" fmla="*/ 70819 h 74316"/>
                  <a:gd name="connsiteX4" fmla="*/ 29658 w 77043"/>
                  <a:gd name="connsiteY4" fmla="*/ 20173 h 74316"/>
                  <a:gd name="connsiteX5" fmla="*/ 14938 w 77043"/>
                  <a:gd name="connsiteY5" fmla="*/ 46042 h 74316"/>
                  <a:gd name="connsiteX6" fmla="*/ 27691 w 77043"/>
                  <a:gd name="connsiteY6" fmla="*/ 62220 h 74316"/>
                  <a:gd name="connsiteX7" fmla="*/ 20549 w 77043"/>
                  <a:gd name="connsiteY7" fmla="*/ 74316 h 74316"/>
                  <a:gd name="connsiteX8" fmla="*/ 1748 w 77043"/>
                  <a:gd name="connsiteY8" fmla="*/ 48593 h 74316"/>
                  <a:gd name="connsiteX9" fmla="*/ 29075 w 77043"/>
                  <a:gd name="connsiteY9" fmla="*/ 1590 h 74316"/>
                  <a:gd name="connsiteX10" fmla="*/ 48824 w 77043"/>
                  <a:gd name="connsiteY10" fmla="*/ 51872 h 74316"/>
                  <a:gd name="connsiteX11" fmla="*/ 62742 w 77043"/>
                  <a:gd name="connsiteY11" fmla="*/ 30812 h 74316"/>
                  <a:gd name="connsiteX12" fmla="*/ 39933 w 77043"/>
                  <a:gd name="connsiteY12" fmla="*/ 17768 h 74316"/>
                  <a:gd name="connsiteX13" fmla="*/ 48824 w 77043"/>
                  <a:gd name="connsiteY13" fmla="*/ 51872 h 74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043" h="74316">
                    <a:moveTo>
                      <a:pt x="29148" y="1663"/>
                    </a:moveTo>
                    <a:cubicBezTo>
                      <a:pt x="54070" y="-4822"/>
                      <a:pt x="70539" y="8440"/>
                      <a:pt x="75640" y="27897"/>
                    </a:cubicBezTo>
                    <a:cubicBezTo>
                      <a:pt x="81834" y="51872"/>
                      <a:pt x="66531" y="64916"/>
                      <a:pt x="49188" y="69434"/>
                    </a:cubicBezTo>
                    <a:cubicBezTo>
                      <a:pt x="47075" y="69944"/>
                      <a:pt x="44888" y="70381"/>
                      <a:pt x="42848" y="70819"/>
                    </a:cubicBezTo>
                    <a:lnTo>
                      <a:pt x="29658" y="20173"/>
                    </a:lnTo>
                    <a:cubicBezTo>
                      <a:pt x="16395" y="24909"/>
                      <a:pt x="11732" y="33654"/>
                      <a:pt x="14938" y="46042"/>
                    </a:cubicBezTo>
                    <a:cubicBezTo>
                      <a:pt x="17051" y="54058"/>
                      <a:pt x="20768" y="58795"/>
                      <a:pt x="27691" y="62220"/>
                    </a:cubicBezTo>
                    <a:lnTo>
                      <a:pt x="20549" y="74316"/>
                    </a:lnTo>
                    <a:cubicBezTo>
                      <a:pt x="11294" y="69579"/>
                      <a:pt x="5392" y="62438"/>
                      <a:pt x="1748" y="48593"/>
                    </a:cubicBezTo>
                    <a:cubicBezTo>
                      <a:pt x="-4227" y="25638"/>
                      <a:pt x="5173" y="7857"/>
                      <a:pt x="29075" y="1590"/>
                    </a:cubicBezTo>
                    <a:close/>
                    <a:moveTo>
                      <a:pt x="48824" y="51872"/>
                    </a:moveTo>
                    <a:cubicBezTo>
                      <a:pt x="61212" y="47645"/>
                      <a:pt x="65147" y="40066"/>
                      <a:pt x="62742" y="30812"/>
                    </a:cubicBezTo>
                    <a:cubicBezTo>
                      <a:pt x="60337" y="21630"/>
                      <a:pt x="52977" y="16092"/>
                      <a:pt x="39933" y="17768"/>
                    </a:cubicBezTo>
                    <a:lnTo>
                      <a:pt x="48824" y="51872"/>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02" name="Freeform 155">
                <a:extLst>
                  <a:ext uri="{FF2B5EF4-FFF2-40B4-BE49-F238E27FC236}">
                    <a16:creationId xmlns:a16="http://schemas.microsoft.com/office/drawing/2014/main" id="{BF468661-B5AE-CC1A-BF99-EBC4A8A98C9E}"/>
                  </a:ext>
                </a:extLst>
              </p:cNvPr>
              <p:cNvSpPr/>
              <p:nvPr/>
            </p:nvSpPr>
            <p:spPr>
              <a:xfrm>
                <a:off x="8805871" y="4530673"/>
                <a:ext cx="83390" cy="78920"/>
              </a:xfrm>
              <a:custGeom>
                <a:avLst/>
                <a:gdLst>
                  <a:gd name="connsiteX0" fmla="*/ 72143 w 83390"/>
                  <a:gd name="connsiteY0" fmla="*/ 0 h 78920"/>
                  <a:gd name="connsiteX1" fmla="*/ 75786 w 83390"/>
                  <a:gd name="connsiteY1" fmla="*/ 16178 h 78920"/>
                  <a:gd name="connsiteX2" fmla="*/ 60629 w 83390"/>
                  <a:gd name="connsiteY2" fmla="*/ 19603 h 78920"/>
                  <a:gd name="connsiteX3" fmla="*/ 60629 w 83390"/>
                  <a:gd name="connsiteY3" fmla="*/ 19894 h 78920"/>
                  <a:gd name="connsiteX4" fmla="*/ 82636 w 83390"/>
                  <a:gd name="connsiteY4" fmla="*/ 39788 h 78920"/>
                  <a:gd name="connsiteX5" fmla="*/ 61795 w 83390"/>
                  <a:gd name="connsiteY5" fmla="*/ 68063 h 78920"/>
                  <a:gd name="connsiteX6" fmla="*/ 14210 w 83390"/>
                  <a:gd name="connsiteY6" fmla="*/ 78920 h 78920"/>
                  <a:gd name="connsiteX7" fmla="*/ 10421 w 83390"/>
                  <a:gd name="connsiteY7" fmla="*/ 62233 h 78920"/>
                  <a:gd name="connsiteX8" fmla="*/ 53998 w 83390"/>
                  <a:gd name="connsiteY8" fmla="*/ 52322 h 78920"/>
                  <a:gd name="connsiteX9" fmla="*/ 66605 w 83390"/>
                  <a:gd name="connsiteY9" fmla="*/ 35707 h 78920"/>
                  <a:gd name="connsiteX10" fmla="*/ 44233 w 83390"/>
                  <a:gd name="connsiteY10" fmla="*/ 23902 h 78920"/>
                  <a:gd name="connsiteX11" fmla="*/ 3789 w 83390"/>
                  <a:gd name="connsiteY11" fmla="*/ 33084 h 78920"/>
                  <a:gd name="connsiteX12" fmla="*/ 0 w 83390"/>
                  <a:gd name="connsiteY12" fmla="*/ 16396 h 78920"/>
                  <a:gd name="connsiteX13" fmla="*/ 72143 w 83390"/>
                  <a:gd name="connsiteY13" fmla="*/ 0 h 7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390" h="78920">
                    <a:moveTo>
                      <a:pt x="72143" y="0"/>
                    </a:moveTo>
                    <a:lnTo>
                      <a:pt x="75786" y="16178"/>
                    </a:lnTo>
                    <a:lnTo>
                      <a:pt x="60629" y="19603"/>
                    </a:lnTo>
                    <a:lnTo>
                      <a:pt x="60629" y="19894"/>
                    </a:lnTo>
                    <a:cubicBezTo>
                      <a:pt x="69665" y="21351"/>
                      <a:pt x="79503" y="26015"/>
                      <a:pt x="82636" y="39788"/>
                    </a:cubicBezTo>
                    <a:cubicBezTo>
                      <a:pt x="86134" y="55237"/>
                      <a:pt x="77171" y="64637"/>
                      <a:pt x="61795" y="68063"/>
                    </a:cubicBezTo>
                    <a:lnTo>
                      <a:pt x="14210" y="78920"/>
                    </a:lnTo>
                    <a:lnTo>
                      <a:pt x="10421" y="62233"/>
                    </a:lnTo>
                    <a:lnTo>
                      <a:pt x="53998" y="52322"/>
                    </a:lnTo>
                    <a:cubicBezTo>
                      <a:pt x="63690" y="50136"/>
                      <a:pt x="68791" y="45399"/>
                      <a:pt x="66605" y="35707"/>
                    </a:cubicBezTo>
                    <a:cubicBezTo>
                      <a:pt x="64346" y="25724"/>
                      <a:pt x="56330" y="21133"/>
                      <a:pt x="44233" y="23902"/>
                    </a:cubicBezTo>
                    <a:lnTo>
                      <a:pt x="3789" y="33084"/>
                    </a:lnTo>
                    <a:lnTo>
                      <a:pt x="0" y="16396"/>
                    </a:lnTo>
                    <a:lnTo>
                      <a:pt x="72143"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03" name="Freeform 156">
                <a:extLst>
                  <a:ext uri="{FF2B5EF4-FFF2-40B4-BE49-F238E27FC236}">
                    <a16:creationId xmlns:a16="http://schemas.microsoft.com/office/drawing/2014/main" id="{1A376BC2-8C1D-D8B9-22CA-16B713D5E20F}"/>
                  </a:ext>
                </a:extLst>
              </p:cNvPr>
              <p:cNvSpPr/>
              <p:nvPr/>
            </p:nvSpPr>
            <p:spPr>
              <a:xfrm>
                <a:off x="8826554" y="4606460"/>
                <a:ext cx="92487" cy="56694"/>
              </a:xfrm>
              <a:custGeom>
                <a:avLst/>
                <a:gdLst>
                  <a:gd name="connsiteX0" fmla="*/ 15898 w 92487"/>
                  <a:gd name="connsiteY0" fmla="*/ 20477 h 56694"/>
                  <a:gd name="connsiteX1" fmla="*/ 57289 w 92487"/>
                  <a:gd name="connsiteY1" fmla="*/ 12169 h 56694"/>
                  <a:gd name="connsiteX2" fmla="*/ 55176 w 92487"/>
                  <a:gd name="connsiteY2" fmla="*/ 1530 h 56694"/>
                  <a:gd name="connsiteX3" fmla="*/ 62828 w 92487"/>
                  <a:gd name="connsiteY3" fmla="*/ 0 h 56694"/>
                  <a:gd name="connsiteX4" fmla="*/ 91831 w 92487"/>
                  <a:gd name="connsiteY4" fmla="*/ 19311 h 56694"/>
                  <a:gd name="connsiteX5" fmla="*/ 92487 w 92487"/>
                  <a:gd name="connsiteY5" fmla="*/ 22518 h 56694"/>
                  <a:gd name="connsiteX6" fmla="*/ 73686 w 92487"/>
                  <a:gd name="connsiteY6" fmla="*/ 26307 h 56694"/>
                  <a:gd name="connsiteX7" fmla="*/ 76819 w 92487"/>
                  <a:gd name="connsiteY7" fmla="*/ 42047 h 56694"/>
                  <a:gd name="connsiteX8" fmla="*/ 63848 w 92487"/>
                  <a:gd name="connsiteY8" fmla="*/ 44670 h 56694"/>
                  <a:gd name="connsiteX9" fmla="*/ 60715 w 92487"/>
                  <a:gd name="connsiteY9" fmla="*/ 29003 h 56694"/>
                  <a:gd name="connsiteX10" fmla="*/ 22530 w 92487"/>
                  <a:gd name="connsiteY10" fmla="*/ 36654 h 56694"/>
                  <a:gd name="connsiteX11" fmla="*/ 16044 w 92487"/>
                  <a:gd name="connsiteY11" fmla="*/ 46055 h 56694"/>
                  <a:gd name="connsiteX12" fmla="*/ 18740 w 92487"/>
                  <a:gd name="connsiteY12" fmla="*/ 53779 h 56694"/>
                  <a:gd name="connsiteX13" fmla="*/ 4385 w 92487"/>
                  <a:gd name="connsiteY13" fmla="*/ 56694 h 56694"/>
                  <a:gd name="connsiteX14" fmla="*/ 887 w 92487"/>
                  <a:gd name="connsiteY14" fmla="*/ 45472 h 56694"/>
                  <a:gd name="connsiteX15" fmla="*/ 15971 w 92487"/>
                  <a:gd name="connsiteY15" fmla="*/ 20550 h 5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2487" h="56694">
                    <a:moveTo>
                      <a:pt x="15898" y="20477"/>
                    </a:moveTo>
                    <a:lnTo>
                      <a:pt x="57289" y="12169"/>
                    </a:lnTo>
                    <a:lnTo>
                      <a:pt x="55176" y="1530"/>
                    </a:lnTo>
                    <a:lnTo>
                      <a:pt x="62828" y="0"/>
                    </a:lnTo>
                    <a:lnTo>
                      <a:pt x="91831" y="19311"/>
                    </a:lnTo>
                    <a:lnTo>
                      <a:pt x="92487" y="22518"/>
                    </a:lnTo>
                    <a:lnTo>
                      <a:pt x="73686" y="26307"/>
                    </a:lnTo>
                    <a:lnTo>
                      <a:pt x="76819" y="42047"/>
                    </a:lnTo>
                    <a:lnTo>
                      <a:pt x="63848" y="44670"/>
                    </a:lnTo>
                    <a:lnTo>
                      <a:pt x="60715" y="29003"/>
                    </a:lnTo>
                    <a:lnTo>
                      <a:pt x="22530" y="36654"/>
                    </a:lnTo>
                    <a:cubicBezTo>
                      <a:pt x="16190" y="37966"/>
                      <a:pt x="14878" y="40371"/>
                      <a:pt x="16044" y="46055"/>
                    </a:cubicBezTo>
                    <a:cubicBezTo>
                      <a:pt x="16627" y="48897"/>
                      <a:pt x="17647" y="51520"/>
                      <a:pt x="18740" y="53779"/>
                    </a:cubicBezTo>
                    <a:lnTo>
                      <a:pt x="4385" y="56694"/>
                    </a:lnTo>
                    <a:cubicBezTo>
                      <a:pt x="3073" y="53925"/>
                      <a:pt x="1761" y="49699"/>
                      <a:pt x="887" y="45472"/>
                    </a:cubicBezTo>
                    <a:cubicBezTo>
                      <a:pt x="-2028" y="30898"/>
                      <a:pt x="2053" y="23392"/>
                      <a:pt x="15971" y="2055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grpSp>
          <p:nvGrpSpPr>
            <p:cNvPr id="1504" name="Graphic 2">
              <a:extLst>
                <a:ext uri="{FF2B5EF4-FFF2-40B4-BE49-F238E27FC236}">
                  <a16:creationId xmlns:a16="http://schemas.microsoft.com/office/drawing/2014/main" id="{4274E00F-EA89-CAAB-2D90-097134AD0739}"/>
                </a:ext>
              </a:extLst>
            </p:cNvPr>
            <p:cNvGrpSpPr/>
            <p:nvPr/>
          </p:nvGrpSpPr>
          <p:grpSpPr>
            <a:xfrm>
              <a:off x="4478763" y="5400080"/>
              <a:ext cx="3311105" cy="227081"/>
              <a:chOff x="4479905" y="5400617"/>
              <a:chExt cx="3311954" cy="227141"/>
            </a:xfrm>
            <a:solidFill>
              <a:srgbClr val="FFFFFF"/>
            </a:solidFill>
          </p:grpSpPr>
          <p:sp>
            <p:nvSpPr>
              <p:cNvPr id="1505" name="Freeform 158">
                <a:extLst>
                  <a:ext uri="{FF2B5EF4-FFF2-40B4-BE49-F238E27FC236}">
                    <a16:creationId xmlns:a16="http://schemas.microsoft.com/office/drawing/2014/main" id="{087CAAB8-F434-9B47-E8CA-B6126F99386D}"/>
                  </a:ext>
                </a:extLst>
              </p:cNvPr>
              <p:cNvSpPr/>
              <p:nvPr/>
            </p:nvSpPr>
            <p:spPr>
              <a:xfrm>
                <a:off x="4479905" y="5416431"/>
                <a:ext cx="127525" cy="160463"/>
              </a:xfrm>
              <a:custGeom>
                <a:avLst/>
                <a:gdLst>
                  <a:gd name="connsiteX0" fmla="*/ 0 w 127525"/>
                  <a:gd name="connsiteY0" fmla="*/ 72 h 160463"/>
                  <a:gd name="connsiteX1" fmla="*/ 65147 w 127525"/>
                  <a:gd name="connsiteY1" fmla="*/ 72 h 160463"/>
                  <a:gd name="connsiteX2" fmla="*/ 121259 w 127525"/>
                  <a:gd name="connsiteY2" fmla="*/ 39934 h 160463"/>
                  <a:gd name="connsiteX3" fmla="*/ 93349 w 127525"/>
                  <a:gd name="connsiteY3" fmla="*/ 76807 h 160463"/>
                  <a:gd name="connsiteX4" fmla="*/ 127526 w 127525"/>
                  <a:gd name="connsiteY4" fmla="*/ 114919 h 160463"/>
                  <a:gd name="connsiteX5" fmla="*/ 68062 w 127525"/>
                  <a:gd name="connsiteY5" fmla="*/ 160464 h 160463"/>
                  <a:gd name="connsiteX6" fmla="*/ 0 w 127525"/>
                  <a:gd name="connsiteY6" fmla="*/ 160464 h 160463"/>
                  <a:gd name="connsiteX7" fmla="*/ 0 w 127525"/>
                  <a:gd name="connsiteY7" fmla="*/ 0 h 160463"/>
                  <a:gd name="connsiteX8" fmla="*/ 61941 w 127525"/>
                  <a:gd name="connsiteY8" fmla="*/ 65730 h 160463"/>
                  <a:gd name="connsiteX9" fmla="*/ 90434 w 127525"/>
                  <a:gd name="connsiteY9" fmla="*/ 44233 h 160463"/>
                  <a:gd name="connsiteX10" fmla="*/ 62961 w 127525"/>
                  <a:gd name="connsiteY10" fmla="*/ 24995 h 160463"/>
                  <a:gd name="connsiteX11" fmla="*/ 30315 w 127525"/>
                  <a:gd name="connsiteY11" fmla="*/ 24995 h 160463"/>
                  <a:gd name="connsiteX12" fmla="*/ 30315 w 127525"/>
                  <a:gd name="connsiteY12" fmla="*/ 65730 h 160463"/>
                  <a:gd name="connsiteX13" fmla="*/ 61941 w 127525"/>
                  <a:gd name="connsiteY13" fmla="*/ 65730 h 160463"/>
                  <a:gd name="connsiteX14" fmla="*/ 65949 w 127525"/>
                  <a:gd name="connsiteY14" fmla="*/ 135541 h 160463"/>
                  <a:gd name="connsiteX15" fmla="*/ 97065 w 127525"/>
                  <a:gd name="connsiteY15" fmla="*/ 112295 h 160463"/>
                  <a:gd name="connsiteX16" fmla="*/ 65730 w 127525"/>
                  <a:gd name="connsiteY16" fmla="*/ 89851 h 160463"/>
                  <a:gd name="connsiteX17" fmla="*/ 30315 w 127525"/>
                  <a:gd name="connsiteY17" fmla="*/ 89851 h 160463"/>
                  <a:gd name="connsiteX18" fmla="*/ 30315 w 127525"/>
                  <a:gd name="connsiteY18" fmla="*/ 135541 h 160463"/>
                  <a:gd name="connsiteX19" fmla="*/ 65949 w 127525"/>
                  <a:gd name="connsiteY19" fmla="*/ 135541 h 16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525" h="160463">
                    <a:moveTo>
                      <a:pt x="0" y="72"/>
                    </a:moveTo>
                    <a:lnTo>
                      <a:pt x="65147" y="72"/>
                    </a:lnTo>
                    <a:cubicBezTo>
                      <a:pt x="101365" y="72"/>
                      <a:pt x="121259" y="12461"/>
                      <a:pt x="121259" y="39934"/>
                    </a:cubicBezTo>
                    <a:cubicBezTo>
                      <a:pt x="121259" y="58735"/>
                      <a:pt x="111494" y="72362"/>
                      <a:pt x="93349" y="76807"/>
                    </a:cubicBezTo>
                    <a:cubicBezTo>
                      <a:pt x="114627" y="79794"/>
                      <a:pt x="127526" y="93567"/>
                      <a:pt x="127526" y="114919"/>
                    </a:cubicBezTo>
                    <a:cubicBezTo>
                      <a:pt x="127526" y="147347"/>
                      <a:pt x="101219" y="160464"/>
                      <a:pt x="68062" y="160464"/>
                    </a:cubicBezTo>
                    <a:lnTo>
                      <a:pt x="0" y="160464"/>
                    </a:lnTo>
                    <a:lnTo>
                      <a:pt x="0" y="0"/>
                    </a:lnTo>
                    <a:close/>
                    <a:moveTo>
                      <a:pt x="61941" y="65730"/>
                    </a:moveTo>
                    <a:cubicBezTo>
                      <a:pt x="82637" y="65730"/>
                      <a:pt x="90434" y="58225"/>
                      <a:pt x="90434" y="44233"/>
                    </a:cubicBezTo>
                    <a:cubicBezTo>
                      <a:pt x="90434" y="30242"/>
                      <a:pt x="80742" y="24995"/>
                      <a:pt x="62961" y="24995"/>
                    </a:cubicBezTo>
                    <a:lnTo>
                      <a:pt x="30315" y="24995"/>
                    </a:lnTo>
                    <a:lnTo>
                      <a:pt x="30315" y="65730"/>
                    </a:lnTo>
                    <a:lnTo>
                      <a:pt x="61941" y="65730"/>
                    </a:lnTo>
                    <a:close/>
                    <a:moveTo>
                      <a:pt x="65949" y="135541"/>
                    </a:moveTo>
                    <a:cubicBezTo>
                      <a:pt x="84167" y="135541"/>
                      <a:pt x="97065" y="130513"/>
                      <a:pt x="97065" y="112295"/>
                    </a:cubicBezTo>
                    <a:cubicBezTo>
                      <a:pt x="97065" y="97065"/>
                      <a:pt x="85552" y="89851"/>
                      <a:pt x="65730" y="89851"/>
                    </a:cubicBezTo>
                    <a:lnTo>
                      <a:pt x="30315" y="89851"/>
                    </a:lnTo>
                    <a:lnTo>
                      <a:pt x="30315" y="135541"/>
                    </a:lnTo>
                    <a:lnTo>
                      <a:pt x="65949" y="135541"/>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06" name="Freeform 159">
                <a:extLst>
                  <a:ext uri="{FF2B5EF4-FFF2-40B4-BE49-F238E27FC236}">
                    <a16:creationId xmlns:a16="http://schemas.microsoft.com/office/drawing/2014/main" id="{E965777A-05F3-3EEC-E5E6-9C3FF3F26586}"/>
                  </a:ext>
                </a:extLst>
              </p:cNvPr>
              <p:cNvSpPr/>
              <p:nvPr/>
            </p:nvSpPr>
            <p:spPr>
              <a:xfrm>
                <a:off x="4631697" y="5452284"/>
                <a:ext cx="107996" cy="126869"/>
              </a:xfrm>
              <a:custGeom>
                <a:avLst/>
                <a:gdLst>
                  <a:gd name="connsiteX0" fmla="*/ 0 w 107996"/>
                  <a:gd name="connsiteY0" fmla="*/ 82127 h 126869"/>
                  <a:gd name="connsiteX1" fmla="*/ 0 w 107996"/>
                  <a:gd name="connsiteY1" fmla="*/ 0 h 126869"/>
                  <a:gd name="connsiteX2" fmla="*/ 28930 w 107996"/>
                  <a:gd name="connsiteY2" fmla="*/ 0 h 126869"/>
                  <a:gd name="connsiteX3" fmla="*/ 28930 w 107996"/>
                  <a:gd name="connsiteY3" fmla="*/ 75277 h 126869"/>
                  <a:gd name="connsiteX4" fmla="*/ 51375 w 107996"/>
                  <a:gd name="connsiteY4" fmla="*/ 102167 h 126869"/>
                  <a:gd name="connsiteX5" fmla="*/ 79285 w 107996"/>
                  <a:gd name="connsiteY5" fmla="*/ 69738 h 126869"/>
                  <a:gd name="connsiteX6" fmla="*/ 79285 w 107996"/>
                  <a:gd name="connsiteY6" fmla="*/ 73 h 126869"/>
                  <a:gd name="connsiteX7" fmla="*/ 107996 w 107996"/>
                  <a:gd name="connsiteY7" fmla="*/ 73 h 126869"/>
                  <a:gd name="connsiteX8" fmla="*/ 107996 w 107996"/>
                  <a:gd name="connsiteY8" fmla="*/ 124611 h 126869"/>
                  <a:gd name="connsiteX9" fmla="*/ 80232 w 107996"/>
                  <a:gd name="connsiteY9" fmla="*/ 124611 h 126869"/>
                  <a:gd name="connsiteX10" fmla="*/ 80232 w 107996"/>
                  <a:gd name="connsiteY10" fmla="*/ 98304 h 126869"/>
                  <a:gd name="connsiteX11" fmla="*/ 79649 w 107996"/>
                  <a:gd name="connsiteY11" fmla="*/ 98304 h 126869"/>
                  <a:gd name="connsiteX12" fmla="*/ 38768 w 107996"/>
                  <a:gd name="connsiteY12" fmla="*/ 126870 h 126869"/>
                  <a:gd name="connsiteX13" fmla="*/ 73 w 107996"/>
                  <a:gd name="connsiteY13" fmla="*/ 82127 h 126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96" h="126869">
                    <a:moveTo>
                      <a:pt x="0" y="82127"/>
                    </a:moveTo>
                    <a:lnTo>
                      <a:pt x="0" y="0"/>
                    </a:lnTo>
                    <a:lnTo>
                      <a:pt x="28930" y="0"/>
                    </a:lnTo>
                    <a:lnTo>
                      <a:pt x="28930" y="75277"/>
                    </a:lnTo>
                    <a:cubicBezTo>
                      <a:pt x="28930" y="91891"/>
                      <a:pt x="34614" y="102167"/>
                      <a:pt x="51375" y="102167"/>
                    </a:cubicBezTo>
                    <a:cubicBezTo>
                      <a:pt x="68135" y="102167"/>
                      <a:pt x="79285" y="90653"/>
                      <a:pt x="79285" y="69738"/>
                    </a:cubicBezTo>
                    <a:lnTo>
                      <a:pt x="79285" y="73"/>
                    </a:lnTo>
                    <a:lnTo>
                      <a:pt x="107996" y="73"/>
                    </a:lnTo>
                    <a:lnTo>
                      <a:pt x="107996" y="124611"/>
                    </a:lnTo>
                    <a:lnTo>
                      <a:pt x="80232" y="124611"/>
                    </a:lnTo>
                    <a:lnTo>
                      <a:pt x="80232" y="98304"/>
                    </a:lnTo>
                    <a:lnTo>
                      <a:pt x="79649" y="98304"/>
                    </a:lnTo>
                    <a:cubicBezTo>
                      <a:pt x="73965" y="112660"/>
                      <a:pt x="62670" y="126870"/>
                      <a:pt x="38768" y="126870"/>
                    </a:cubicBezTo>
                    <a:cubicBezTo>
                      <a:pt x="12097" y="126870"/>
                      <a:pt x="73" y="108652"/>
                      <a:pt x="73" y="82127"/>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07" name="Freeform 160">
                <a:extLst>
                  <a:ext uri="{FF2B5EF4-FFF2-40B4-BE49-F238E27FC236}">
                    <a16:creationId xmlns:a16="http://schemas.microsoft.com/office/drawing/2014/main" id="{785D1C3B-4644-8A58-F203-BB8918EC9AFC}"/>
                  </a:ext>
                </a:extLst>
              </p:cNvPr>
              <p:cNvSpPr/>
              <p:nvPr/>
            </p:nvSpPr>
            <p:spPr>
              <a:xfrm>
                <a:off x="4762866" y="5449879"/>
                <a:ext cx="101583" cy="129201"/>
              </a:xfrm>
              <a:custGeom>
                <a:avLst/>
                <a:gdLst>
                  <a:gd name="connsiteX0" fmla="*/ 146 w 101583"/>
                  <a:gd name="connsiteY0" fmla="*/ 110037 h 129201"/>
                  <a:gd name="connsiteX1" fmla="*/ 17489 w 101583"/>
                  <a:gd name="connsiteY1" fmla="*/ 92693 h 129201"/>
                  <a:gd name="connsiteX2" fmla="*/ 51156 w 101583"/>
                  <a:gd name="connsiteY2" fmla="*/ 107049 h 129201"/>
                  <a:gd name="connsiteX3" fmla="*/ 73674 w 101583"/>
                  <a:gd name="connsiteY3" fmla="*/ 93130 h 129201"/>
                  <a:gd name="connsiteX4" fmla="*/ 45181 w 101583"/>
                  <a:gd name="connsiteY4" fmla="*/ 74111 h 129201"/>
                  <a:gd name="connsiteX5" fmla="*/ 5903 w 101583"/>
                  <a:gd name="connsiteY5" fmla="*/ 36436 h 129201"/>
                  <a:gd name="connsiteX6" fmla="*/ 53124 w 101583"/>
                  <a:gd name="connsiteY6" fmla="*/ 0 h 129201"/>
                  <a:gd name="connsiteX7" fmla="*/ 99324 w 101583"/>
                  <a:gd name="connsiteY7" fmla="*/ 16979 h 129201"/>
                  <a:gd name="connsiteX8" fmla="*/ 82491 w 101583"/>
                  <a:gd name="connsiteY8" fmla="*/ 33813 h 129201"/>
                  <a:gd name="connsiteX9" fmla="*/ 53561 w 101583"/>
                  <a:gd name="connsiteY9" fmla="*/ 22007 h 129201"/>
                  <a:gd name="connsiteX10" fmla="*/ 33740 w 101583"/>
                  <a:gd name="connsiteY10" fmla="*/ 35197 h 129201"/>
                  <a:gd name="connsiteX11" fmla="*/ 60702 w 101583"/>
                  <a:gd name="connsiteY11" fmla="*/ 51812 h 129201"/>
                  <a:gd name="connsiteX12" fmla="*/ 101583 w 101583"/>
                  <a:gd name="connsiteY12" fmla="*/ 91090 h 129201"/>
                  <a:gd name="connsiteX13" fmla="*/ 51448 w 101583"/>
                  <a:gd name="connsiteY13" fmla="*/ 129202 h 129201"/>
                  <a:gd name="connsiteX14" fmla="*/ 0 w 101583"/>
                  <a:gd name="connsiteY14" fmla="*/ 109964 h 1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583" h="129201">
                    <a:moveTo>
                      <a:pt x="146" y="110037"/>
                    </a:moveTo>
                    <a:lnTo>
                      <a:pt x="17489" y="92693"/>
                    </a:lnTo>
                    <a:cubicBezTo>
                      <a:pt x="27400" y="103624"/>
                      <a:pt x="38112" y="107049"/>
                      <a:pt x="51156" y="107049"/>
                    </a:cubicBezTo>
                    <a:cubicBezTo>
                      <a:pt x="64200" y="107049"/>
                      <a:pt x="73674" y="103405"/>
                      <a:pt x="73674" y="93130"/>
                    </a:cubicBezTo>
                    <a:cubicBezTo>
                      <a:pt x="73674" y="81835"/>
                      <a:pt x="63107" y="78774"/>
                      <a:pt x="45181" y="74111"/>
                    </a:cubicBezTo>
                    <a:cubicBezTo>
                      <a:pt x="25942" y="69082"/>
                      <a:pt x="5903" y="60994"/>
                      <a:pt x="5903" y="36436"/>
                    </a:cubicBezTo>
                    <a:cubicBezTo>
                      <a:pt x="5903" y="13336"/>
                      <a:pt x="23683" y="0"/>
                      <a:pt x="53124" y="0"/>
                    </a:cubicBezTo>
                    <a:cubicBezTo>
                      <a:pt x="72362" y="0"/>
                      <a:pt x="88175" y="5903"/>
                      <a:pt x="99324" y="16979"/>
                    </a:cubicBezTo>
                    <a:lnTo>
                      <a:pt x="82491" y="33813"/>
                    </a:lnTo>
                    <a:cubicBezTo>
                      <a:pt x="74038" y="25141"/>
                      <a:pt x="63690" y="22007"/>
                      <a:pt x="53561" y="22007"/>
                    </a:cubicBezTo>
                    <a:cubicBezTo>
                      <a:pt x="41610" y="22007"/>
                      <a:pt x="33740" y="26088"/>
                      <a:pt x="33740" y="35197"/>
                    </a:cubicBezTo>
                    <a:cubicBezTo>
                      <a:pt x="33740" y="44306"/>
                      <a:pt x="43869" y="47367"/>
                      <a:pt x="60702" y="51812"/>
                    </a:cubicBezTo>
                    <a:cubicBezTo>
                      <a:pt x="80378" y="56840"/>
                      <a:pt x="101583" y="63617"/>
                      <a:pt x="101583" y="91090"/>
                    </a:cubicBezTo>
                    <a:cubicBezTo>
                      <a:pt x="101583" y="115210"/>
                      <a:pt x="82127" y="129202"/>
                      <a:pt x="51448" y="129202"/>
                    </a:cubicBezTo>
                    <a:cubicBezTo>
                      <a:pt x="29732" y="129202"/>
                      <a:pt x="12024" y="123081"/>
                      <a:pt x="0" y="109964"/>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08" name="Freeform 161">
                <a:extLst>
                  <a:ext uri="{FF2B5EF4-FFF2-40B4-BE49-F238E27FC236}">
                    <a16:creationId xmlns:a16="http://schemas.microsoft.com/office/drawing/2014/main" id="{753C6DB1-96A0-7877-E236-E7D2E58F55E9}"/>
                  </a:ext>
                </a:extLst>
              </p:cNvPr>
              <p:cNvSpPr/>
              <p:nvPr/>
            </p:nvSpPr>
            <p:spPr>
              <a:xfrm>
                <a:off x="4887987" y="5400617"/>
                <a:ext cx="34541" cy="176277"/>
              </a:xfrm>
              <a:custGeom>
                <a:avLst/>
                <a:gdLst>
                  <a:gd name="connsiteX0" fmla="*/ 17198 w 34541"/>
                  <a:gd name="connsiteY0" fmla="*/ 0 h 176277"/>
                  <a:gd name="connsiteX1" fmla="*/ 34541 w 34541"/>
                  <a:gd name="connsiteY1" fmla="*/ 16979 h 176277"/>
                  <a:gd name="connsiteX2" fmla="*/ 17198 w 34541"/>
                  <a:gd name="connsiteY2" fmla="*/ 33813 h 176277"/>
                  <a:gd name="connsiteX3" fmla="*/ 0 w 34541"/>
                  <a:gd name="connsiteY3" fmla="*/ 16979 h 176277"/>
                  <a:gd name="connsiteX4" fmla="*/ 17198 w 34541"/>
                  <a:gd name="connsiteY4" fmla="*/ 0 h 176277"/>
                  <a:gd name="connsiteX5" fmla="*/ 2842 w 34541"/>
                  <a:gd name="connsiteY5" fmla="*/ 51739 h 176277"/>
                  <a:gd name="connsiteX6" fmla="*/ 31626 w 34541"/>
                  <a:gd name="connsiteY6" fmla="*/ 51739 h 176277"/>
                  <a:gd name="connsiteX7" fmla="*/ 31626 w 34541"/>
                  <a:gd name="connsiteY7" fmla="*/ 176277 h 176277"/>
                  <a:gd name="connsiteX8" fmla="*/ 2842 w 34541"/>
                  <a:gd name="connsiteY8" fmla="*/ 176277 h 176277"/>
                  <a:gd name="connsiteX9" fmla="*/ 2842 w 34541"/>
                  <a:gd name="connsiteY9" fmla="*/ 51739 h 17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41" h="176277">
                    <a:moveTo>
                      <a:pt x="17198" y="0"/>
                    </a:moveTo>
                    <a:cubicBezTo>
                      <a:pt x="27254" y="0"/>
                      <a:pt x="34541" y="6923"/>
                      <a:pt x="34541" y="16979"/>
                    </a:cubicBezTo>
                    <a:cubicBezTo>
                      <a:pt x="34541" y="27036"/>
                      <a:pt x="27254" y="33813"/>
                      <a:pt x="17198" y="33813"/>
                    </a:cubicBezTo>
                    <a:cubicBezTo>
                      <a:pt x="7141" y="33813"/>
                      <a:pt x="0" y="26963"/>
                      <a:pt x="0" y="16979"/>
                    </a:cubicBezTo>
                    <a:cubicBezTo>
                      <a:pt x="0" y="6996"/>
                      <a:pt x="7141" y="0"/>
                      <a:pt x="17198" y="0"/>
                    </a:cubicBezTo>
                    <a:close/>
                    <a:moveTo>
                      <a:pt x="2842" y="51739"/>
                    </a:moveTo>
                    <a:lnTo>
                      <a:pt x="31626" y="51739"/>
                    </a:lnTo>
                    <a:lnTo>
                      <a:pt x="31626" y="176277"/>
                    </a:lnTo>
                    <a:lnTo>
                      <a:pt x="2842" y="176277"/>
                    </a:lnTo>
                    <a:lnTo>
                      <a:pt x="2842" y="51739"/>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09" name="Freeform 162">
                <a:extLst>
                  <a:ext uri="{FF2B5EF4-FFF2-40B4-BE49-F238E27FC236}">
                    <a16:creationId xmlns:a16="http://schemas.microsoft.com/office/drawing/2014/main" id="{0EBD6F85-0F5F-FF0E-68B3-06A9E3A043A3}"/>
                  </a:ext>
                </a:extLst>
              </p:cNvPr>
              <p:cNvSpPr/>
              <p:nvPr/>
            </p:nvSpPr>
            <p:spPr>
              <a:xfrm>
                <a:off x="4954519" y="5449952"/>
                <a:ext cx="107923" cy="126942"/>
              </a:xfrm>
              <a:custGeom>
                <a:avLst/>
                <a:gdLst>
                  <a:gd name="connsiteX0" fmla="*/ 0 w 107923"/>
                  <a:gd name="connsiteY0" fmla="*/ 2405 h 126942"/>
                  <a:gd name="connsiteX1" fmla="*/ 27910 w 107923"/>
                  <a:gd name="connsiteY1" fmla="*/ 2405 h 126942"/>
                  <a:gd name="connsiteX2" fmla="*/ 27910 w 107923"/>
                  <a:gd name="connsiteY2" fmla="*/ 28566 h 126942"/>
                  <a:gd name="connsiteX3" fmla="*/ 28347 w 107923"/>
                  <a:gd name="connsiteY3" fmla="*/ 28566 h 126942"/>
                  <a:gd name="connsiteX4" fmla="*/ 69228 w 107923"/>
                  <a:gd name="connsiteY4" fmla="*/ 0 h 126942"/>
                  <a:gd name="connsiteX5" fmla="*/ 107923 w 107923"/>
                  <a:gd name="connsiteY5" fmla="*/ 44743 h 126942"/>
                  <a:gd name="connsiteX6" fmla="*/ 107923 w 107923"/>
                  <a:gd name="connsiteY6" fmla="*/ 126943 h 126942"/>
                  <a:gd name="connsiteX7" fmla="*/ 79139 w 107923"/>
                  <a:gd name="connsiteY7" fmla="*/ 126943 h 126942"/>
                  <a:gd name="connsiteX8" fmla="*/ 79139 w 107923"/>
                  <a:gd name="connsiteY8" fmla="*/ 51666 h 126942"/>
                  <a:gd name="connsiteX9" fmla="*/ 56621 w 107923"/>
                  <a:gd name="connsiteY9" fmla="*/ 24777 h 126942"/>
                  <a:gd name="connsiteX10" fmla="*/ 28857 w 107923"/>
                  <a:gd name="connsiteY10" fmla="*/ 57132 h 126942"/>
                  <a:gd name="connsiteX11" fmla="*/ 28857 w 107923"/>
                  <a:gd name="connsiteY11" fmla="*/ 126943 h 126942"/>
                  <a:gd name="connsiteX12" fmla="*/ 73 w 107923"/>
                  <a:gd name="connsiteY12" fmla="*/ 126943 h 126942"/>
                  <a:gd name="connsiteX13" fmla="*/ 73 w 107923"/>
                  <a:gd name="connsiteY13" fmla="*/ 2405 h 126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23" h="126942">
                    <a:moveTo>
                      <a:pt x="0" y="2405"/>
                    </a:moveTo>
                    <a:lnTo>
                      <a:pt x="27910" y="2405"/>
                    </a:lnTo>
                    <a:lnTo>
                      <a:pt x="27910" y="28566"/>
                    </a:lnTo>
                    <a:lnTo>
                      <a:pt x="28347" y="28566"/>
                    </a:lnTo>
                    <a:cubicBezTo>
                      <a:pt x="34031" y="14356"/>
                      <a:pt x="45399" y="0"/>
                      <a:pt x="69228" y="0"/>
                    </a:cubicBezTo>
                    <a:cubicBezTo>
                      <a:pt x="95972" y="0"/>
                      <a:pt x="107923" y="18218"/>
                      <a:pt x="107923" y="44743"/>
                    </a:cubicBezTo>
                    <a:lnTo>
                      <a:pt x="107923" y="126943"/>
                    </a:lnTo>
                    <a:lnTo>
                      <a:pt x="79139" y="126943"/>
                    </a:lnTo>
                    <a:lnTo>
                      <a:pt x="79139" y="51666"/>
                    </a:lnTo>
                    <a:cubicBezTo>
                      <a:pt x="79139" y="34905"/>
                      <a:pt x="73309" y="24777"/>
                      <a:pt x="56621" y="24777"/>
                    </a:cubicBezTo>
                    <a:cubicBezTo>
                      <a:pt x="39934" y="24777"/>
                      <a:pt x="28857" y="36145"/>
                      <a:pt x="28857" y="57132"/>
                    </a:cubicBezTo>
                    <a:lnTo>
                      <a:pt x="28857" y="126943"/>
                    </a:lnTo>
                    <a:lnTo>
                      <a:pt x="73" y="126943"/>
                    </a:lnTo>
                    <a:lnTo>
                      <a:pt x="73" y="2405"/>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10" name="Freeform 163">
                <a:extLst>
                  <a:ext uri="{FF2B5EF4-FFF2-40B4-BE49-F238E27FC236}">
                    <a16:creationId xmlns:a16="http://schemas.microsoft.com/office/drawing/2014/main" id="{82B5490C-43C7-D240-B23A-75D88EB13C8B}"/>
                  </a:ext>
                </a:extLst>
              </p:cNvPr>
              <p:cNvSpPr/>
              <p:nvPr/>
            </p:nvSpPr>
            <p:spPr>
              <a:xfrm>
                <a:off x="5088531" y="5449879"/>
                <a:ext cx="118999" cy="129201"/>
              </a:xfrm>
              <a:custGeom>
                <a:avLst/>
                <a:gdLst>
                  <a:gd name="connsiteX0" fmla="*/ 0 w 118999"/>
                  <a:gd name="connsiteY0" fmla="*/ 64710 h 129201"/>
                  <a:gd name="connsiteX1" fmla="*/ 62524 w 118999"/>
                  <a:gd name="connsiteY1" fmla="*/ 0 h 129201"/>
                  <a:gd name="connsiteX2" fmla="*/ 119000 w 118999"/>
                  <a:gd name="connsiteY2" fmla="*/ 60775 h 129201"/>
                  <a:gd name="connsiteX3" fmla="*/ 118562 w 118999"/>
                  <a:gd name="connsiteY3" fmla="*/ 71706 h 129201"/>
                  <a:gd name="connsiteX4" fmla="*/ 30460 w 118999"/>
                  <a:gd name="connsiteY4" fmla="*/ 71706 h 129201"/>
                  <a:gd name="connsiteX5" fmla="*/ 66459 w 118999"/>
                  <a:gd name="connsiteY5" fmla="*/ 106685 h 129201"/>
                  <a:gd name="connsiteX6" fmla="*/ 98231 w 118999"/>
                  <a:gd name="connsiteY6" fmla="*/ 92766 h 129201"/>
                  <a:gd name="connsiteX7" fmla="*/ 114992 w 118999"/>
                  <a:gd name="connsiteY7" fmla="*/ 109527 h 129201"/>
                  <a:gd name="connsiteX8" fmla="*/ 65147 w 118999"/>
                  <a:gd name="connsiteY8" fmla="*/ 129202 h 129201"/>
                  <a:gd name="connsiteX9" fmla="*/ 146 w 118999"/>
                  <a:gd name="connsiteY9" fmla="*/ 64637 h 129201"/>
                  <a:gd name="connsiteX10" fmla="*/ 90288 w 118999"/>
                  <a:gd name="connsiteY10" fmla="*/ 53925 h 129201"/>
                  <a:gd name="connsiteX11" fmla="*/ 61795 w 118999"/>
                  <a:gd name="connsiteY11" fmla="*/ 22299 h 129201"/>
                  <a:gd name="connsiteX12" fmla="*/ 30825 w 118999"/>
                  <a:gd name="connsiteY12" fmla="*/ 53925 h 129201"/>
                  <a:gd name="connsiteX13" fmla="*/ 90288 w 118999"/>
                  <a:gd name="connsiteY13" fmla="*/ 53925 h 1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999" h="129201">
                    <a:moveTo>
                      <a:pt x="0" y="64710"/>
                    </a:moveTo>
                    <a:cubicBezTo>
                      <a:pt x="0" y="21351"/>
                      <a:pt x="28566" y="0"/>
                      <a:pt x="62524" y="0"/>
                    </a:cubicBezTo>
                    <a:cubicBezTo>
                      <a:pt x="104207" y="0"/>
                      <a:pt x="119000" y="30533"/>
                      <a:pt x="119000" y="60775"/>
                    </a:cubicBezTo>
                    <a:cubicBezTo>
                      <a:pt x="119000" y="64419"/>
                      <a:pt x="118781" y="68208"/>
                      <a:pt x="118562" y="71706"/>
                    </a:cubicBezTo>
                    <a:lnTo>
                      <a:pt x="30460" y="71706"/>
                    </a:lnTo>
                    <a:cubicBezTo>
                      <a:pt x="32501" y="95389"/>
                      <a:pt x="44816" y="106685"/>
                      <a:pt x="66459" y="106685"/>
                    </a:cubicBezTo>
                    <a:cubicBezTo>
                      <a:pt x="80451" y="106685"/>
                      <a:pt x="89778" y="102604"/>
                      <a:pt x="98231" y="92766"/>
                    </a:cubicBezTo>
                    <a:lnTo>
                      <a:pt x="114992" y="109527"/>
                    </a:lnTo>
                    <a:cubicBezTo>
                      <a:pt x="103405" y="122643"/>
                      <a:pt x="89122" y="129202"/>
                      <a:pt x="65147" y="129202"/>
                    </a:cubicBezTo>
                    <a:cubicBezTo>
                      <a:pt x="25214" y="129202"/>
                      <a:pt x="146" y="106320"/>
                      <a:pt x="146" y="64637"/>
                    </a:cubicBezTo>
                    <a:close/>
                    <a:moveTo>
                      <a:pt x="90288" y="53925"/>
                    </a:moveTo>
                    <a:cubicBezTo>
                      <a:pt x="88685" y="31918"/>
                      <a:pt x="77973" y="22299"/>
                      <a:pt x="61795" y="22299"/>
                    </a:cubicBezTo>
                    <a:cubicBezTo>
                      <a:pt x="45618" y="22299"/>
                      <a:pt x="33667" y="31991"/>
                      <a:pt x="30825" y="53925"/>
                    </a:cubicBezTo>
                    <a:lnTo>
                      <a:pt x="90288" y="53925"/>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11" name="Freeform 164">
                <a:extLst>
                  <a:ext uri="{FF2B5EF4-FFF2-40B4-BE49-F238E27FC236}">
                    <a16:creationId xmlns:a16="http://schemas.microsoft.com/office/drawing/2014/main" id="{AC77347C-C65E-8844-0534-5874762523EE}"/>
                  </a:ext>
                </a:extLst>
              </p:cNvPr>
              <p:cNvSpPr/>
              <p:nvPr/>
            </p:nvSpPr>
            <p:spPr>
              <a:xfrm>
                <a:off x="5222834" y="5449879"/>
                <a:ext cx="101583" cy="129201"/>
              </a:xfrm>
              <a:custGeom>
                <a:avLst/>
                <a:gdLst>
                  <a:gd name="connsiteX0" fmla="*/ 145 w 101583"/>
                  <a:gd name="connsiteY0" fmla="*/ 110037 h 129201"/>
                  <a:gd name="connsiteX1" fmla="*/ 17489 w 101583"/>
                  <a:gd name="connsiteY1" fmla="*/ 92693 h 129201"/>
                  <a:gd name="connsiteX2" fmla="*/ 51156 w 101583"/>
                  <a:gd name="connsiteY2" fmla="*/ 107049 h 129201"/>
                  <a:gd name="connsiteX3" fmla="*/ 73673 w 101583"/>
                  <a:gd name="connsiteY3" fmla="*/ 93130 h 129201"/>
                  <a:gd name="connsiteX4" fmla="*/ 45180 w 101583"/>
                  <a:gd name="connsiteY4" fmla="*/ 74111 h 129201"/>
                  <a:gd name="connsiteX5" fmla="*/ 5903 w 101583"/>
                  <a:gd name="connsiteY5" fmla="*/ 36436 h 129201"/>
                  <a:gd name="connsiteX6" fmla="*/ 53123 w 101583"/>
                  <a:gd name="connsiteY6" fmla="*/ 0 h 129201"/>
                  <a:gd name="connsiteX7" fmla="*/ 99324 w 101583"/>
                  <a:gd name="connsiteY7" fmla="*/ 16979 h 129201"/>
                  <a:gd name="connsiteX8" fmla="*/ 82491 w 101583"/>
                  <a:gd name="connsiteY8" fmla="*/ 33813 h 129201"/>
                  <a:gd name="connsiteX9" fmla="*/ 53561 w 101583"/>
                  <a:gd name="connsiteY9" fmla="*/ 22007 h 129201"/>
                  <a:gd name="connsiteX10" fmla="*/ 33740 w 101583"/>
                  <a:gd name="connsiteY10" fmla="*/ 35197 h 129201"/>
                  <a:gd name="connsiteX11" fmla="*/ 60702 w 101583"/>
                  <a:gd name="connsiteY11" fmla="*/ 51812 h 129201"/>
                  <a:gd name="connsiteX12" fmla="*/ 101583 w 101583"/>
                  <a:gd name="connsiteY12" fmla="*/ 91090 h 129201"/>
                  <a:gd name="connsiteX13" fmla="*/ 51448 w 101583"/>
                  <a:gd name="connsiteY13" fmla="*/ 129202 h 129201"/>
                  <a:gd name="connsiteX14" fmla="*/ 0 w 101583"/>
                  <a:gd name="connsiteY14" fmla="*/ 109964 h 1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583" h="129201">
                    <a:moveTo>
                      <a:pt x="145" y="110037"/>
                    </a:moveTo>
                    <a:lnTo>
                      <a:pt x="17489" y="92693"/>
                    </a:lnTo>
                    <a:cubicBezTo>
                      <a:pt x="27399" y="103624"/>
                      <a:pt x="38112" y="107049"/>
                      <a:pt x="51156" y="107049"/>
                    </a:cubicBezTo>
                    <a:cubicBezTo>
                      <a:pt x="64200" y="107049"/>
                      <a:pt x="73673" y="103405"/>
                      <a:pt x="73673" y="93130"/>
                    </a:cubicBezTo>
                    <a:cubicBezTo>
                      <a:pt x="73673" y="81835"/>
                      <a:pt x="63107" y="78774"/>
                      <a:pt x="45180" y="74111"/>
                    </a:cubicBezTo>
                    <a:cubicBezTo>
                      <a:pt x="25942" y="69082"/>
                      <a:pt x="5903" y="60994"/>
                      <a:pt x="5903" y="36436"/>
                    </a:cubicBezTo>
                    <a:cubicBezTo>
                      <a:pt x="5903" y="13336"/>
                      <a:pt x="23683" y="0"/>
                      <a:pt x="53123" y="0"/>
                    </a:cubicBezTo>
                    <a:cubicBezTo>
                      <a:pt x="72362" y="0"/>
                      <a:pt x="88175" y="5903"/>
                      <a:pt x="99324" y="16979"/>
                    </a:cubicBezTo>
                    <a:lnTo>
                      <a:pt x="82491" y="33813"/>
                    </a:lnTo>
                    <a:cubicBezTo>
                      <a:pt x="74038" y="25141"/>
                      <a:pt x="63690" y="22007"/>
                      <a:pt x="53561" y="22007"/>
                    </a:cubicBezTo>
                    <a:cubicBezTo>
                      <a:pt x="41610" y="22007"/>
                      <a:pt x="33740" y="26088"/>
                      <a:pt x="33740" y="35197"/>
                    </a:cubicBezTo>
                    <a:cubicBezTo>
                      <a:pt x="33740" y="44306"/>
                      <a:pt x="43869" y="47367"/>
                      <a:pt x="60702" y="51812"/>
                    </a:cubicBezTo>
                    <a:cubicBezTo>
                      <a:pt x="80377" y="56840"/>
                      <a:pt x="101583" y="63617"/>
                      <a:pt x="101583" y="91090"/>
                    </a:cubicBezTo>
                    <a:cubicBezTo>
                      <a:pt x="101583" y="115210"/>
                      <a:pt x="82126" y="129202"/>
                      <a:pt x="51448" y="129202"/>
                    </a:cubicBezTo>
                    <a:cubicBezTo>
                      <a:pt x="29731" y="129202"/>
                      <a:pt x="12024" y="123081"/>
                      <a:pt x="0" y="109964"/>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12" name="Freeform 165">
                <a:extLst>
                  <a:ext uri="{FF2B5EF4-FFF2-40B4-BE49-F238E27FC236}">
                    <a16:creationId xmlns:a16="http://schemas.microsoft.com/office/drawing/2014/main" id="{07059EF6-26C8-8B80-50A0-DCD4700C245F}"/>
                  </a:ext>
                </a:extLst>
              </p:cNvPr>
              <p:cNvSpPr/>
              <p:nvPr/>
            </p:nvSpPr>
            <p:spPr>
              <a:xfrm>
                <a:off x="5339501" y="5449879"/>
                <a:ext cx="101583" cy="129201"/>
              </a:xfrm>
              <a:custGeom>
                <a:avLst/>
                <a:gdLst>
                  <a:gd name="connsiteX0" fmla="*/ 146 w 101583"/>
                  <a:gd name="connsiteY0" fmla="*/ 110037 h 129201"/>
                  <a:gd name="connsiteX1" fmla="*/ 17489 w 101583"/>
                  <a:gd name="connsiteY1" fmla="*/ 92693 h 129201"/>
                  <a:gd name="connsiteX2" fmla="*/ 51156 w 101583"/>
                  <a:gd name="connsiteY2" fmla="*/ 107049 h 129201"/>
                  <a:gd name="connsiteX3" fmla="*/ 73674 w 101583"/>
                  <a:gd name="connsiteY3" fmla="*/ 93130 h 129201"/>
                  <a:gd name="connsiteX4" fmla="*/ 45181 w 101583"/>
                  <a:gd name="connsiteY4" fmla="*/ 74111 h 129201"/>
                  <a:gd name="connsiteX5" fmla="*/ 5903 w 101583"/>
                  <a:gd name="connsiteY5" fmla="*/ 36436 h 129201"/>
                  <a:gd name="connsiteX6" fmla="*/ 53124 w 101583"/>
                  <a:gd name="connsiteY6" fmla="*/ 0 h 129201"/>
                  <a:gd name="connsiteX7" fmla="*/ 99324 w 101583"/>
                  <a:gd name="connsiteY7" fmla="*/ 16979 h 129201"/>
                  <a:gd name="connsiteX8" fmla="*/ 82491 w 101583"/>
                  <a:gd name="connsiteY8" fmla="*/ 33813 h 129201"/>
                  <a:gd name="connsiteX9" fmla="*/ 53561 w 101583"/>
                  <a:gd name="connsiteY9" fmla="*/ 22007 h 129201"/>
                  <a:gd name="connsiteX10" fmla="*/ 33740 w 101583"/>
                  <a:gd name="connsiteY10" fmla="*/ 35197 h 129201"/>
                  <a:gd name="connsiteX11" fmla="*/ 60702 w 101583"/>
                  <a:gd name="connsiteY11" fmla="*/ 51812 h 129201"/>
                  <a:gd name="connsiteX12" fmla="*/ 101583 w 101583"/>
                  <a:gd name="connsiteY12" fmla="*/ 91090 h 129201"/>
                  <a:gd name="connsiteX13" fmla="*/ 51448 w 101583"/>
                  <a:gd name="connsiteY13" fmla="*/ 129202 h 129201"/>
                  <a:gd name="connsiteX14" fmla="*/ 0 w 101583"/>
                  <a:gd name="connsiteY14" fmla="*/ 109964 h 1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583" h="129201">
                    <a:moveTo>
                      <a:pt x="146" y="110037"/>
                    </a:moveTo>
                    <a:lnTo>
                      <a:pt x="17489" y="92693"/>
                    </a:lnTo>
                    <a:cubicBezTo>
                      <a:pt x="27400" y="103624"/>
                      <a:pt x="38112" y="107049"/>
                      <a:pt x="51156" y="107049"/>
                    </a:cubicBezTo>
                    <a:cubicBezTo>
                      <a:pt x="64201" y="107049"/>
                      <a:pt x="73674" y="103405"/>
                      <a:pt x="73674" y="93130"/>
                    </a:cubicBezTo>
                    <a:cubicBezTo>
                      <a:pt x="73674" y="81835"/>
                      <a:pt x="63107" y="78774"/>
                      <a:pt x="45181" y="74111"/>
                    </a:cubicBezTo>
                    <a:cubicBezTo>
                      <a:pt x="25943" y="69082"/>
                      <a:pt x="5903" y="60994"/>
                      <a:pt x="5903" y="36436"/>
                    </a:cubicBezTo>
                    <a:cubicBezTo>
                      <a:pt x="5903" y="13336"/>
                      <a:pt x="23683" y="0"/>
                      <a:pt x="53124" y="0"/>
                    </a:cubicBezTo>
                    <a:cubicBezTo>
                      <a:pt x="72362" y="0"/>
                      <a:pt x="88175" y="5903"/>
                      <a:pt x="99324" y="16979"/>
                    </a:cubicBezTo>
                    <a:lnTo>
                      <a:pt x="82491" y="33813"/>
                    </a:lnTo>
                    <a:cubicBezTo>
                      <a:pt x="74038" y="25141"/>
                      <a:pt x="63690" y="22007"/>
                      <a:pt x="53561" y="22007"/>
                    </a:cubicBezTo>
                    <a:cubicBezTo>
                      <a:pt x="41610" y="22007"/>
                      <a:pt x="33740" y="26088"/>
                      <a:pt x="33740" y="35197"/>
                    </a:cubicBezTo>
                    <a:cubicBezTo>
                      <a:pt x="33740" y="44306"/>
                      <a:pt x="43869" y="47367"/>
                      <a:pt x="60702" y="51812"/>
                    </a:cubicBezTo>
                    <a:cubicBezTo>
                      <a:pt x="80378" y="56840"/>
                      <a:pt x="101583" y="63617"/>
                      <a:pt x="101583" y="91090"/>
                    </a:cubicBezTo>
                    <a:cubicBezTo>
                      <a:pt x="101583" y="115210"/>
                      <a:pt x="82127" y="129202"/>
                      <a:pt x="51448" y="129202"/>
                    </a:cubicBezTo>
                    <a:cubicBezTo>
                      <a:pt x="29732" y="129202"/>
                      <a:pt x="12024" y="123081"/>
                      <a:pt x="0" y="109964"/>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13" name="Freeform 166">
                <a:extLst>
                  <a:ext uri="{FF2B5EF4-FFF2-40B4-BE49-F238E27FC236}">
                    <a16:creationId xmlns:a16="http://schemas.microsoft.com/office/drawing/2014/main" id="{D7060293-8948-D8EE-6124-7202BD83CEC3}"/>
                  </a:ext>
                </a:extLst>
              </p:cNvPr>
              <p:cNvSpPr/>
              <p:nvPr/>
            </p:nvSpPr>
            <p:spPr>
              <a:xfrm>
                <a:off x="5509001" y="5416503"/>
                <a:ext cx="128400" cy="160463"/>
              </a:xfrm>
              <a:custGeom>
                <a:avLst/>
                <a:gdLst>
                  <a:gd name="connsiteX0" fmla="*/ 49043 w 128400"/>
                  <a:gd name="connsiteY0" fmla="*/ 26525 h 160463"/>
                  <a:gd name="connsiteX1" fmla="*/ 0 w 128400"/>
                  <a:gd name="connsiteY1" fmla="*/ 26525 h 160463"/>
                  <a:gd name="connsiteX2" fmla="*/ 0 w 128400"/>
                  <a:gd name="connsiteY2" fmla="*/ 0 h 160463"/>
                  <a:gd name="connsiteX3" fmla="*/ 128400 w 128400"/>
                  <a:gd name="connsiteY3" fmla="*/ 0 h 160463"/>
                  <a:gd name="connsiteX4" fmla="*/ 128400 w 128400"/>
                  <a:gd name="connsiteY4" fmla="*/ 26525 h 160463"/>
                  <a:gd name="connsiteX5" fmla="*/ 79431 w 128400"/>
                  <a:gd name="connsiteY5" fmla="*/ 26525 h 160463"/>
                  <a:gd name="connsiteX6" fmla="*/ 79431 w 128400"/>
                  <a:gd name="connsiteY6" fmla="*/ 160464 h 160463"/>
                  <a:gd name="connsiteX7" fmla="*/ 49043 w 128400"/>
                  <a:gd name="connsiteY7" fmla="*/ 160464 h 160463"/>
                  <a:gd name="connsiteX8" fmla="*/ 49043 w 128400"/>
                  <a:gd name="connsiteY8" fmla="*/ 26525 h 16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400" h="160463">
                    <a:moveTo>
                      <a:pt x="49043" y="26525"/>
                    </a:moveTo>
                    <a:lnTo>
                      <a:pt x="0" y="26525"/>
                    </a:lnTo>
                    <a:lnTo>
                      <a:pt x="0" y="0"/>
                    </a:lnTo>
                    <a:lnTo>
                      <a:pt x="128400" y="0"/>
                    </a:lnTo>
                    <a:lnTo>
                      <a:pt x="128400" y="26525"/>
                    </a:lnTo>
                    <a:lnTo>
                      <a:pt x="79431" y="26525"/>
                    </a:lnTo>
                    <a:lnTo>
                      <a:pt x="79431" y="160464"/>
                    </a:lnTo>
                    <a:lnTo>
                      <a:pt x="49043" y="160464"/>
                    </a:lnTo>
                    <a:lnTo>
                      <a:pt x="49043" y="26525"/>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14" name="Freeform 167">
                <a:extLst>
                  <a:ext uri="{FF2B5EF4-FFF2-40B4-BE49-F238E27FC236}">
                    <a16:creationId xmlns:a16="http://schemas.microsoft.com/office/drawing/2014/main" id="{378BD375-9F66-0F1A-1CBD-681D9EAE7209}"/>
                  </a:ext>
                </a:extLst>
              </p:cNvPr>
              <p:cNvSpPr/>
              <p:nvPr/>
            </p:nvSpPr>
            <p:spPr>
              <a:xfrm>
                <a:off x="5628074" y="5449879"/>
                <a:ext cx="118999" cy="129201"/>
              </a:xfrm>
              <a:custGeom>
                <a:avLst/>
                <a:gdLst>
                  <a:gd name="connsiteX0" fmla="*/ 0 w 118999"/>
                  <a:gd name="connsiteY0" fmla="*/ 64710 h 129201"/>
                  <a:gd name="connsiteX1" fmla="*/ 62524 w 118999"/>
                  <a:gd name="connsiteY1" fmla="*/ 0 h 129201"/>
                  <a:gd name="connsiteX2" fmla="*/ 119000 w 118999"/>
                  <a:gd name="connsiteY2" fmla="*/ 60775 h 129201"/>
                  <a:gd name="connsiteX3" fmla="*/ 118563 w 118999"/>
                  <a:gd name="connsiteY3" fmla="*/ 71706 h 129201"/>
                  <a:gd name="connsiteX4" fmla="*/ 30460 w 118999"/>
                  <a:gd name="connsiteY4" fmla="*/ 71706 h 129201"/>
                  <a:gd name="connsiteX5" fmla="*/ 66459 w 118999"/>
                  <a:gd name="connsiteY5" fmla="*/ 106685 h 129201"/>
                  <a:gd name="connsiteX6" fmla="*/ 98231 w 118999"/>
                  <a:gd name="connsiteY6" fmla="*/ 92766 h 129201"/>
                  <a:gd name="connsiteX7" fmla="*/ 114992 w 118999"/>
                  <a:gd name="connsiteY7" fmla="*/ 109527 h 129201"/>
                  <a:gd name="connsiteX8" fmla="*/ 65147 w 118999"/>
                  <a:gd name="connsiteY8" fmla="*/ 129202 h 129201"/>
                  <a:gd name="connsiteX9" fmla="*/ 146 w 118999"/>
                  <a:gd name="connsiteY9" fmla="*/ 64637 h 129201"/>
                  <a:gd name="connsiteX10" fmla="*/ 90288 w 118999"/>
                  <a:gd name="connsiteY10" fmla="*/ 53925 h 129201"/>
                  <a:gd name="connsiteX11" fmla="*/ 61795 w 118999"/>
                  <a:gd name="connsiteY11" fmla="*/ 22299 h 129201"/>
                  <a:gd name="connsiteX12" fmla="*/ 30825 w 118999"/>
                  <a:gd name="connsiteY12" fmla="*/ 53925 h 129201"/>
                  <a:gd name="connsiteX13" fmla="*/ 90288 w 118999"/>
                  <a:gd name="connsiteY13" fmla="*/ 53925 h 1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999" h="129201">
                    <a:moveTo>
                      <a:pt x="0" y="64710"/>
                    </a:moveTo>
                    <a:cubicBezTo>
                      <a:pt x="0" y="21351"/>
                      <a:pt x="28566" y="0"/>
                      <a:pt x="62524" y="0"/>
                    </a:cubicBezTo>
                    <a:cubicBezTo>
                      <a:pt x="104207" y="0"/>
                      <a:pt x="119000" y="30533"/>
                      <a:pt x="119000" y="60775"/>
                    </a:cubicBezTo>
                    <a:cubicBezTo>
                      <a:pt x="119000" y="64419"/>
                      <a:pt x="118781" y="68208"/>
                      <a:pt x="118563" y="71706"/>
                    </a:cubicBezTo>
                    <a:lnTo>
                      <a:pt x="30460" y="71706"/>
                    </a:lnTo>
                    <a:cubicBezTo>
                      <a:pt x="32501" y="95389"/>
                      <a:pt x="44816" y="106685"/>
                      <a:pt x="66459" y="106685"/>
                    </a:cubicBezTo>
                    <a:cubicBezTo>
                      <a:pt x="80450" y="106685"/>
                      <a:pt x="89778" y="102604"/>
                      <a:pt x="98231" y="92766"/>
                    </a:cubicBezTo>
                    <a:lnTo>
                      <a:pt x="114992" y="109527"/>
                    </a:lnTo>
                    <a:cubicBezTo>
                      <a:pt x="103405" y="122643"/>
                      <a:pt x="89122" y="129202"/>
                      <a:pt x="65147" y="129202"/>
                    </a:cubicBezTo>
                    <a:cubicBezTo>
                      <a:pt x="25214" y="129202"/>
                      <a:pt x="146" y="106320"/>
                      <a:pt x="146" y="64637"/>
                    </a:cubicBezTo>
                    <a:close/>
                    <a:moveTo>
                      <a:pt x="90288" y="53925"/>
                    </a:moveTo>
                    <a:cubicBezTo>
                      <a:pt x="88685" y="31918"/>
                      <a:pt x="77973" y="22299"/>
                      <a:pt x="61795" y="22299"/>
                    </a:cubicBezTo>
                    <a:cubicBezTo>
                      <a:pt x="45618" y="22299"/>
                      <a:pt x="33667" y="31991"/>
                      <a:pt x="30825" y="53925"/>
                    </a:cubicBezTo>
                    <a:lnTo>
                      <a:pt x="90288" y="53925"/>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15" name="Freeform 168">
                <a:extLst>
                  <a:ext uri="{FF2B5EF4-FFF2-40B4-BE49-F238E27FC236}">
                    <a16:creationId xmlns:a16="http://schemas.microsoft.com/office/drawing/2014/main" id="{A9855179-D78F-1978-3EC1-7B0B0A3C008F}"/>
                  </a:ext>
                </a:extLst>
              </p:cNvPr>
              <p:cNvSpPr/>
              <p:nvPr/>
            </p:nvSpPr>
            <p:spPr>
              <a:xfrm>
                <a:off x="5765583" y="5449879"/>
                <a:ext cx="112514" cy="129201"/>
              </a:xfrm>
              <a:custGeom>
                <a:avLst/>
                <a:gdLst>
                  <a:gd name="connsiteX0" fmla="*/ 0 w 112514"/>
                  <a:gd name="connsiteY0" fmla="*/ 64710 h 129201"/>
                  <a:gd name="connsiteX1" fmla="*/ 62743 w 112514"/>
                  <a:gd name="connsiteY1" fmla="*/ 0 h 129201"/>
                  <a:gd name="connsiteX2" fmla="*/ 112514 w 112514"/>
                  <a:gd name="connsiteY2" fmla="*/ 22736 h 129201"/>
                  <a:gd name="connsiteX3" fmla="*/ 94077 w 112514"/>
                  <a:gd name="connsiteY3" fmla="*/ 38987 h 129201"/>
                  <a:gd name="connsiteX4" fmla="*/ 64054 w 112514"/>
                  <a:gd name="connsiteY4" fmla="*/ 23392 h 129201"/>
                  <a:gd name="connsiteX5" fmla="*/ 30242 w 112514"/>
                  <a:gd name="connsiteY5" fmla="*/ 64637 h 129201"/>
                  <a:gd name="connsiteX6" fmla="*/ 64054 w 112514"/>
                  <a:gd name="connsiteY6" fmla="*/ 105883 h 129201"/>
                  <a:gd name="connsiteX7" fmla="*/ 94077 w 112514"/>
                  <a:gd name="connsiteY7" fmla="*/ 90142 h 129201"/>
                  <a:gd name="connsiteX8" fmla="*/ 112514 w 112514"/>
                  <a:gd name="connsiteY8" fmla="*/ 106539 h 129201"/>
                  <a:gd name="connsiteX9" fmla="*/ 62743 w 112514"/>
                  <a:gd name="connsiteY9" fmla="*/ 129202 h 129201"/>
                  <a:gd name="connsiteX10" fmla="*/ 0 w 112514"/>
                  <a:gd name="connsiteY10" fmla="*/ 64637 h 12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514" h="129201">
                    <a:moveTo>
                      <a:pt x="0" y="64710"/>
                    </a:moveTo>
                    <a:cubicBezTo>
                      <a:pt x="0" y="23246"/>
                      <a:pt x="25942" y="0"/>
                      <a:pt x="62743" y="0"/>
                    </a:cubicBezTo>
                    <a:cubicBezTo>
                      <a:pt x="86280" y="0"/>
                      <a:pt x="102604" y="9328"/>
                      <a:pt x="112514" y="22736"/>
                    </a:cubicBezTo>
                    <a:lnTo>
                      <a:pt x="94077" y="38987"/>
                    </a:lnTo>
                    <a:cubicBezTo>
                      <a:pt x="86936" y="28930"/>
                      <a:pt x="77317" y="23392"/>
                      <a:pt x="64054" y="23392"/>
                    </a:cubicBezTo>
                    <a:cubicBezTo>
                      <a:pt x="43869" y="23392"/>
                      <a:pt x="30242" y="37092"/>
                      <a:pt x="30242" y="64637"/>
                    </a:cubicBezTo>
                    <a:cubicBezTo>
                      <a:pt x="30242" y="92183"/>
                      <a:pt x="43942" y="105883"/>
                      <a:pt x="64054" y="105883"/>
                    </a:cubicBezTo>
                    <a:cubicBezTo>
                      <a:pt x="77244" y="105883"/>
                      <a:pt x="86790" y="100199"/>
                      <a:pt x="94077" y="90142"/>
                    </a:cubicBezTo>
                    <a:lnTo>
                      <a:pt x="112514" y="106539"/>
                    </a:lnTo>
                    <a:cubicBezTo>
                      <a:pt x="102604" y="119947"/>
                      <a:pt x="86353" y="129202"/>
                      <a:pt x="62743" y="129202"/>
                    </a:cubicBezTo>
                    <a:cubicBezTo>
                      <a:pt x="25942" y="129202"/>
                      <a:pt x="0" y="105956"/>
                      <a:pt x="0" y="64637"/>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16" name="Freeform 169">
                <a:extLst>
                  <a:ext uri="{FF2B5EF4-FFF2-40B4-BE49-F238E27FC236}">
                    <a16:creationId xmlns:a16="http://schemas.microsoft.com/office/drawing/2014/main" id="{92BAC4CB-EBD5-9EEC-4BAF-4D6D2210B967}"/>
                  </a:ext>
                </a:extLst>
              </p:cNvPr>
              <p:cNvSpPr/>
              <p:nvPr/>
            </p:nvSpPr>
            <p:spPr>
              <a:xfrm>
                <a:off x="5899376" y="5407103"/>
                <a:ext cx="107923" cy="169791"/>
              </a:xfrm>
              <a:custGeom>
                <a:avLst/>
                <a:gdLst>
                  <a:gd name="connsiteX0" fmla="*/ 0 w 107923"/>
                  <a:gd name="connsiteY0" fmla="*/ 0 h 169791"/>
                  <a:gd name="connsiteX1" fmla="*/ 28784 w 107923"/>
                  <a:gd name="connsiteY1" fmla="*/ 0 h 169791"/>
                  <a:gd name="connsiteX2" fmla="*/ 28784 w 107923"/>
                  <a:gd name="connsiteY2" fmla="*/ 71414 h 169791"/>
                  <a:gd name="connsiteX3" fmla="*/ 29368 w 107923"/>
                  <a:gd name="connsiteY3" fmla="*/ 71414 h 169791"/>
                  <a:gd name="connsiteX4" fmla="*/ 69228 w 107923"/>
                  <a:gd name="connsiteY4" fmla="*/ 42849 h 169791"/>
                  <a:gd name="connsiteX5" fmla="*/ 107923 w 107923"/>
                  <a:gd name="connsiteY5" fmla="*/ 87592 h 169791"/>
                  <a:gd name="connsiteX6" fmla="*/ 107923 w 107923"/>
                  <a:gd name="connsiteY6" fmla="*/ 169791 h 169791"/>
                  <a:gd name="connsiteX7" fmla="*/ 79139 w 107923"/>
                  <a:gd name="connsiteY7" fmla="*/ 169791 h 169791"/>
                  <a:gd name="connsiteX8" fmla="*/ 79139 w 107923"/>
                  <a:gd name="connsiteY8" fmla="*/ 94515 h 169791"/>
                  <a:gd name="connsiteX9" fmla="*/ 56622 w 107923"/>
                  <a:gd name="connsiteY9" fmla="*/ 67625 h 169791"/>
                  <a:gd name="connsiteX10" fmla="*/ 28857 w 107923"/>
                  <a:gd name="connsiteY10" fmla="*/ 99980 h 169791"/>
                  <a:gd name="connsiteX11" fmla="*/ 28857 w 107923"/>
                  <a:gd name="connsiteY11" fmla="*/ 169791 h 169791"/>
                  <a:gd name="connsiteX12" fmla="*/ 73 w 107923"/>
                  <a:gd name="connsiteY12" fmla="*/ 169791 h 169791"/>
                  <a:gd name="connsiteX13" fmla="*/ 73 w 107923"/>
                  <a:gd name="connsiteY13" fmla="*/ 0 h 169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23" h="169791">
                    <a:moveTo>
                      <a:pt x="0" y="0"/>
                    </a:moveTo>
                    <a:lnTo>
                      <a:pt x="28784" y="0"/>
                    </a:lnTo>
                    <a:lnTo>
                      <a:pt x="28784" y="71414"/>
                    </a:lnTo>
                    <a:lnTo>
                      <a:pt x="29368" y="71414"/>
                    </a:lnTo>
                    <a:cubicBezTo>
                      <a:pt x="34250" y="56184"/>
                      <a:pt x="46201" y="42849"/>
                      <a:pt x="69228" y="42849"/>
                    </a:cubicBezTo>
                    <a:cubicBezTo>
                      <a:pt x="95972" y="42849"/>
                      <a:pt x="107923" y="61067"/>
                      <a:pt x="107923" y="87592"/>
                    </a:cubicBezTo>
                    <a:lnTo>
                      <a:pt x="107923" y="169791"/>
                    </a:lnTo>
                    <a:lnTo>
                      <a:pt x="79139" y="169791"/>
                    </a:lnTo>
                    <a:lnTo>
                      <a:pt x="79139" y="94515"/>
                    </a:lnTo>
                    <a:cubicBezTo>
                      <a:pt x="79139" y="77754"/>
                      <a:pt x="73309" y="67625"/>
                      <a:pt x="56622" y="67625"/>
                    </a:cubicBezTo>
                    <a:cubicBezTo>
                      <a:pt x="39934" y="67625"/>
                      <a:pt x="28857" y="78993"/>
                      <a:pt x="28857" y="99980"/>
                    </a:cubicBezTo>
                    <a:lnTo>
                      <a:pt x="28857" y="169791"/>
                    </a:lnTo>
                    <a:lnTo>
                      <a:pt x="73" y="169791"/>
                    </a:lnTo>
                    <a:lnTo>
                      <a:pt x="73" y="0"/>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17" name="Freeform 170">
                <a:extLst>
                  <a:ext uri="{FF2B5EF4-FFF2-40B4-BE49-F238E27FC236}">
                    <a16:creationId xmlns:a16="http://schemas.microsoft.com/office/drawing/2014/main" id="{71B377AF-EE13-C6F0-C28E-6E4455723CE0}"/>
                  </a:ext>
                </a:extLst>
              </p:cNvPr>
              <p:cNvSpPr/>
              <p:nvPr/>
            </p:nvSpPr>
            <p:spPr>
              <a:xfrm>
                <a:off x="6041258" y="5449952"/>
                <a:ext cx="107923" cy="126942"/>
              </a:xfrm>
              <a:custGeom>
                <a:avLst/>
                <a:gdLst>
                  <a:gd name="connsiteX0" fmla="*/ 0 w 107923"/>
                  <a:gd name="connsiteY0" fmla="*/ 2405 h 126942"/>
                  <a:gd name="connsiteX1" fmla="*/ 27910 w 107923"/>
                  <a:gd name="connsiteY1" fmla="*/ 2405 h 126942"/>
                  <a:gd name="connsiteX2" fmla="*/ 27910 w 107923"/>
                  <a:gd name="connsiteY2" fmla="*/ 28566 h 126942"/>
                  <a:gd name="connsiteX3" fmla="*/ 28347 w 107923"/>
                  <a:gd name="connsiteY3" fmla="*/ 28566 h 126942"/>
                  <a:gd name="connsiteX4" fmla="*/ 69228 w 107923"/>
                  <a:gd name="connsiteY4" fmla="*/ 0 h 126942"/>
                  <a:gd name="connsiteX5" fmla="*/ 107923 w 107923"/>
                  <a:gd name="connsiteY5" fmla="*/ 44743 h 126942"/>
                  <a:gd name="connsiteX6" fmla="*/ 107923 w 107923"/>
                  <a:gd name="connsiteY6" fmla="*/ 126943 h 126942"/>
                  <a:gd name="connsiteX7" fmla="*/ 79139 w 107923"/>
                  <a:gd name="connsiteY7" fmla="*/ 126943 h 126942"/>
                  <a:gd name="connsiteX8" fmla="*/ 79139 w 107923"/>
                  <a:gd name="connsiteY8" fmla="*/ 51666 h 126942"/>
                  <a:gd name="connsiteX9" fmla="*/ 56621 w 107923"/>
                  <a:gd name="connsiteY9" fmla="*/ 24777 h 126942"/>
                  <a:gd name="connsiteX10" fmla="*/ 28857 w 107923"/>
                  <a:gd name="connsiteY10" fmla="*/ 57132 h 126942"/>
                  <a:gd name="connsiteX11" fmla="*/ 28857 w 107923"/>
                  <a:gd name="connsiteY11" fmla="*/ 126943 h 126942"/>
                  <a:gd name="connsiteX12" fmla="*/ 73 w 107923"/>
                  <a:gd name="connsiteY12" fmla="*/ 126943 h 126942"/>
                  <a:gd name="connsiteX13" fmla="*/ 73 w 107923"/>
                  <a:gd name="connsiteY13" fmla="*/ 2405 h 126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23" h="126942">
                    <a:moveTo>
                      <a:pt x="0" y="2405"/>
                    </a:moveTo>
                    <a:lnTo>
                      <a:pt x="27910" y="2405"/>
                    </a:lnTo>
                    <a:lnTo>
                      <a:pt x="27910" y="28566"/>
                    </a:lnTo>
                    <a:lnTo>
                      <a:pt x="28347" y="28566"/>
                    </a:lnTo>
                    <a:cubicBezTo>
                      <a:pt x="34031" y="14356"/>
                      <a:pt x="45399" y="0"/>
                      <a:pt x="69228" y="0"/>
                    </a:cubicBezTo>
                    <a:cubicBezTo>
                      <a:pt x="95972" y="0"/>
                      <a:pt x="107923" y="18218"/>
                      <a:pt x="107923" y="44743"/>
                    </a:cubicBezTo>
                    <a:lnTo>
                      <a:pt x="107923" y="126943"/>
                    </a:lnTo>
                    <a:lnTo>
                      <a:pt x="79139" y="126943"/>
                    </a:lnTo>
                    <a:lnTo>
                      <a:pt x="79139" y="51666"/>
                    </a:lnTo>
                    <a:cubicBezTo>
                      <a:pt x="79139" y="34905"/>
                      <a:pt x="73309" y="24777"/>
                      <a:pt x="56621" y="24777"/>
                    </a:cubicBezTo>
                    <a:cubicBezTo>
                      <a:pt x="39934" y="24777"/>
                      <a:pt x="28857" y="36145"/>
                      <a:pt x="28857" y="57132"/>
                    </a:cubicBezTo>
                    <a:lnTo>
                      <a:pt x="28857" y="126943"/>
                    </a:lnTo>
                    <a:lnTo>
                      <a:pt x="73" y="126943"/>
                    </a:lnTo>
                    <a:lnTo>
                      <a:pt x="73" y="2405"/>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18" name="Freeform 171">
                <a:extLst>
                  <a:ext uri="{FF2B5EF4-FFF2-40B4-BE49-F238E27FC236}">
                    <a16:creationId xmlns:a16="http://schemas.microsoft.com/office/drawing/2014/main" id="{D794FF25-F794-76C7-4CA5-9D103E238D4E}"/>
                  </a:ext>
                </a:extLst>
              </p:cNvPr>
              <p:cNvSpPr/>
              <p:nvPr/>
            </p:nvSpPr>
            <p:spPr>
              <a:xfrm>
                <a:off x="6175269" y="5449879"/>
                <a:ext cx="126797" cy="129274"/>
              </a:xfrm>
              <a:custGeom>
                <a:avLst/>
                <a:gdLst>
                  <a:gd name="connsiteX0" fmla="*/ 0 w 126797"/>
                  <a:gd name="connsiteY0" fmla="*/ 64710 h 129274"/>
                  <a:gd name="connsiteX1" fmla="*/ 63399 w 126797"/>
                  <a:gd name="connsiteY1" fmla="*/ 0 h 129274"/>
                  <a:gd name="connsiteX2" fmla="*/ 126797 w 126797"/>
                  <a:gd name="connsiteY2" fmla="*/ 64710 h 129274"/>
                  <a:gd name="connsiteX3" fmla="*/ 63399 w 126797"/>
                  <a:gd name="connsiteY3" fmla="*/ 129275 h 129274"/>
                  <a:gd name="connsiteX4" fmla="*/ 0 w 126797"/>
                  <a:gd name="connsiteY4" fmla="*/ 64710 h 129274"/>
                  <a:gd name="connsiteX5" fmla="*/ 63399 w 126797"/>
                  <a:gd name="connsiteY5" fmla="*/ 105956 h 129274"/>
                  <a:gd name="connsiteX6" fmla="*/ 96628 w 126797"/>
                  <a:gd name="connsiteY6" fmla="*/ 64710 h 129274"/>
                  <a:gd name="connsiteX7" fmla="*/ 63399 w 126797"/>
                  <a:gd name="connsiteY7" fmla="*/ 23465 h 129274"/>
                  <a:gd name="connsiteX8" fmla="*/ 30169 w 126797"/>
                  <a:gd name="connsiteY8" fmla="*/ 64710 h 129274"/>
                  <a:gd name="connsiteX9" fmla="*/ 63399 w 126797"/>
                  <a:gd name="connsiteY9" fmla="*/ 105956 h 12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797" h="129274">
                    <a:moveTo>
                      <a:pt x="0" y="64710"/>
                    </a:moveTo>
                    <a:cubicBezTo>
                      <a:pt x="0" y="25432"/>
                      <a:pt x="26161" y="0"/>
                      <a:pt x="63399" y="0"/>
                    </a:cubicBezTo>
                    <a:cubicBezTo>
                      <a:pt x="100636" y="0"/>
                      <a:pt x="126797" y="25359"/>
                      <a:pt x="126797" y="64710"/>
                    </a:cubicBezTo>
                    <a:cubicBezTo>
                      <a:pt x="126797" y="104061"/>
                      <a:pt x="100636" y="129275"/>
                      <a:pt x="63399" y="129275"/>
                    </a:cubicBezTo>
                    <a:cubicBezTo>
                      <a:pt x="26161" y="129275"/>
                      <a:pt x="0" y="103988"/>
                      <a:pt x="0" y="64710"/>
                    </a:cubicBezTo>
                    <a:close/>
                    <a:moveTo>
                      <a:pt x="63399" y="105956"/>
                    </a:moveTo>
                    <a:cubicBezTo>
                      <a:pt x="82783" y="105956"/>
                      <a:pt x="96628" y="91527"/>
                      <a:pt x="96628" y="64710"/>
                    </a:cubicBezTo>
                    <a:cubicBezTo>
                      <a:pt x="96628" y="37893"/>
                      <a:pt x="82710" y="23465"/>
                      <a:pt x="63399" y="23465"/>
                    </a:cubicBezTo>
                    <a:cubicBezTo>
                      <a:pt x="44088" y="23465"/>
                      <a:pt x="30169" y="37821"/>
                      <a:pt x="30169" y="64710"/>
                    </a:cubicBezTo>
                    <a:cubicBezTo>
                      <a:pt x="30169" y="91600"/>
                      <a:pt x="44088" y="105956"/>
                      <a:pt x="63399" y="105956"/>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19" name="Freeform 172">
                <a:extLst>
                  <a:ext uri="{FF2B5EF4-FFF2-40B4-BE49-F238E27FC236}">
                    <a16:creationId xmlns:a16="http://schemas.microsoft.com/office/drawing/2014/main" id="{B88CD038-7F0C-65EA-3713-1B853844AA75}"/>
                  </a:ext>
                </a:extLst>
              </p:cNvPr>
              <p:cNvSpPr/>
              <p:nvPr/>
            </p:nvSpPr>
            <p:spPr>
              <a:xfrm>
                <a:off x="6328154" y="5407176"/>
                <a:ext cx="49406" cy="171904"/>
              </a:xfrm>
              <a:custGeom>
                <a:avLst/>
                <a:gdLst>
                  <a:gd name="connsiteX0" fmla="*/ 0 w 49406"/>
                  <a:gd name="connsiteY0" fmla="*/ 139112 h 171904"/>
                  <a:gd name="connsiteX1" fmla="*/ 0 w 49406"/>
                  <a:gd name="connsiteY1" fmla="*/ 0 h 171904"/>
                  <a:gd name="connsiteX2" fmla="*/ 28930 w 49406"/>
                  <a:gd name="connsiteY2" fmla="*/ 0 h 171904"/>
                  <a:gd name="connsiteX3" fmla="*/ 28930 w 49406"/>
                  <a:gd name="connsiteY3" fmla="*/ 134157 h 171904"/>
                  <a:gd name="connsiteX4" fmla="*/ 39496 w 49406"/>
                  <a:gd name="connsiteY4" fmla="*/ 147274 h 171904"/>
                  <a:gd name="connsiteX5" fmla="*/ 49407 w 49406"/>
                  <a:gd name="connsiteY5" fmla="*/ 146035 h 171904"/>
                  <a:gd name="connsiteX6" fmla="*/ 49407 w 49406"/>
                  <a:gd name="connsiteY6" fmla="*/ 169864 h 171904"/>
                  <a:gd name="connsiteX7" fmla="*/ 32428 w 49406"/>
                  <a:gd name="connsiteY7" fmla="*/ 171904 h 171904"/>
                  <a:gd name="connsiteX8" fmla="*/ 0 w 49406"/>
                  <a:gd name="connsiteY8" fmla="*/ 139258 h 1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06" h="171904">
                    <a:moveTo>
                      <a:pt x="0" y="139112"/>
                    </a:moveTo>
                    <a:lnTo>
                      <a:pt x="0" y="0"/>
                    </a:lnTo>
                    <a:lnTo>
                      <a:pt x="28930" y="0"/>
                    </a:lnTo>
                    <a:lnTo>
                      <a:pt x="28930" y="134157"/>
                    </a:lnTo>
                    <a:cubicBezTo>
                      <a:pt x="28930" y="143849"/>
                      <a:pt x="31189" y="147274"/>
                      <a:pt x="39496" y="147274"/>
                    </a:cubicBezTo>
                    <a:cubicBezTo>
                      <a:pt x="42994" y="147274"/>
                      <a:pt x="46128" y="146691"/>
                      <a:pt x="49407" y="146035"/>
                    </a:cubicBezTo>
                    <a:lnTo>
                      <a:pt x="49407" y="169864"/>
                    </a:lnTo>
                    <a:cubicBezTo>
                      <a:pt x="44889" y="171030"/>
                      <a:pt x="38695" y="171904"/>
                      <a:pt x="32428" y="171904"/>
                    </a:cubicBezTo>
                    <a:cubicBezTo>
                      <a:pt x="8963" y="171904"/>
                      <a:pt x="0" y="160755"/>
                      <a:pt x="0" y="139258"/>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20" name="Freeform 173">
                <a:extLst>
                  <a:ext uri="{FF2B5EF4-FFF2-40B4-BE49-F238E27FC236}">
                    <a16:creationId xmlns:a16="http://schemas.microsoft.com/office/drawing/2014/main" id="{3AE47456-9865-7454-2486-F7448F996A7F}"/>
                  </a:ext>
                </a:extLst>
              </p:cNvPr>
              <p:cNvSpPr/>
              <p:nvPr/>
            </p:nvSpPr>
            <p:spPr>
              <a:xfrm>
                <a:off x="6393447" y="5449879"/>
                <a:ext cx="126797" cy="129274"/>
              </a:xfrm>
              <a:custGeom>
                <a:avLst/>
                <a:gdLst>
                  <a:gd name="connsiteX0" fmla="*/ 0 w 126797"/>
                  <a:gd name="connsiteY0" fmla="*/ 64710 h 129274"/>
                  <a:gd name="connsiteX1" fmla="*/ 63399 w 126797"/>
                  <a:gd name="connsiteY1" fmla="*/ 0 h 129274"/>
                  <a:gd name="connsiteX2" fmla="*/ 126797 w 126797"/>
                  <a:gd name="connsiteY2" fmla="*/ 64710 h 129274"/>
                  <a:gd name="connsiteX3" fmla="*/ 63399 w 126797"/>
                  <a:gd name="connsiteY3" fmla="*/ 129275 h 129274"/>
                  <a:gd name="connsiteX4" fmla="*/ 0 w 126797"/>
                  <a:gd name="connsiteY4" fmla="*/ 64710 h 129274"/>
                  <a:gd name="connsiteX5" fmla="*/ 63399 w 126797"/>
                  <a:gd name="connsiteY5" fmla="*/ 105956 h 129274"/>
                  <a:gd name="connsiteX6" fmla="*/ 96628 w 126797"/>
                  <a:gd name="connsiteY6" fmla="*/ 64710 h 129274"/>
                  <a:gd name="connsiteX7" fmla="*/ 63399 w 126797"/>
                  <a:gd name="connsiteY7" fmla="*/ 23465 h 129274"/>
                  <a:gd name="connsiteX8" fmla="*/ 30169 w 126797"/>
                  <a:gd name="connsiteY8" fmla="*/ 64710 h 129274"/>
                  <a:gd name="connsiteX9" fmla="*/ 63399 w 126797"/>
                  <a:gd name="connsiteY9" fmla="*/ 105956 h 12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797" h="129274">
                    <a:moveTo>
                      <a:pt x="0" y="64710"/>
                    </a:moveTo>
                    <a:cubicBezTo>
                      <a:pt x="0" y="25432"/>
                      <a:pt x="26161" y="0"/>
                      <a:pt x="63399" y="0"/>
                    </a:cubicBezTo>
                    <a:cubicBezTo>
                      <a:pt x="100636" y="0"/>
                      <a:pt x="126797" y="25359"/>
                      <a:pt x="126797" y="64710"/>
                    </a:cubicBezTo>
                    <a:cubicBezTo>
                      <a:pt x="126797" y="104061"/>
                      <a:pt x="100636" y="129275"/>
                      <a:pt x="63399" y="129275"/>
                    </a:cubicBezTo>
                    <a:cubicBezTo>
                      <a:pt x="26161" y="129275"/>
                      <a:pt x="0" y="103988"/>
                      <a:pt x="0" y="64710"/>
                    </a:cubicBezTo>
                    <a:close/>
                    <a:moveTo>
                      <a:pt x="63399" y="105956"/>
                    </a:moveTo>
                    <a:cubicBezTo>
                      <a:pt x="82783" y="105956"/>
                      <a:pt x="96628" y="91527"/>
                      <a:pt x="96628" y="64710"/>
                    </a:cubicBezTo>
                    <a:cubicBezTo>
                      <a:pt x="96628" y="37893"/>
                      <a:pt x="82710" y="23465"/>
                      <a:pt x="63399" y="23465"/>
                    </a:cubicBezTo>
                    <a:cubicBezTo>
                      <a:pt x="44088" y="23465"/>
                      <a:pt x="30169" y="37821"/>
                      <a:pt x="30169" y="64710"/>
                    </a:cubicBezTo>
                    <a:cubicBezTo>
                      <a:pt x="30169" y="91600"/>
                      <a:pt x="44088" y="105956"/>
                      <a:pt x="63399" y="105956"/>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21" name="Freeform 174">
                <a:extLst>
                  <a:ext uri="{FF2B5EF4-FFF2-40B4-BE49-F238E27FC236}">
                    <a16:creationId xmlns:a16="http://schemas.microsoft.com/office/drawing/2014/main" id="{15807164-EB7E-E86E-F1B6-AB7F203124A1}"/>
                  </a:ext>
                </a:extLst>
              </p:cNvPr>
              <p:cNvSpPr/>
              <p:nvPr/>
            </p:nvSpPr>
            <p:spPr>
              <a:xfrm>
                <a:off x="6534746" y="5433118"/>
                <a:ext cx="120748" cy="194640"/>
              </a:xfrm>
              <a:custGeom>
                <a:avLst/>
                <a:gdLst>
                  <a:gd name="connsiteX0" fmla="*/ 0 w 120748"/>
                  <a:gd name="connsiteY0" fmla="*/ 163597 h 194640"/>
                  <a:gd name="connsiteX1" fmla="*/ 23028 w 120748"/>
                  <a:gd name="connsiteY1" fmla="*/ 137509 h 194640"/>
                  <a:gd name="connsiteX2" fmla="*/ 8599 w 120748"/>
                  <a:gd name="connsiteY2" fmla="*/ 119291 h 194640"/>
                  <a:gd name="connsiteX3" fmla="*/ 26963 w 120748"/>
                  <a:gd name="connsiteY3" fmla="*/ 96774 h 194640"/>
                  <a:gd name="connsiteX4" fmla="*/ 6340 w 120748"/>
                  <a:gd name="connsiteY4" fmla="*/ 60484 h 194640"/>
                  <a:gd name="connsiteX5" fmla="*/ 57205 w 120748"/>
                  <a:gd name="connsiteY5" fmla="*/ 16906 h 194640"/>
                  <a:gd name="connsiteX6" fmla="*/ 88029 w 120748"/>
                  <a:gd name="connsiteY6" fmla="*/ 23829 h 194640"/>
                  <a:gd name="connsiteX7" fmla="*/ 115939 w 120748"/>
                  <a:gd name="connsiteY7" fmla="*/ 0 h 194640"/>
                  <a:gd name="connsiteX8" fmla="*/ 119947 w 120748"/>
                  <a:gd name="connsiteY8" fmla="*/ 0 h 194640"/>
                  <a:gd name="connsiteX9" fmla="*/ 119947 w 120748"/>
                  <a:gd name="connsiteY9" fmla="*/ 25068 h 194640"/>
                  <a:gd name="connsiteX10" fmla="*/ 115721 w 120748"/>
                  <a:gd name="connsiteY10" fmla="*/ 25068 h 194640"/>
                  <a:gd name="connsiteX11" fmla="*/ 95462 w 120748"/>
                  <a:gd name="connsiteY11" fmla="*/ 29295 h 194640"/>
                  <a:gd name="connsiteX12" fmla="*/ 107850 w 120748"/>
                  <a:gd name="connsiteY12" fmla="*/ 60484 h 194640"/>
                  <a:gd name="connsiteX13" fmla="*/ 56695 w 120748"/>
                  <a:gd name="connsiteY13" fmla="*/ 103405 h 194640"/>
                  <a:gd name="connsiteX14" fmla="*/ 35197 w 120748"/>
                  <a:gd name="connsiteY14" fmla="*/ 100345 h 194640"/>
                  <a:gd name="connsiteX15" fmla="*/ 32355 w 120748"/>
                  <a:gd name="connsiteY15" fmla="*/ 107195 h 194640"/>
                  <a:gd name="connsiteX16" fmla="*/ 63909 w 120748"/>
                  <a:gd name="connsiteY16" fmla="*/ 118125 h 194640"/>
                  <a:gd name="connsiteX17" fmla="*/ 120749 w 120748"/>
                  <a:gd name="connsiteY17" fmla="*/ 153687 h 194640"/>
                  <a:gd name="connsiteX18" fmla="*/ 57205 w 120748"/>
                  <a:gd name="connsiteY18" fmla="*/ 194641 h 194640"/>
                  <a:gd name="connsiteX19" fmla="*/ 73 w 120748"/>
                  <a:gd name="connsiteY19" fmla="*/ 163670 h 194640"/>
                  <a:gd name="connsiteX20" fmla="*/ 58589 w 120748"/>
                  <a:gd name="connsiteY20" fmla="*/ 173872 h 194640"/>
                  <a:gd name="connsiteX21" fmla="*/ 91819 w 120748"/>
                  <a:gd name="connsiteY21" fmla="*/ 156675 h 194640"/>
                  <a:gd name="connsiteX22" fmla="*/ 59682 w 120748"/>
                  <a:gd name="connsiteY22" fmla="*/ 142902 h 194640"/>
                  <a:gd name="connsiteX23" fmla="*/ 33157 w 120748"/>
                  <a:gd name="connsiteY23" fmla="*/ 140278 h 194640"/>
                  <a:gd name="connsiteX24" fmla="*/ 26015 w 120748"/>
                  <a:gd name="connsiteY24" fmla="*/ 155508 h 194640"/>
                  <a:gd name="connsiteX25" fmla="*/ 58589 w 120748"/>
                  <a:gd name="connsiteY25" fmla="*/ 173872 h 194640"/>
                  <a:gd name="connsiteX26" fmla="*/ 56549 w 120748"/>
                  <a:gd name="connsiteY26" fmla="*/ 83220 h 194640"/>
                  <a:gd name="connsiteX27" fmla="*/ 79868 w 120748"/>
                  <a:gd name="connsiteY27" fmla="*/ 60484 h 194640"/>
                  <a:gd name="connsiteX28" fmla="*/ 57350 w 120748"/>
                  <a:gd name="connsiteY28" fmla="*/ 37019 h 194640"/>
                  <a:gd name="connsiteX29" fmla="*/ 34104 w 120748"/>
                  <a:gd name="connsiteY29" fmla="*/ 60484 h 194640"/>
                  <a:gd name="connsiteX30" fmla="*/ 56549 w 120748"/>
                  <a:gd name="connsiteY30" fmla="*/ 83220 h 19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0748" h="194640">
                    <a:moveTo>
                      <a:pt x="0" y="163597"/>
                    </a:moveTo>
                    <a:cubicBezTo>
                      <a:pt x="0" y="150481"/>
                      <a:pt x="9328" y="141153"/>
                      <a:pt x="23028" y="137509"/>
                    </a:cubicBezTo>
                    <a:cubicBezTo>
                      <a:pt x="14137" y="134230"/>
                      <a:pt x="8599" y="128764"/>
                      <a:pt x="8599" y="119291"/>
                    </a:cubicBezTo>
                    <a:cubicBezTo>
                      <a:pt x="8599" y="109016"/>
                      <a:pt x="15085" y="101219"/>
                      <a:pt x="26963" y="96774"/>
                    </a:cubicBezTo>
                    <a:cubicBezTo>
                      <a:pt x="13554" y="89632"/>
                      <a:pt x="6340" y="76880"/>
                      <a:pt x="6340" y="60484"/>
                    </a:cubicBezTo>
                    <a:cubicBezTo>
                      <a:pt x="6340" y="36800"/>
                      <a:pt x="21935" y="16906"/>
                      <a:pt x="57205" y="16906"/>
                    </a:cubicBezTo>
                    <a:cubicBezTo>
                      <a:pt x="70176" y="16906"/>
                      <a:pt x="80305" y="19530"/>
                      <a:pt x="88029" y="23829"/>
                    </a:cubicBezTo>
                    <a:cubicBezTo>
                      <a:pt x="92037" y="9400"/>
                      <a:pt x="100126" y="0"/>
                      <a:pt x="115939" y="0"/>
                    </a:cubicBezTo>
                    <a:lnTo>
                      <a:pt x="119947" y="0"/>
                    </a:lnTo>
                    <a:lnTo>
                      <a:pt x="119947" y="25068"/>
                    </a:lnTo>
                    <a:lnTo>
                      <a:pt x="115721" y="25068"/>
                    </a:lnTo>
                    <a:cubicBezTo>
                      <a:pt x="104644" y="25068"/>
                      <a:pt x="99543" y="26453"/>
                      <a:pt x="95462" y="29295"/>
                    </a:cubicBezTo>
                    <a:cubicBezTo>
                      <a:pt x="103988" y="37237"/>
                      <a:pt x="107850" y="48387"/>
                      <a:pt x="107850" y="60484"/>
                    </a:cubicBezTo>
                    <a:cubicBezTo>
                      <a:pt x="107850" y="83584"/>
                      <a:pt x="91600" y="103405"/>
                      <a:pt x="56695" y="103405"/>
                    </a:cubicBezTo>
                    <a:cubicBezTo>
                      <a:pt x="48605" y="103405"/>
                      <a:pt x="41464" y="102385"/>
                      <a:pt x="35197" y="100345"/>
                    </a:cubicBezTo>
                    <a:cubicBezTo>
                      <a:pt x="33521" y="102312"/>
                      <a:pt x="32355" y="104571"/>
                      <a:pt x="32355" y="107195"/>
                    </a:cubicBezTo>
                    <a:cubicBezTo>
                      <a:pt x="32355" y="115721"/>
                      <a:pt x="42047" y="116959"/>
                      <a:pt x="63909" y="118125"/>
                    </a:cubicBezTo>
                    <a:cubicBezTo>
                      <a:pt x="95244" y="119583"/>
                      <a:pt x="120749" y="124174"/>
                      <a:pt x="120749" y="153687"/>
                    </a:cubicBezTo>
                    <a:cubicBezTo>
                      <a:pt x="120749" y="180795"/>
                      <a:pt x="100855" y="194641"/>
                      <a:pt x="57205" y="194641"/>
                    </a:cubicBezTo>
                    <a:cubicBezTo>
                      <a:pt x="16250" y="194641"/>
                      <a:pt x="73" y="182034"/>
                      <a:pt x="73" y="163670"/>
                    </a:cubicBezTo>
                    <a:close/>
                    <a:moveTo>
                      <a:pt x="58589" y="173872"/>
                    </a:moveTo>
                    <a:cubicBezTo>
                      <a:pt x="81033" y="173872"/>
                      <a:pt x="91819" y="169208"/>
                      <a:pt x="91819" y="156675"/>
                    </a:cubicBezTo>
                    <a:cubicBezTo>
                      <a:pt x="91819" y="146108"/>
                      <a:pt x="82710" y="143922"/>
                      <a:pt x="59682" y="142902"/>
                    </a:cubicBezTo>
                    <a:cubicBezTo>
                      <a:pt x="50136" y="142319"/>
                      <a:pt x="41027" y="141736"/>
                      <a:pt x="33157" y="140278"/>
                    </a:cubicBezTo>
                    <a:cubicBezTo>
                      <a:pt x="28857" y="143922"/>
                      <a:pt x="26015" y="148804"/>
                      <a:pt x="26015" y="155508"/>
                    </a:cubicBezTo>
                    <a:cubicBezTo>
                      <a:pt x="26015" y="168115"/>
                      <a:pt x="34468" y="173872"/>
                      <a:pt x="58589" y="173872"/>
                    </a:cubicBezTo>
                    <a:close/>
                    <a:moveTo>
                      <a:pt x="56549" y="83220"/>
                    </a:moveTo>
                    <a:cubicBezTo>
                      <a:pt x="70904" y="83220"/>
                      <a:pt x="79868" y="74111"/>
                      <a:pt x="79868" y="60484"/>
                    </a:cubicBezTo>
                    <a:cubicBezTo>
                      <a:pt x="79868" y="46055"/>
                      <a:pt x="71414" y="37019"/>
                      <a:pt x="57350" y="37019"/>
                    </a:cubicBezTo>
                    <a:cubicBezTo>
                      <a:pt x="43286" y="37019"/>
                      <a:pt x="34104" y="45982"/>
                      <a:pt x="34104" y="60484"/>
                    </a:cubicBezTo>
                    <a:cubicBezTo>
                      <a:pt x="34104" y="74985"/>
                      <a:pt x="43359" y="83220"/>
                      <a:pt x="56549" y="83220"/>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22" name="Freeform 175">
                <a:extLst>
                  <a:ext uri="{FF2B5EF4-FFF2-40B4-BE49-F238E27FC236}">
                    <a16:creationId xmlns:a16="http://schemas.microsoft.com/office/drawing/2014/main" id="{2DCAFC82-67AC-BF65-B92B-3972286379BE}"/>
                  </a:ext>
                </a:extLst>
              </p:cNvPr>
              <p:cNvSpPr/>
              <p:nvPr/>
            </p:nvSpPr>
            <p:spPr>
              <a:xfrm>
                <a:off x="6661616" y="5452284"/>
                <a:ext cx="123007" cy="175329"/>
              </a:xfrm>
              <a:custGeom>
                <a:avLst/>
                <a:gdLst>
                  <a:gd name="connsiteX0" fmla="*/ 9254 w 123007"/>
                  <a:gd name="connsiteY0" fmla="*/ 173945 h 175329"/>
                  <a:gd name="connsiteX1" fmla="*/ 9254 w 123007"/>
                  <a:gd name="connsiteY1" fmla="*/ 150116 h 175329"/>
                  <a:gd name="connsiteX2" fmla="*/ 22444 w 123007"/>
                  <a:gd name="connsiteY2" fmla="*/ 151792 h 175329"/>
                  <a:gd name="connsiteX3" fmla="*/ 44306 w 123007"/>
                  <a:gd name="connsiteY3" fmla="*/ 137436 h 175329"/>
                  <a:gd name="connsiteX4" fmla="*/ 48532 w 123007"/>
                  <a:gd name="connsiteY4" fmla="*/ 125850 h 175329"/>
                  <a:gd name="connsiteX5" fmla="*/ 0 w 123007"/>
                  <a:gd name="connsiteY5" fmla="*/ 0 h 175329"/>
                  <a:gd name="connsiteX6" fmla="*/ 30825 w 123007"/>
                  <a:gd name="connsiteY6" fmla="*/ 0 h 175329"/>
                  <a:gd name="connsiteX7" fmla="*/ 53707 w 123007"/>
                  <a:gd name="connsiteY7" fmla="*/ 64710 h 175329"/>
                  <a:gd name="connsiteX8" fmla="*/ 62816 w 123007"/>
                  <a:gd name="connsiteY8" fmla="*/ 93859 h 175329"/>
                  <a:gd name="connsiteX9" fmla="*/ 71779 w 123007"/>
                  <a:gd name="connsiteY9" fmla="*/ 66168 h 175329"/>
                  <a:gd name="connsiteX10" fmla="*/ 93057 w 123007"/>
                  <a:gd name="connsiteY10" fmla="*/ 0 h 175329"/>
                  <a:gd name="connsiteX11" fmla="*/ 123008 w 123007"/>
                  <a:gd name="connsiteY11" fmla="*/ 0 h 175329"/>
                  <a:gd name="connsiteX12" fmla="*/ 69811 w 123007"/>
                  <a:gd name="connsiteY12" fmla="*/ 144942 h 175329"/>
                  <a:gd name="connsiteX13" fmla="*/ 26962 w 123007"/>
                  <a:gd name="connsiteY13" fmla="*/ 175330 h 175329"/>
                  <a:gd name="connsiteX14" fmla="*/ 9109 w 123007"/>
                  <a:gd name="connsiteY14" fmla="*/ 173872 h 175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007" h="175329">
                    <a:moveTo>
                      <a:pt x="9254" y="173945"/>
                    </a:moveTo>
                    <a:lnTo>
                      <a:pt x="9254" y="150116"/>
                    </a:lnTo>
                    <a:cubicBezTo>
                      <a:pt x="12534" y="151136"/>
                      <a:pt x="17416" y="151792"/>
                      <a:pt x="22444" y="151792"/>
                    </a:cubicBezTo>
                    <a:cubicBezTo>
                      <a:pt x="35197" y="151792"/>
                      <a:pt x="40808" y="147347"/>
                      <a:pt x="44306" y="137436"/>
                    </a:cubicBezTo>
                    <a:lnTo>
                      <a:pt x="48532" y="125850"/>
                    </a:lnTo>
                    <a:lnTo>
                      <a:pt x="0" y="0"/>
                    </a:lnTo>
                    <a:lnTo>
                      <a:pt x="30825" y="0"/>
                    </a:lnTo>
                    <a:lnTo>
                      <a:pt x="53707" y="64710"/>
                    </a:lnTo>
                    <a:cubicBezTo>
                      <a:pt x="56913" y="73819"/>
                      <a:pt x="62014" y="89997"/>
                      <a:pt x="62816" y="93859"/>
                    </a:cubicBezTo>
                    <a:cubicBezTo>
                      <a:pt x="63690" y="89414"/>
                      <a:pt x="68864" y="75277"/>
                      <a:pt x="71779" y="66168"/>
                    </a:cubicBezTo>
                    <a:lnTo>
                      <a:pt x="93057" y="0"/>
                    </a:lnTo>
                    <a:lnTo>
                      <a:pt x="123008" y="0"/>
                    </a:lnTo>
                    <a:lnTo>
                      <a:pt x="69811" y="144942"/>
                    </a:lnTo>
                    <a:cubicBezTo>
                      <a:pt x="62087" y="166439"/>
                      <a:pt x="51593" y="175330"/>
                      <a:pt x="26962" y="175330"/>
                    </a:cubicBezTo>
                    <a:cubicBezTo>
                      <a:pt x="19821" y="175330"/>
                      <a:pt x="13408" y="174674"/>
                      <a:pt x="9109" y="173872"/>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23" name="Freeform 176">
                <a:extLst>
                  <a:ext uri="{FF2B5EF4-FFF2-40B4-BE49-F238E27FC236}">
                    <a16:creationId xmlns:a16="http://schemas.microsoft.com/office/drawing/2014/main" id="{27EEBCCC-0B2C-BFAF-B6BF-50F4F27E37EE}"/>
                  </a:ext>
                </a:extLst>
              </p:cNvPr>
              <p:cNvSpPr/>
              <p:nvPr/>
            </p:nvSpPr>
            <p:spPr>
              <a:xfrm>
                <a:off x="6863690" y="5416503"/>
                <a:ext cx="126869" cy="160463"/>
              </a:xfrm>
              <a:custGeom>
                <a:avLst/>
                <a:gdLst>
                  <a:gd name="connsiteX0" fmla="*/ 0 w 126869"/>
                  <a:gd name="connsiteY0" fmla="*/ 0 h 160463"/>
                  <a:gd name="connsiteX1" fmla="*/ 67990 w 126869"/>
                  <a:gd name="connsiteY1" fmla="*/ 0 h 160463"/>
                  <a:gd name="connsiteX2" fmla="*/ 126870 w 126869"/>
                  <a:gd name="connsiteY2" fmla="*/ 51156 h 160463"/>
                  <a:gd name="connsiteX3" fmla="*/ 69593 w 126869"/>
                  <a:gd name="connsiteY3" fmla="*/ 103842 h 160463"/>
                  <a:gd name="connsiteX4" fmla="*/ 30315 w 126869"/>
                  <a:gd name="connsiteY4" fmla="*/ 103842 h 160463"/>
                  <a:gd name="connsiteX5" fmla="*/ 30315 w 126869"/>
                  <a:gd name="connsiteY5" fmla="*/ 160464 h 160463"/>
                  <a:gd name="connsiteX6" fmla="*/ 0 w 126869"/>
                  <a:gd name="connsiteY6" fmla="*/ 160464 h 160463"/>
                  <a:gd name="connsiteX7" fmla="*/ 0 w 126869"/>
                  <a:gd name="connsiteY7" fmla="*/ 0 h 160463"/>
                  <a:gd name="connsiteX8" fmla="*/ 65293 w 126869"/>
                  <a:gd name="connsiteY8" fmla="*/ 78046 h 160463"/>
                  <a:gd name="connsiteX9" fmla="*/ 96409 w 126869"/>
                  <a:gd name="connsiteY9" fmla="*/ 51375 h 160463"/>
                  <a:gd name="connsiteX10" fmla="*/ 64418 w 126869"/>
                  <a:gd name="connsiteY10" fmla="*/ 26015 h 160463"/>
                  <a:gd name="connsiteX11" fmla="*/ 30242 w 126869"/>
                  <a:gd name="connsiteY11" fmla="*/ 26015 h 160463"/>
                  <a:gd name="connsiteX12" fmla="*/ 30242 w 126869"/>
                  <a:gd name="connsiteY12" fmla="*/ 78046 h 160463"/>
                  <a:gd name="connsiteX13" fmla="*/ 65293 w 126869"/>
                  <a:gd name="connsiteY13" fmla="*/ 78046 h 16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869" h="160463">
                    <a:moveTo>
                      <a:pt x="0" y="0"/>
                    </a:moveTo>
                    <a:lnTo>
                      <a:pt x="67990" y="0"/>
                    </a:lnTo>
                    <a:cubicBezTo>
                      <a:pt x="108069" y="0"/>
                      <a:pt x="126870" y="20623"/>
                      <a:pt x="126870" y="51156"/>
                    </a:cubicBezTo>
                    <a:cubicBezTo>
                      <a:pt x="126870" y="79649"/>
                      <a:pt x="108506" y="103842"/>
                      <a:pt x="69593" y="103842"/>
                    </a:cubicBezTo>
                    <a:lnTo>
                      <a:pt x="30315" y="103842"/>
                    </a:lnTo>
                    <a:lnTo>
                      <a:pt x="30315" y="160464"/>
                    </a:lnTo>
                    <a:lnTo>
                      <a:pt x="0" y="160464"/>
                    </a:lnTo>
                    <a:lnTo>
                      <a:pt x="0" y="0"/>
                    </a:lnTo>
                    <a:close/>
                    <a:moveTo>
                      <a:pt x="65293" y="78046"/>
                    </a:moveTo>
                    <a:cubicBezTo>
                      <a:pt x="86499" y="78046"/>
                      <a:pt x="96409" y="67771"/>
                      <a:pt x="96409" y="51375"/>
                    </a:cubicBezTo>
                    <a:cubicBezTo>
                      <a:pt x="96409" y="34979"/>
                      <a:pt x="85479" y="26015"/>
                      <a:pt x="64418" y="26015"/>
                    </a:cubicBezTo>
                    <a:lnTo>
                      <a:pt x="30242" y="26015"/>
                    </a:lnTo>
                    <a:lnTo>
                      <a:pt x="30242" y="78046"/>
                    </a:lnTo>
                    <a:lnTo>
                      <a:pt x="65293" y="78046"/>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24" name="Freeform 177">
                <a:extLst>
                  <a:ext uri="{FF2B5EF4-FFF2-40B4-BE49-F238E27FC236}">
                    <a16:creationId xmlns:a16="http://schemas.microsoft.com/office/drawing/2014/main" id="{5D051E2E-BCB4-C96B-152E-C476D80D82A2}"/>
                  </a:ext>
                </a:extLst>
              </p:cNvPr>
              <p:cNvSpPr/>
              <p:nvPr/>
            </p:nvSpPr>
            <p:spPr>
              <a:xfrm>
                <a:off x="7013150" y="5407176"/>
                <a:ext cx="49406" cy="171904"/>
              </a:xfrm>
              <a:custGeom>
                <a:avLst/>
                <a:gdLst>
                  <a:gd name="connsiteX0" fmla="*/ 0 w 49406"/>
                  <a:gd name="connsiteY0" fmla="*/ 139112 h 171904"/>
                  <a:gd name="connsiteX1" fmla="*/ 0 w 49406"/>
                  <a:gd name="connsiteY1" fmla="*/ 0 h 171904"/>
                  <a:gd name="connsiteX2" fmla="*/ 28930 w 49406"/>
                  <a:gd name="connsiteY2" fmla="*/ 0 h 171904"/>
                  <a:gd name="connsiteX3" fmla="*/ 28930 w 49406"/>
                  <a:gd name="connsiteY3" fmla="*/ 134157 h 171904"/>
                  <a:gd name="connsiteX4" fmla="*/ 39496 w 49406"/>
                  <a:gd name="connsiteY4" fmla="*/ 147274 h 171904"/>
                  <a:gd name="connsiteX5" fmla="*/ 49407 w 49406"/>
                  <a:gd name="connsiteY5" fmla="*/ 146035 h 171904"/>
                  <a:gd name="connsiteX6" fmla="*/ 49407 w 49406"/>
                  <a:gd name="connsiteY6" fmla="*/ 169864 h 171904"/>
                  <a:gd name="connsiteX7" fmla="*/ 32428 w 49406"/>
                  <a:gd name="connsiteY7" fmla="*/ 171904 h 171904"/>
                  <a:gd name="connsiteX8" fmla="*/ 0 w 49406"/>
                  <a:gd name="connsiteY8" fmla="*/ 139258 h 17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06" h="171904">
                    <a:moveTo>
                      <a:pt x="0" y="139112"/>
                    </a:moveTo>
                    <a:lnTo>
                      <a:pt x="0" y="0"/>
                    </a:lnTo>
                    <a:lnTo>
                      <a:pt x="28930" y="0"/>
                    </a:lnTo>
                    <a:lnTo>
                      <a:pt x="28930" y="134157"/>
                    </a:lnTo>
                    <a:cubicBezTo>
                      <a:pt x="28930" y="143849"/>
                      <a:pt x="31189" y="147274"/>
                      <a:pt x="39496" y="147274"/>
                    </a:cubicBezTo>
                    <a:cubicBezTo>
                      <a:pt x="42994" y="147274"/>
                      <a:pt x="46128" y="146691"/>
                      <a:pt x="49407" y="146035"/>
                    </a:cubicBezTo>
                    <a:lnTo>
                      <a:pt x="49407" y="169864"/>
                    </a:lnTo>
                    <a:cubicBezTo>
                      <a:pt x="44889" y="171030"/>
                      <a:pt x="38695" y="171904"/>
                      <a:pt x="32428" y="171904"/>
                    </a:cubicBezTo>
                    <a:cubicBezTo>
                      <a:pt x="8963" y="171904"/>
                      <a:pt x="0" y="160755"/>
                      <a:pt x="0" y="139258"/>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25" name="Freeform 178">
                <a:extLst>
                  <a:ext uri="{FF2B5EF4-FFF2-40B4-BE49-F238E27FC236}">
                    <a16:creationId xmlns:a16="http://schemas.microsoft.com/office/drawing/2014/main" id="{D29F1DFA-F967-82AF-06DB-AD943A57D92F}"/>
                  </a:ext>
                </a:extLst>
              </p:cNvPr>
              <p:cNvSpPr/>
              <p:nvPr/>
            </p:nvSpPr>
            <p:spPr>
              <a:xfrm>
                <a:off x="7081212" y="5450025"/>
                <a:ext cx="105372" cy="129274"/>
              </a:xfrm>
              <a:custGeom>
                <a:avLst/>
                <a:gdLst>
                  <a:gd name="connsiteX0" fmla="*/ 0 w 105372"/>
                  <a:gd name="connsiteY0" fmla="*/ 92985 h 129274"/>
                  <a:gd name="connsiteX1" fmla="*/ 54217 w 105372"/>
                  <a:gd name="connsiteY1" fmla="*/ 53707 h 129274"/>
                  <a:gd name="connsiteX2" fmla="*/ 76734 w 105372"/>
                  <a:gd name="connsiteY2" fmla="*/ 53707 h 129274"/>
                  <a:gd name="connsiteX3" fmla="*/ 76734 w 105372"/>
                  <a:gd name="connsiteY3" fmla="*/ 46565 h 129274"/>
                  <a:gd name="connsiteX4" fmla="*/ 54290 w 105372"/>
                  <a:gd name="connsiteY4" fmla="*/ 23319 h 129274"/>
                  <a:gd name="connsiteX5" fmla="*/ 22518 w 105372"/>
                  <a:gd name="connsiteY5" fmla="*/ 39132 h 129274"/>
                  <a:gd name="connsiteX6" fmla="*/ 5320 w 105372"/>
                  <a:gd name="connsiteY6" fmla="*/ 22080 h 129274"/>
                  <a:gd name="connsiteX7" fmla="*/ 57350 w 105372"/>
                  <a:gd name="connsiteY7" fmla="*/ 0 h 129274"/>
                  <a:gd name="connsiteX8" fmla="*/ 105373 w 105372"/>
                  <a:gd name="connsiteY8" fmla="*/ 46711 h 129274"/>
                  <a:gd name="connsiteX9" fmla="*/ 105373 w 105372"/>
                  <a:gd name="connsiteY9" fmla="*/ 127016 h 129274"/>
                  <a:gd name="connsiteX10" fmla="*/ 77609 w 105372"/>
                  <a:gd name="connsiteY10" fmla="*/ 127016 h 129274"/>
                  <a:gd name="connsiteX11" fmla="*/ 77609 w 105372"/>
                  <a:gd name="connsiteY11" fmla="*/ 103915 h 129274"/>
                  <a:gd name="connsiteX12" fmla="*/ 76953 w 105372"/>
                  <a:gd name="connsiteY12" fmla="*/ 103915 h 129274"/>
                  <a:gd name="connsiteX13" fmla="*/ 37238 w 105372"/>
                  <a:gd name="connsiteY13" fmla="*/ 129275 h 129274"/>
                  <a:gd name="connsiteX14" fmla="*/ 0 w 105372"/>
                  <a:gd name="connsiteY14" fmla="*/ 93057 h 129274"/>
                  <a:gd name="connsiteX15" fmla="*/ 47513 w 105372"/>
                  <a:gd name="connsiteY15" fmla="*/ 106976 h 129274"/>
                  <a:gd name="connsiteX16" fmla="*/ 76807 w 105372"/>
                  <a:gd name="connsiteY16" fmla="*/ 78264 h 129274"/>
                  <a:gd name="connsiteX17" fmla="*/ 76807 w 105372"/>
                  <a:gd name="connsiteY17" fmla="*/ 70176 h 129274"/>
                  <a:gd name="connsiteX18" fmla="*/ 59172 w 105372"/>
                  <a:gd name="connsiteY18" fmla="*/ 70176 h 129274"/>
                  <a:gd name="connsiteX19" fmla="*/ 28784 w 105372"/>
                  <a:gd name="connsiteY19" fmla="*/ 90215 h 129274"/>
                  <a:gd name="connsiteX20" fmla="*/ 47586 w 105372"/>
                  <a:gd name="connsiteY20" fmla="*/ 106976 h 12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372" h="129274">
                    <a:moveTo>
                      <a:pt x="0" y="92985"/>
                    </a:moveTo>
                    <a:cubicBezTo>
                      <a:pt x="0" y="66240"/>
                      <a:pt x="21862" y="53707"/>
                      <a:pt x="54217" y="53707"/>
                    </a:cubicBezTo>
                    <a:lnTo>
                      <a:pt x="76734" y="53707"/>
                    </a:lnTo>
                    <a:lnTo>
                      <a:pt x="76734" y="46565"/>
                    </a:lnTo>
                    <a:cubicBezTo>
                      <a:pt x="76734" y="31554"/>
                      <a:pt x="69447" y="23319"/>
                      <a:pt x="54290" y="23319"/>
                    </a:cubicBezTo>
                    <a:cubicBezTo>
                      <a:pt x="40152" y="23319"/>
                      <a:pt x="30242" y="29367"/>
                      <a:pt x="22518" y="39132"/>
                    </a:cubicBezTo>
                    <a:lnTo>
                      <a:pt x="5320" y="22080"/>
                    </a:lnTo>
                    <a:cubicBezTo>
                      <a:pt x="16833" y="9546"/>
                      <a:pt x="32428" y="0"/>
                      <a:pt x="57350" y="0"/>
                    </a:cubicBezTo>
                    <a:cubicBezTo>
                      <a:pt x="88977" y="0"/>
                      <a:pt x="105373" y="16542"/>
                      <a:pt x="105373" y="46711"/>
                    </a:cubicBezTo>
                    <a:lnTo>
                      <a:pt x="105373" y="127016"/>
                    </a:lnTo>
                    <a:lnTo>
                      <a:pt x="77609" y="127016"/>
                    </a:lnTo>
                    <a:lnTo>
                      <a:pt x="77609" y="103915"/>
                    </a:lnTo>
                    <a:lnTo>
                      <a:pt x="76953" y="103915"/>
                    </a:lnTo>
                    <a:cubicBezTo>
                      <a:pt x="69301" y="121331"/>
                      <a:pt x="56767" y="129275"/>
                      <a:pt x="37238" y="129275"/>
                    </a:cubicBezTo>
                    <a:cubicBezTo>
                      <a:pt x="15522" y="129275"/>
                      <a:pt x="0" y="116303"/>
                      <a:pt x="0" y="93057"/>
                    </a:cubicBezTo>
                    <a:close/>
                    <a:moveTo>
                      <a:pt x="47513" y="106976"/>
                    </a:moveTo>
                    <a:cubicBezTo>
                      <a:pt x="66095" y="106976"/>
                      <a:pt x="76807" y="92985"/>
                      <a:pt x="76807" y="78264"/>
                    </a:cubicBezTo>
                    <a:lnTo>
                      <a:pt x="76807" y="70176"/>
                    </a:lnTo>
                    <a:lnTo>
                      <a:pt x="59172" y="70176"/>
                    </a:lnTo>
                    <a:cubicBezTo>
                      <a:pt x="42630" y="70176"/>
                      <a:pt x="28784" y="74621"/>
                      <a:pt x="28784" y="90215"/>
                    </a:cubicBezTo>
                    <a:cubicBezTo>
                      <a:pt x="28784" y="100563"/>
                      <a:pt x="35853" y="106976"/>
                      <a:pt x="47586" y="106976"/>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26" name="Freeform 179">
                <a:extLst>
                  <a:ext uri="{FF2B5EF4-FFF2-40B4-BE49-F238E27FC236}">
                    <a16:creationId xmlns:a16="http://schemas.microsoft.com/office/drawing/2014/main" id="{A6E329E1-F33F-331F-4B10-91B77B7541BE}"/>
                  </a:ext>
                </a:extLst>
              </p:cNvPr>
              <p:cNvSpPr/>
              <p:nvPr/>
            </p:nvSpPr>
            <p:spPr>
              <a:xfrm>
                <a:off x="7205240" y="5420001"/>
                <a:ext cx="74037" cy="158933"/>
              </a:xfrm>
              <a:custGeom>
                <a:avLst/>
                <a:gdLst>
                  <a:gd name="connsiteX0" fmla="*/ 18218 w 74037"/>
                  <a:gd name="connsiteY0" fmla="*/ 125849 h 158933"/>
                  <a:gd name="connsiteX1" fmla="*/ 18218 w 74037"/>
                  <a:gd name="connsiteY1" fmla="*/ 54654 h 158933"/>
                  <a:gd name="connsiteX2" fmla="*/ 0 w 74037"/>
                  <a:gd name="connsiteY2" fmla="*/ 54654 h 158933"/>
                  <a:gd name="connsiteX3" fmla="*/ 0 w 74037"/>
                  <a:gd name="connsiteY3" fmla="*/ 41464 h 158933"/>
                  <a:gd name="connsiteX4" fmla="*/ 41537 w 74037"/>
                  <a:gd name="connsiteY4" fmla="*/ 0 h 158933"/>
                  <a:gd name="connsiteX5" fmla="*/ 47002 w 74037"/>
                  <a:gd name="connsiteY5" fmla="*/ 0 h 158933"/>
                  <a:gd name="connsiteX6" fmla="*/ 47002 w 74037"/>
                  <a:gd name="connsiteY6" fmla="*/ 32355 h 158933"/>
                  <a:gd name="connsiteX7" fmla="*/ 73965 w 74037"/>
                  <a:gd name="connsiteY7" fmla="*/ 32355 h 158933"/>
                  <a:gd name="connsiteX8" fmla="*/ 73965 w 74037"/>
                  <a:gd name="connsiteY8" fmla="*/ 54654 h 158933"/>
                  <a:gd name="connsiteX9" fmla="*/ 47002 w 74037"/>
                  <a:gd name="connsiteY9" fmla="*/ 54654 h 158933"/>
                  <a:gd name="connsiteX10" fmla="*/ 47002 w 74037"/>
                  <a:gd name="connsiteY10" fmla="*/ 120239 h 158933"/>
                  <a:gd name="connsiteX11" fmla="*/ 60338 w 74037"/>
                  <a:gd name="connsiteY11" fmla="*/ 134157 h 158933"/>
                  <a:gd name="connsiteX12" fmla="*/ 74038 w 74037"/>
                  <a:gd name="connsiteY12" fmla="*/ 132189 h 158933"/>
                  <a:gd name="connsiteX13" fmla="*/ 74038 w 74037"/>
                  <a:gd name="connsiteY13" fmla="*/ 156893 h 158933"/>
                  <a:gd name="connsiteX14" fmla="*/ 54363 w 74037"/>
                  <a:gd name="connsiteY14" fmla="*/ 158934 h 158933"/>
                  <a:gd name="connsiteX15" fmla="*/ 18291 w 74037"/>
                  <a:gd name="connsiteY15" fmla="*/ 125777 h 158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037" h="158933">
                    <a:moveTo>
                      <a:pt x="18218" y="125849"/>
                    </a:moveTo>
                    <a:lnTo>
                      <a:pt x="18218" y="54654"/>
                    </a:lnTo>
                    <a:lnTo>
                      <a:pt x="0" y="54654"/>
                    </a:lnTo>
                    <a:lnTo>
                      <a:pt x="0" y="41464"/>
                    </a:lnTo>
                    <a:lnTo>
                      <a:pt x="41537" y="0"/>
                    </a:lnTo>
                    <a:lnTo>
                      <a:pt x="47002" y="0"/>
                    </a:lnTo>
                    <a:lnTo>
                      <a:pt x="47002" y="32355"/>
                    </a:lnTo>
                    <a:lnTo>
                      <a:pt x="73965" y="32355"/>
                    </a:lnTo>
                    <a:lnTo>
                      <a:pt x="73965" y="54654"/>
                    </a:lnTo>
                    <a:lnTo>
                      <a:pt x="47002" y="54654"/>
                    </a:lnTo>
                    <a:lnTo>
                      <a:pt x="47002" y="120239"/>
                    </a:lnTo>
                    <a:cubicBezTo>
                      <a:pt x="47002" y="131169"/>
                      <a:pt x="50500" y="134157"/>
                      <a:pt x="60338" y="134157"/>
                    </a:cubicBezTo>
                    <a:cubicBezTo>
                      <a:pt x="65220" y="134157"/>
                      <a:pt x="69884" y="133355"/>
                      <a:pt x="74038" y="132189"/>
                    </a:cubicBezTo>
                    <a:lnTo>
                      <a:pt x="74038" y="156893"/>
                    </a:lnTo>
                    <a:cubicBezTo>
                      <a:pt x="69009" y="158132"/>
                      <a:pt x="61650" y="158934"/>
                      <a:pt x="54363" y="158934"/>
                    </a:cubicBezTo>
                    <a:cubicBezTo>
                      <a:pt x="29295" y="158934"/>
                      <a:pt x="18291" y="149679"/>
                      <a:pt x="18291" y="125777"/>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27" name="Freeform 180">
                <a:extLst>
                  <a:ext uri="{FF2B5EF4-FFF2-40B4-BE49-F238E27FC236}">
                    <a16:creationId xmlns:a16="http://schemas.microsoft.com/office/drawing/2014/main" id="{8E1052A8-D10F-3638-E905-0DE0966F88F2}"/>
                  </a:ext>
                </a:extLst>
              </p:cNvPr>
              <p:cNvSpPr/>
              <p:nvPr/>
            </p:nvSpPr>
            <p:spPr>
              <a:xfrm>
                <a:off x="7289771" y="5404771"/>
                <a:ext cx="71560" cy="172050"/>
              </a:xfrm>
              <a:custGeom>
                <a:avLst/>
                <a:gdLst>
                  <a:gd name="connsiteX0" fmla="*/ 55528 w 71560"/>
                  <a:gd name="connsiteY0" fmla="*/ 73 h 172050"/>
                  <a:gd name="connsiteX1" fmla="*/ 71560 w 71560"/>
                  <a:gd name="connsiteY1" fmla="*/ 1749 h 172050"/>
                  <a:gd name="connsiteX2" fmla="*/ 71560 w 71560"/>
                  <a:gd name="connsiteY2" fmla="*/ 24485 h 172050"/>
                  <a:gd name="connsiteX3" fmla="*/ 59610 w 71560"/>
                  <a:gd name="connsiteY3" fmla="*/ 22663 h 172050"/>
                  <a:gd name="connsiteX4" fmla="*/ 44598 w 71560"/>
                  <a:gd name="connsiteY4" fmla="*/ 37821 h 172050"/>
                  <a:gd name="connsiteX5" fmla="*/ 44598 w 71560"/>
                  <a:gd name="connsiteY5" fmla="*/ 47513 h 172050"/>
                  <a:gd name="connsiteX6" fmla="*/ 71560 w 71560"/>
                  <a:gd name="connsiteY6" fmla="*/ 47513 h 172050"/>
                  <a:gd name="connsiteX7" fmla="*/ 71560 w 71560"/>
                  <a:gd name="connsiteY7" fmla="*/ 69811 h 172050"/>
                  <a:gd name="connsiteX8" fmla="*/ 44598 w 71560"/>
                  <a:gd name="connsiteY8" fmla="*/ 69811 h 172050"/>
                  <a:gd name="connsiteX9" fmla="*/ 44598 w 71560"/>
                  <a:gd name="connsiteY9" fmla="*/ 172050 h 172050"/>
                  <a:gd name="connsiteX10" fmla="*/ 15814 w 71560"/>
                  <a:gd name="connsiteY10" fmla="*/ 172050 h 172050"/>
                  <a:gd name="connsiteX11" fmla="*/ 15814 w 71560"/>
                  <a:gd name="connsiteY11" fmla="*/ 69811 h 172050"/>
                  <a:gd name="connsiteX12" fmla="*/ 0 w 71560"/>
                  <a:gd name="connsiteY12" fmla="*/ 69811 h 172050"/>
                  <a:gd name="connsiteX13" fmla="*/ 0 w 71560"/>
                  <a:gd name="connsiteY13" fmla="*/ 47513 h 172050"/>
                  <a:gd name="connsiteX14" fmla="*/ 15814 w 71560"/>
                  <a:gd name="connsiteY14" fmla="*/ 47513 h 172050"/>
                  <a:gd name="connsiteX15" fmla="*/ 15814 w 71560"/>
                  <a:gd name="connsiteY15" fmla="*/ 35562 h 172050"/>
                  <a:gd name="connsiteX16" fmla="*/ 55528 w 71560"/>
                  <a:gd name="connsiteY16" fmla="*/ 0 h 17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560" h="172050">
                    <a:moveTo>
                      <a:pt x="55528" y="73"/>
                    </a:moveTo>
                    <a:cubicBezTo>
                      <a:pt x="62014" y="73"/>
                      <a:pt x="67917" y="729"/>
                      <a:pt x="71560" y="1749"/>
                    </a:cubicBezTo>
                    <a:lnTo>
                      <a:pt x="71560" y="24485"/>
                    </a:lnTo>
                    <a:cubicBezTo>
                      <a:pt x="68573" y="23465"/>
                      <a:pt x="64273" y="22663"/>
                      <a:pt x="59610" y="22663"/>
                    </a:cubicBezTo>
                    <a:cubicBezTo>
                      <a:pt x="47075" y="22663"/>
                      <a:pt x="44598" y="28274"/>
                      <a:pt x="44598" y="37821"/>
                    </a:cubicBezTo>
                    <a:lnTo>
                      <a:pt x="44598" y="47513"/>
                    </a:lnTo>
                    <a:lnTo>
                      <a:pt x="71560" y="47513"/>
                    </a:lnTo>
                    <a:lnTo>
                      <a:pt x="71560" y="69811"/>
                    </a:lnTo>
                    <a:lnTo>
                      <a:pt x="44598" y="69811"/>
                    </a:lnTo>
                    <a:lnTo>
                      <a:pt x="44598" y="172050"/>
                    </a:lnTo>
                    <a:lnTo>
                      <a:pt x="15814" y="172050"/>
                    </a:lnTo>
                    <a:lnTo>
                      <a:pt x="15814" y="69811"/>
                    </a:lnTo>
                    <a:lnTo>
                      <a:pt x="0" y="69811"/>
                    </a:lnTo>
                    <a:lnTo>
                      <a:pt x="0" y="47513"/>
                    </a:lnTo>
                    <a:lnTo>
                      <a:pt x="15814" y="47513"/>
                    </a:lnTo>
                    <a:lnTo>
                      <a:pt x="15814" y="35562"/>
                    </a:lnTo>
                    <a:cubicBezTo>
                      <a:pt x="15814" y="14720"/>
                      <a:pt x="25942" y="0"/>
                      <a:pt x="55528" y="0"/>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28" name="Freeform 181">
                <a:extLst>
                  <a:ext uri="{FF2B5EF4-FFF2-40B4-BE49-F238E27FC236}">
                    <a16:creationId xmlns:a16="http://schemas.microsoft.com/office/drawing/2014/main" id="{88308995-1FBC-58CA-A743-C9EB806ECB04}"/>
                  </a:ext>
                </a:extLst>
              </p:cNvPr>
              <p:cNvSpPr/>
              <p:nvPr/>
            </p:nvSpPr>
            <p:spPr>
              <a:xfrm>
                <a:off x="7371680" y="5449879"/>
                <a:ext cx="126796" cy="129274"/>
              </a:xfrm>
              <a:custGeom>
                <a:avLst/>
                <a:gdLst>
                  <a:gd name="connsiteX0" fmla="*/ 0 w 126796"/>
                  <a:gd name="connsiteY0" fmla="*/ 64710 h 129274"/>
                  <a:gd name="connsiteX1" fmla="*/ 63398 w 126796"/>
                  <a:gd name="connsiteY1" fmla="*/ 0 h 129274"/>
                  <a:gd name="connsiteX2" fmla="*/ 126797 w 126796"/>
                  <a:gd name="connsiteY2" fmla="*/ 64710 h 129274"/>
                  <a:gd name="connsiteX3" fmla="*/ 63398 w 126796"/>
                  <a:gd name="connsiteY3" fmla="*/ 129275 h 129274"/>
                  <a:gd name="connsiteX4" fmla="*/ 0 w 126796"/>
                  <a:gd name="connsiteY4" fmla="*/ 64710 h 129274"/>
                  <a:gd name="connsiteX5" fmla="*/ 63398 w 126796"/>
                  <a:gd name="connsiteY5" fmla="*/ 105956 h 129274"/>
                  <a:gd name="connsiteX6" fmla="*/ 96628 w 126796"/>
                  <a:gd name="connsiteY6" fmla="*/ 64710 h 129274"/>
                  <a:gd name="connsiteX7" fmla="*/ 63398 w 126796"/>
                  <a:gd name="connsiteY7" fmla="*/ 23465 h 129274"/>
                  <a:gd name="connsiteX8" fmla="*/ 30169 w 126796"/>
                  <a:gd name="connsiteY8" fmla="*/ 64710 h 129274"/>
                  <a:gd name="connsiteX9" fmla="*/ 63398 w 126796"/>
                  <a:gd name="connsiteY9" fmla="*/ 105956 h 12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796" h="129274">
                    <a:moveTo>
                      <a:pt x="0" y="64710"/>
                    </a:moveTo>
                    <a:cubicBezTo>
                      <a:pt x="0" y="25432"/>
                      <a:pt x="26161" y="0"/>
                      <a:pt x="63398" y="0"/>
                    </a:cubicBezTo>
                    <a:cubicBezTo>
                      <a:pt x="100636" y="0"/>
                      <a:pt x="126797" y="25359"/>
                      <a:pt x="126797" y="64710"/>
                    </a:cubicBezTo>
                    <a:cubicBezTo>
                      <a:pt x="126797" y="104061"/>
                      <a:pt x="100636" y="129275"/>
                      <a:pt x="63398" y="129275"/>
                    </a:cubicBezTo>
                    <a:cubicBezTo>
                      <a:pt x="26161" y="129275"/>
                      <a:pt x="0" y="103988"/>
                      <a:pt x="0" y="64710"/>
                    </a:cubicBezTo>
                    <a:close/>
                    <a:moveTo>
                      <a:pt x="63398" y="105956"/>
                    </a:moveTo>
                    <a:cubicBezTo>
                      <a:pt x="82782" y="105956"/>
                      <a:pt x="96628" y="91527"/>
                      <a:pt x="96628" y="64710"/>
                    </a:cubicBezTo>
                    <a:cubicBezTo>
                      <a:pt x="96628" y="37893"/>
                      <a:pt x="82709" y="23465"/>
                      <a:pt x="63398" y="23465"/>
                    </a:cubicBezTo>
                    <a:cubicBezTo>
                      <a:pt x="44087" y="23465"/>
                      <a:pt x="30169" y="37821"/>
                      <a:pt x="30169" y="64710"/>
                    </a:cubicBezTo>
                    <a:cubicBezTo>
                      <a:pt x="30169" y="91600"/>
                      <a:pt x="44087" y="105956"/>
                      <a:pt x="63398" y="105956"/>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29" name="Freeform 182">
                <a:extLst>
                  <a:ext uri="{FF2B5EF4-FFF2-40B4-BE49-F238E27FC236}">
                    <a16:creationId xmlns:a16="http://schemas.microsoft.com/office/drawing/2014/main" id="{0A4F4E51-6CEE-A7A2-9442-363FDA8A69C2}"/>
                  </a:ext>
                </a:extLst>
              </p:cNvPr>
              <p:cNvSpPr/>
              <p:nvPr/>
            </p:nvSpPr>
            <p:spPr>
              <a:xfrm>
                <a:off x="7525657" y="5449952"/>
                <a:ext cx="68208" cy="126942"/>
              </a:xfrm>
              <a:custGeom>
                <a:avLst/>
                <a:gdLst>
                  <a:gd name="connsiteX0" fmla="*/ 0 w 68208"/>
                  <a:gd name="connsiteY0" fmla="*/ 2405 h 126942"/>
                  <a:gd name="connsiteX1" fmla="*/ 27910 w 68208"/>
                  <a:gd name="connsiteY1" fmla="*/ 2405 h 126942"/>
                  <a:gd name="connsiteX2" fmla="*/ 27910 w 68208"/>
                  <a:gd name="connsiteY2" fmla="*/ 29149 h 126942"/>
                  <a:gd name="connsiteX3" fmla="*/ 28347 w 68208"/>
                  <a:gd name="connsiteY3" fmla="*/ 29149 h 126942"/>
                  <a:gd name="connsiteX4" fmla="*/ 57496 w 68208"/>
                  <a:gd name="connsiteY4" fmla="*/ 0 h 126942"/>
                  <a:gd name="connsiteX5" fmla="*/ 68208 w 68208"/>
                  <a:gd name="connsiteY5" fmla="*/ 1603 h 126942"/>
                  <a:gd name="connsiteX6" fmla="*/ 68208 w 68208"/>
                  <a:gd name="connsiteY6" fmla="*/ 28566 h 126942"/>
                  <a:gd name="connsiteX7" fmla="*/ 56257 w 68208"/>
                  <a:gd name="connsiteY7" fmla="*/ 27108 h 126942"/>
                  <a:gd name="connsiteX8" fmla="*/ 28784 w 68208"/>
                  <a:gd name="connsiteY8" fmla="*/ 64346 h 126942"/>
                  <a:gd name="connsiteX9" fmla="*/ 28784 w 68208"/>
                  <a:gd name="connsiteY9" fmla="*/ 126943 h 126942"/>
                  <a:gd name="connsiteX10" fmla="*/ 0 w 68208"/>
                  <a:gd name="connsiteY10" fmla="*/ 126943 h 126942"/>
                  <a:gd name="connsiteX11" fmla="*/ 0 w 68208"/>
                  <a:gd name="connsiteY11" fmla="*/ 2405 h 126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208" h="126942">
                    <a:moveTo>
                      <a:pt x="0" y="2405"/>
                    </a:moveTo>
                    <a:lnTo>
                      <a:pt x="27910" y="2405"/>
                    </a:lnTo>
                    <a:lnTo>
                      <a:pt x="27910" y="29149"/>
                    </a:lnTo>
                    <a:lnTo>
                      <a:pt x="28347" y="29149"/>
                    </a:lnTo>
                    <a:cubicBezTo>
                      <a:pt x="32574" y="9255"/>
                      <a:pt x="41901" y="0"/>
                      <a:pt x="57496" y="0"/>
                    </a:cubicBezTo>
                    <a:cubicBezTo>
                      <a:pt x="62014" y="0"/>
                      <a:pt x="65949" y="801"/>
                      <a:pt x="68208" y="1603"/>
                    </a:cubicBezTo>
                    <a:lnTo>
                      <a:pt x="68208" y="28566"/>
                    </a:lnTo>
                    <a:cubicBezTo>
                      <a:pt x="65147" y="27764"/>
                      <a:pt x="60557" y="27108"/>
                      <a:pt x="56257" y="27108"/>
                    </a:cubicBezTo>
                    <a:cubicBezTo>
                      <a:pt x="35780" y="27108"/>
                      <a:pt x="28784" y="41245"/>
                      <a:pt x="28784" y="64346"/>
                    </a:cubicBezTo>
                    <a:lnTo>
                      <a:pt x="28784" y="126943"/>
                    </a:lnTo>
                    <a:lnTo>
                      <a:pt x="0" y="126943"/>
                    </a:lnTo>
                    <a:lnTo>
                      <a:pt x="0" y="2405"/>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30" name="Freeform 183">
                <a:extLst>
                  <a:ext uri="{FF2B5EF4-FFF2-40B4-BE49-F238E27FC236}">
                    <a16:creationId xmlns:a16="http://schemas.microsoft.com/office/drawing/2014/main" id="{751DD91D-C8F7-E099-447B-75FADF2FFD81}"/>
                  </a:ext>
                </a:extLst>
              </p:cNvPr>
              <p:cNvSpPr/>
              <p:nvPr/>
            </p:nvSpPr>
            <p:spPr>
              <a:xfrm>
                <a:off x="7617841" y="5449952"/>
                <a:ext cx="174018" cy="126942"/>
              </a:xfrm>
              <a:custGeom>
                <a:avLst/>
                <a:gdLst>
                  <a:gd name="connsiteX0" fmla="*/ 146 w 174018"/>
                  <a:gd name="connsiteY0" fmla="*/ 2405 h 126942"/>
                  <a:gd name="connsiteX1" fmla="*/ 28055 w 174018"/>
                  <a:gd name="connsiteY1" fmla="*/ 2405 h 126942"/>
                  <a:gd name="connsiteX2" fmla="*/ 28055 w 174018"/>
                  <a:gd name="connsiteY2" fmla="*/ 28712 h 126942"/>
                  <a:gd name="connsiteX3" fmla="*/ 28493 w 174018"/>
                  <a:gd name="connsiteY3" fmla="*/ 28712 h 126942"/>
                  <a:gd name="connsiteX4" fmla="*/ 65293 w 174018"/>
                  <a:gd name="connsiteY4" fmla="*/ 0 h 126942"/>
                  <a:gd name="connsiteX5" fmla="*/ 98960 w 174018"/>
                  <a:gd name="connsiteY5" fmla="*/ 28712 h 126942"/>
                  <a:gd name="connsiteX6" fmla="*/ 99616 w 174018"/>
                  <a:gd name="connsiteY6" fmla="*/ 28712 h 126942"/>
                  <a:gd name="connsiteX7" fmla="*/ 137728 w 174018"/>
                  <a:gd name="connsiteY7" fmla="*/ 0 h 126942"/>
                  <a:gd name="connsiteX8" fmla="*/ 174018 w 174018"/>
                  <a:gd name="connsiteY8" fmla="*/ 44306 h 126942"/>
                  <a:gd name="connsiteX9" fmla="*/ 174018 w 174018"/>
                  <a:gd name="connsiteY9" fmla="*/ 126943 h 126942"/>
                  <a:gd name="connsiteX10" fmla="*/ 145234 w 174018"/>
                  <a:gd name="connsiteY10" fmla="*/ 126943 h 126942"/>
                  <a:gd name="connsiteX11" fmla="*/ 145234 w 174018"/>
                  <a:gd name="connsiteY11" fmla="*/ 51083 h 126942"/>
                  <a:gd name="connsiteX12" fmla="*/ 125995 w 174018"/>
                  <a:gd name="connsiteY12" fmla="*/ 24777 h 126942"/>
                  <a:gd name="connsiteX13" fmla="*/ 101365 w 174018"/>
                  <a:gd name="connsiteY13" fmla="*/ 56694 h 126942"/>
                  <a:gd name="connsiteX14" fmla="*/ 101365 w 174018"/>
                  <a:gd name="connsiteY14" fmla="*/ 126943 h 126942"/>
                  <a:gd name="connsiteX15" fmla="*/ 72653 w 174018"/>
                  <a:gd name="connsiteY15" fmla="*/ 126943 h 126942"/>
                  <a:gd name="connsiteX16" fmla="*/ 72653 w 174018"/>
                  <a:gd name="connsiteY16" fmla="*/ 51083 h 126942"/>
                  <a:gd name="connsiteX17" fmla="*/ 53269 w 174018"/>
                  <a:gd name="connsiteY17" fmla="*/ 24777 h 126942"/>
                  <a:gd name="connsiteX18" fmla="*/ 28784 w 174018"/>
                  <a:gd name="connsiteY18" fmla="*/ 56694 h 126942"/>
                  <a:gd name="connsiteX19" fmla="*/ 28784 w 174018"/>
                  <a:gd name="connsiteY19" fmla="*/ 126943 h 126942"/>
                  <a:gd name="connsiteX20" fmla="*/ 0 w 174018"/>
                  <a:gd name="connsiteY20" fmla="*/ 126943 h 126942"/>
                  <a:gd name="connsiteX21" fmla="*/ 0 w 174018"/>
                  <a:gd name="connsiteY21" fmla="*/ 2405 h 126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4018" h="126942">
                    <a:moveTo>
                      <a:pt x="146" y="2405"/>
                    </a:moveTo>
                    <a:lnTo>
                      <a:pt x="28055" y="2405"/>
                    </a:lnTo>
                    <a:lnTo>
                      <a:pt x="28055" y="28712"/>
                    </a:lnTo>
                    <a:lnTo>
                      <a:pt x="28493" y="28712"/>
                    </a:lnTo>
                    <a:cubicBezTo>
                      <a:pt x="34323" y="10712"/>
                      <a:pt x="46711" y="0"/>
                      <a:pt x="65293" y="0"/>
                    </a:cubicBezTo>
                    <a:cubicBezTo>
                      <a:pt x="82491" y="0"/>
                      <a:pt x="94660" y="8890"/>
                      <a:pt x="98960" y="28712"/>
                    </a:cubicBezTo>
                    <a:lnTo>
                      <a:pt x="99616" y="28712"/>
                    </a:lnTo>
                    <a:cubicBezTo>
                      <a:pt x="105518" y="8890"/>
                      <a:pt x="120020" y="0"/>
                      <a:pt x="137728" y="0"/>
                    </a:cubicBezTo>
                    <a:cubicBezTo>
                      <a:pt x="162067" y="0"/>
                      <a:pt x="174018" y="14574"/>
                      <a:pt x="174018" y="44306"/>
                    </a:cubicBezTo>
                    <a:lnTo>
                      <a:pt x="174018" y="126943"/>
                    </a:lnTo>
                    <a:lnTo>
                      <a:pt x="145234" y="126943"/>
                    </a:lnTo>
                    <a:lnTo>
                      <a:pt x="145234" y="51083"/>
                    </a:lnTo>
                    <a:cubicBezTo>
                      <a:pt x="145234" y="34687"/>
                      <a:pt x="140424" y="24777"/>
                      <a:pt x="125995" y="24777"/>
                    </a:cubicBezTo>
                    <a:cubicBezTo>
                      <a:pt x="111567" y="24777"/>
                      <a:pt x="101365" y="35926"/>
                      <a:pt x="101365" y="56694"/>
                    </a:cubicBezTo>
                    <a:lnTo>
                      <a:pt x="101365" y="126943"/>
                    </a:lnTo>
                    <a:lnTo>
                      <a:pt x="72653" y="126943"/>
                    </a:lnTo>
                    <a:lnTo>
                      <a:pt x="72653" y="51083"/>
                    </a:lnTo>
                    <a:cubicBezTo>
                      <a:pt x="72653" y="34687"/>
                      <a:pt x="67771" y="24777"/>
                      <a:pt x="53269" y="24777"/>
                    </a:cubicBezTo>
                    <a:cubicBezTo>
                      <a:pt x="38039" y="24777"/>
                      <a:pt x="28784" y="35926"/>
                      <a:pt x="28784" y="56694"/>
                    </a:cubicBezTo>
                    <a:lnTo>
                      <a:pt x="28784" y="126943"/>
                    </a:lnTo>
                    <a:lnTo>
                      <a:pt x="0" y="126943"/>
                    </a:lnTo>
                    <a:lnTo>
                      <a:pt x="0" y="2405"/>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grpSp>
          <p:nvGrpSpPr>
            <p:cNvPr id="1531" name="Graphic 2">
              <a:extLst>
                <a:ext uri="{FF2B5EF4-FFF2-40B4-BE49-F238E27FC236}">
                  <a16:creationId xmlns:a16="http://schemas.microsoft.com/office/drawing/2014/main" id="{7626BCC9-FD12-514C-A4AF-4CE1BBAC8A6D}"/>
                </a:ext>
              </a:extLst>
            </p:cNvPr>
            <p:cNvGrpSpPr/>
            <p:nvPr/>
          </p:nvGrpSpPr>
          <p:grpSpPr>
            <a:xfrm>
              <a:off x="5503495" y="1960142"/>
              <a:ext cx="1271260" cy="162445"/>
              <a:chOff x="5504939" y="1959749"/>
              <a:chExt cx="1271595" cy="162487"/>
            </a:xfrm>
            <a:solidFill>
              <a:srgbClr val="00144A"/>
            </a:solidFill>
          </p:grpSpPr>
          <p:sp>
            <p:nvSpPr>
              <p:cNvPr id="1532" name="Freeform 185">
                <a:extLst>
                  <a:ext uri="{FF2B5EF4-FFF2-40B4-BE49-F238E27FC236}">
                    <a16:creationId xmlns:a16="http://schemas.microsoft.com/office/drawing/2014/main" id="{284E01C0-A484-F3F0-8DBE-1564D01E6555}"/>
                  </a:ext>
                </a:extLst>
              </p:cNvPr>
              <p:cNvSpPr/>
              <p:nvPr/>
            </p:nvSpPr>
            <p:spPr>
              <a:xfrm>
                <a:off x="5504939" y="2017885"/>
                <a:ext cx="75601" cy="98683"/>
              </a:xfrm>
              <a:custGeom>
                <a:avLst/>
                <a:gdLst>
                  <a:gd name="connsiteX0" fmla="*/ 7269 w 75601"/>
                  <a:gd name="connsiteY0" fmla="*/ 89288 h 98683"/>
                  <a:gd name="connsiteX1" fmla="*/ 14338 w 75601"/>
                  <a:gd name="connsiteY1" fmla="*/ 79013 h 98683"/>
                  <a:gd name="connsiteX2" fmla="*/ 42976 w 75601"/>
                  <a:gd name="connsiteY2" fmla="*/ 86592 h 98683"/>
                  <a:gd name="connsiteX3" fmla="*/ 62870 w 75601"/>
                  <a:gd name="connsiteY3" fmla="*/ 66917 h 98683"/>
                  <a:gd name="connsiteX4" fmla="*/ 35907 w 75601"/>
                  <a:gd name="connsiteY4" fmla="*/ 53873 h 98683"/>
                  <a:gd name="connsiteX5" fmla="*/ 492 w 75601"/>
                  <a:gd name="connsiteY5" fmla="*/ 32084 h 98683"/>
                  <a:gd name="connsiteX6" fmla="*/ 28329 w 75601"/>
                  <a:gd name="connsiteY6" fmla="*/ 968 h 98683"/>
                  <a:gd name="connsiteX7" fmla="*/ 62433 w 75601"/>
                  <a:gd name="connsiteY7" fmla="*/ 8473 h 98683"/>
                  <a:gd name="connsiteX8" fmla="*/ 55510 w 75601"/>
                  <a:gd name="connsiteY8" fmla="*/ 18384 h 98683"/>
                  <a:gd name="connsiteX9" fmla="*/ 29640 w 75601"/>
                  <a:gd name="connsiteY9" fmla="*/ 12117 h 98683"/>
                  <a:gd name="connsiteX10" fmla="*/ 12661 w 75601"/>
                  <a:gd name="connsiteY10" fmla="*/ 29388 h 98683"/>
                  <a:gd name="connsiteX11" fmla="*/ 38166 w 75601"/>
                  <a:gd name="connsiteY11" fmla="*/ 41557 h 98683"/>
                  <a:gd name="connsiteX12" fmla="*/ 75112 w 75601"/>
                  <a:gd name="connsiteY12" fmla="*/ 63856 h 98683"/>
                  <a:gd name="connsiteX13" fmla="*/ 44944 w 75601"/>
                  <a:gd name="connsiteY13" fmla="*/ 97596 h 98683"/>
                  <a:gd name="connsiteX14" fmla="*/ 7196 w 75601"/>
                  <a:gd name="connsiteY14" fmla="*/ 89143 h 98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01" h="98683">
                    <a:moveTo>
                      <a:pt x="7269" y="89288"/>
                    </a:moveTo>
                    <a:lnTo>
                      <a:pt x="14338" y="79013"/>
                    </a:lnTo>
                    <a:cubicBezTo>
                      <a:pt x="21187" y="84989"/>
                      <a:pt x="29130" y="89215"/>
                      <a:pt x="42976" y="86592"/>
                    </a:cubicBezTo>
                    <a:cubicBezTo>
                      <a:pt x="55437" y="84260"/>
                      <a:pt x="64838" y="77847"/>
                      <a:pt x="62870" y="66917"/>
                    </a:cubicBezTo>
                    <a:cubicBezTo>
                      <a:pt x="60830" y="55767"/>
                      <a:pt x="48879" y="54747"/>
                      <a:pt x="35907" y="53873"/>
                    </a:cubicBezTo>
                    <a:cubicBezTo>
                      <a:pt x="20823" y="52925"/>
                      <a:pt x="4062" y="51468"/>
                      <a:pt x="492" y="32084"/>
                    </a:cubicBezTo>
                    <a:cubicBezTo>
                      <a:pt x="-2788" y="14230"/>
                      <a:pt x="10767" y="4247"/>
                      <a:pt x="28329" y="968"/>
                    </a:cubicBezTo>
                    <a:cubicBezTo>
                      <a:pt x="43996" y="-1947"/>
                      <a:pt x="54708" y="2061"/>
                      <a:pt x="62433" y="8473"/>
                    </a:cubicBezTo>
                    <a:lnTo>
                      <a:pt x="55510" y="18384"/>
                    </a:lnTo>
                    <a:cubicBezTo>
                      <a:pt x="48879" y="13064"/>
                      <a:pt x="40935" y="10004"/>
                      <a:pt x="29640" y="12117"/>
                    </a:cubicBezTo>
                    <a:cubicBezTo>
                      <a:pt x="16305" y="14595"/>
                      <a:pt x="11277" y="21590"/>
                      <a:pt x="12661" y="29388"/>
                    </a:cubicBezTo>
                    <a:cubicBezTo>
                      <a:pt x="14556" y="39736"/>
                      <a:pt x="25778" y="40610"/>
                      <a:pt x="38166" y="41557"/>
                    </a:cubicBezTo>
                    <a:cubicBezTo>
                      <a:pt x="53834" y="42577"/>
                      <a:pt x="71396" y="43816"/>
                      <a:pt x="75112" y="63856"/>
                    </a:cubicBezTo>
                    <a:cubicBezTo>
                      <a:pt x="78027" y="79596"/>
                      <a:pt x="67898" y="93296"/>
                      <a:pt x="44944" y="97596"/>
                    </a:cubicBezTo>
                    <a:cubicBezTo>
                      <a:pt x="29786" y="100438"/>
                      <a:pt x="16961" y="97742"/>
                      <a:pt x="7196" y="89143"/>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33" name="Freeform 186">
                <a:extLst>
                  <a:ext uri="{FF2B5EF4-FFF2-40B4-BE49-F238E27FC236}">
                    <a16:creationId xmlns:a16="http://schemas.microsoft.com/office/drawing/2014/main" id="{E2710DEB-731E-3209-4D99-33231307BBF6}"/>
                  </a:ext>
                </a:extLst>
              </p:cNvPr>
              <p:cNvSpPr/>
              <p:nvPr/>
            </p:nvSpPr>
            <p:spPr>
              <a:xfrm>
                <a:off x="5589889" y="2023808"/>
                <a:ext cx="69082" cy="79451"/>
              </a:xfrm>
              <a:custGeom>
                <a:avLst/>
                <a:gdLst>
                  <a:gd name="connsiteX0" fmla="*/ 7579 w 69082"/>
                  <a:gd name="connsiteY0" fmla="*/ 57204 h 79451"/>
                  <a:gd name="connsiteX1" fmla="*/ 0 w 69082"/>
                  <a:gd name="connsiteY1" fmla="*/ 9109 h 79451"/>
                  <a:gd name="connsiteX2" fmla="*/ 12024 w 69082"/>
                  <a:gd name="connsiteY2" fmla="*/ 7214 h 79451"/>
                  <a:gd name="connsiteX3" fmla="*/ 19238 w 69082"/>
                  <a:gd name="connsiteY3" fmla="*/ 52978 h 79451"/>
                  <a:gd name="connsiteX4" fmla="*/ 36873 w 69082"/>
                  <a:gd name="connsiteY4" fmla="*/ 67698 h 79451"/>
                  <a:gd name="connsiteX5" fmla="*/ 52249 w 69082"/>
                  <a:gd name="connsiteY5" fmla="*/ 43650 h 79451"/>
                  <a:gd name="connsiteX6" fmla="*/ 45618 w 69082"/>
                  <a:gd name="connsiteY6" fmla="*/ 1895 h 79451"/>
                  <a:gd name="connsiteX7" fmla="*/ 57641 w 69082"/>
                  <a:gd name="connsiteY7" fmla="*/ 0 h 79451"/>
                  <a:gd name="connsiteX8" fmla="*/ 69082 w 69082"/>
                  <a:gd name="connsiteY8" fmla="*/ 72143 h 79451"/>
                  <a:gd name="connsiteX9" fmla="*/ 57641 w 69082"/>
                  <a:gd name="connsiteY9" fmla="*/ 73965 h 79451"/>
                  <a:gd name="connsiteX10" fmla="*/ 55237 w 69082"/>
                  <a:gd name="connsiteY10" fmla="*/ 58953 h 79451"/>
                  <a:gd name="connsiteX11" fmla="*/ 54945 w 69082"/>
                  <a:gd name="connsiteY11" fmla="*/ 58953 h 79451"/>
                  <a:gd name="connsiteX12" fmla="*/ 34177 w 69082"/>
                  <a:gd name="connsiteY12" fmla="*/ 79066 h 79451"/>
                  <a:gd name="connsiteX13" fmla="*/ 7579 w 69082"/>
                  <a:gd name="connsiteY13" fmla="*/ 57277 h 7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82" h="79451">
                    <a:moveTo>
                      <a:pt x="7579" y="57204"/>
                    </a:moveTo>
                    <a:lnTo>
                      <a:pt x="0" y="9109"/>
                    </a:lnTo>
                    <a:lnTo>
                      <a:pt x="12024" y="7214"/>
                    </a:lnTo>
                    <a:lnTo>
                      <a:pt x="19238" y="52978"/>
                    </a:lnTo>
                    <a:cubicBezTo>
                      <a:pt x="20914" y="63471"/>
                      <a:pt x="25796" y="69447"/>
                      <a:pt x="36873" y="67698"/>
                    </a:cubicBezTo>
                    <a:cubicBezTo>
                      <a:pt x="48241" y="65876"/>
                      <a:pt x="54362" y="57204"/>
                      <a:pt x="52249" y="43650"/>
                    </a:cubicBezTo>
                    <a:lnTo>
                      <a:pt x="45618" y="1895"/>
                    </a:lnTo>
                    <a:lnTo>
                      <a:pt x="57641" y="0"/>
                    </a:lnTo>
                    <a:lnTo>
                      <a:pt x="69082" y="72143"/>
                    </a:lnTo>
                    <a:lnTo>
                      <a:pt x="57641" y="73965"/>
                    </a:lnTo>
                    <a:lnTo>
                      <a:pt x="55237" y="58953"/>
                    </a:lnTo>
                    <a:lnTo>
                      <a:pt x="54945" y="58953"/>
                    </a:lnTo>
                    <a:cubicBezTo>
                      <a:pt x="53269" y="66896"/>
                      <a:pt x="48678" y="76734"/>
                      <a:pt x="34177" y="79066"/>
                    </a:cubicBezTo>
                    <a:cubicBezTo>
                      <a:pt x="18874" y="81471"/>
                      <a:pt x="9983" y="72435"/>
                      <a:pt x="7579" y="57277"/>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34" name="Freeform 187">
                <a:extLst>
                  <a:ext uri="{FF2B5EF4-FFF2-40B4-BE49-F238E27FC236}">
                    <a16:creationId xmlns:a16="http://schemas.microsoft.com/office/drawing/2014/main" id="{E7156780-9CC0-EDC5-EAE5-2CF0F5CE613E}"/>
                  </a:ext>
                </a:extLst>
              </p:cNvPr>
              <p:cNvSpPr/>
              <p:nvPr/>
            </p:nvSpPr>
            <p:spPr>
              <a:xfrm>
                <a:off x="5670194" y="2013522"/>
                <a:ext cx="75987" cy="107861"/>
              </a:xfrm>
              <a:custGeom>
                <a:avLst/>
                <a:gdLst>
                  <a:gd name="connsiteX0" fmla="*/ 73 w 75987"/>
                  <a:gd name="connsiteY0" fmla="*/ 6788 h 107861"/>
                  <a:gd name="connsiteX1" fmla="*/ 11587 w 75987"/>
                  <a:gd name="connsiteY1" fmla="*/ 5258 h 107861"/>
                  <a:gd name="connsiteX2" fmla="*/ 13627 w 75987"/>
                  <a:gd name="connsiteY2" fmla="*/ 20634 h 107861"/>
                  <a:gd name="connsiteX3" fmla="*/ 13773 w 75987"/>
                  <a:gd name="connsiteY3" fmla="*/ 20634 h 107861"/>
                  <a:gd name="connsiteX4" fmla="*/ 38695 w 75987"/>
                  <a:gd name="connsiteY4" fmla="*/ 303 h 107861"/>
                  <a:gd name="connsiteX5" fmla="*/ 75496 w 75987"/>
                  <a:gd name="connsiteY5" fmla="*/ 33751 h 107861"/>
                  <a:gd name="connsiteX6" fmla="*/ 48970 w 75987"/>
                  <a:gd name="connsiteY6" fmla="*/ 75507 h 107861"/>
                  <a:gd name="connsiteX7" fmla="*/ 20113 w 75987"/>
                  <a:gd name="connsiteY7" fmla="*/ 63118 h 107861"/>
                  <a:gd name="connsiteX8" fmla="*/ 19748 w 75987"/>
                  <a:gd name="connsiteY8" fmla="*/ 63118 h 107861"/>
                  <a:gd name="connsiteX9" fmla="*/ 25360 w 75987"/>
                  <a:gd name="connsiteY9" fmla="*/ 106259 h 107861"/>
                  <a:gd name="connsiteX10" fmla="*/ 13263 w 75987"/>
                  <a:gd name="connsiteY10" fmla="*/ 107862 h 107861"/>
                  <a:gd name="connsiteX11" fmla="*/ 0 w 75987"/>
                  <a:gd name="connsiteY11" fmla="*/ 6788 h 107861"/>
                  <a:gd name="connsiteX12" fmla="*/ 43432 w 75987"/>
                  <a:gd name="connsiteY12" fmla="*/ 65742 h 107861"/>
                  <a:gd name="connsiteX13" fmla="*/ 62816 w 75987"/>
                  <a:gd name="connsiteY13" fmla="*/ 35354 h 107861"/>
                  <a:gd name="connsiteX14" fmla="*/ 36290 w 75987"/>
                  <a:gd name="connsiteY14" fmla="*/ 11088 h 107861"/>
                  <a:gd name="connsiteX15" fmla="*/ 16833 w 75987"/>
                  <a:gd name="connsiteY15" fmla="*/ 41402 h 107861"/>
                  <a:gd name="connsiteX16" fmla="*/ 43432 w 75987"/>
                  <a:gd name="connsiteY16" fmla="*/ 65742 h 107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5987" h="107861">
                    <a:moveTo>
                      <a:pt x="73" y="6788"/>
                    </a:moveTo>
                    <a:lnTo>
                      <a:pt x="11587" y="5258"/>
                    </a:lnTo>
                    <a:lnTo>
                      <a:pt x="13627" y="20634"/>
                    </a:lnTo>
                    <a:lnTo>
                      <a:pt x="13773" y="20634"/>
                    </a:lnTo>
                    <a:cubicBezTo>
                      <a:pt x="16178" y="11671"/>
                      <a:pt x="22153" y="2489"/>
                      <a:pt x="38695" y="303"/>
                    </a:cubicBezTo>
                    <a:cubicBezTo>
                      <a:pt x="57933" y="-2248"/>
                      <a:pt x="72581" y="11525"/>
                      <a:pt x="75496" y="33751"/>
                    </a:cubicBezTo>
                    <a:cubicBezTo>
                      <a:pt x="78410" y="55977"/>
                      <a:pt x="68208" y="72956"/>
                      <a:pt x="48970" y="75507"/>
                    </a:cubicBezTo>
                    <a:cubicBezTo>
                      <a:pt x="34396" y="77401"/>
                      <a:pt x="24923" y="71134"/>
                      <a:pt x="20113" y="63118"/>
                    </a:cubicBezTo>
                    <a:lnTo>
                      <a:pt x="19748" y="63118"/>
                    </a:lnTo>
                    <a:cubicBezTo>
                      <a:pt x="19748" y="63118"/>
                      <a:pt x="25360" y="106259"/>
                      <a:pt x="25360" y="106259"/>
                    </a:cubicBezTo>
                    <a:lnTo>
                      <a:pt x="13263" y="107862"/>
                    </a:lnTo>
                    <a:lnTo>
                      <a:pt x="0" y="6788"/>
                    </a:lnTo>
                    <a:close/>
                    <a:moveTo>
                      <a:pt x="43432" y="65742"/>
                    </a:moveTo>
                    <a:cubicBezTo>
                      <a:pt x="56330" y="64066"/>
                      <a:pt x="65147" y="53572"/>
                      <a:pt x="62816" y="35354"/>
                    </a:cubicBezTo>
                    <a:cubicBezTo>
                      <a:pt x="60411" y="17282"/>
                      <a:pt x="49189" y="9412"/>
                      <a:pt x="36290" y="11088"/>
                    </a:cubicBezTo>
                    <a:cubicBezTo>
                      <a:pt x="23319" y="12764"/>
                      <a:pt x="14502" y="23257"/>
                      <a:pt x="16833" y="41402"/>
                    </a:cubicBezTo>
                    <a:cubicBezTo>
                      <a:pt x="19238" y="59548"/>
                      <a:pt x="30461" y="67418"/>
                      <a:pt x="43432" y="65742"/>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35" name="Freeform 188">
                <a:extLst>
                  <a:ext uri="{FF2B5EF4-FFF2-40B4-BE49-F238E27FC236}">
                    <a16:creationId xmlns:a16="http://schemas.microsoft.com/office/drawing/2014/main" id="{7BDD2ECB-EAC5-9AB9-DDE0-7DA98FA9EBC0}"/>
                  </a:ext>
                </a:extLst>
              </p:cNvPr>
              <p:cNvSpPr/>
              <p:nvPr/>
            </p:nvSpPr>
            <p:spPr>
              <a:xfrm>
                <a:off x="5759243" y="2003137"/>
                <a:ext cx="74938" cy="107024"/>
              </a:xfrm>
              <a:custGeom>
                <a:avLst/>
                <a:gdLst>
                  <a:gd name="connsiteX0" fmla="*/ 0 w 74938"/>
                  <a:gd name="connsiteY0" fmla="*/ 5733 h 107024"/>
                  <a:gd name="connsiteX1" fmla="*/ 11586 w 74938"/>
                  <a:gd name="connsiteY1" fmla="*/ 4494 h 107024"/>
                  <a:gd name="connsiteX2" fmla="*/ 13190 w 74938"/>
                  <a:gd name="connsiteY2" fmla="*/ 19870 h 107024"/>
                  <a:gd name="connsiteX3" fmla="*/ 13336 w 74938"/>
                  <a:gd name="connsiteY3" fmla="*/ 19870 h 107024"/>
                  <a:gd name="connsiteX4" fmla="*/ 38768 w 74938"/>
                  <a:gd name="connsiteY4" fmla="*/ 194 h 107024"/>
                  <a:gd name="connsiteX5" fmla="*/ 74621 w 74938"/>
                  <a:gd name="connsiteY5" fmla="*/ 34590 h 107024"/>
                  <a:gd name="connsiteX6" fmla="*/ 47002 w 74938"/>
                  <a:gd name="connsiteY6" fmla="*/ 75617 h 107024"/>
                  <a:gd name="connsiteX7" fmla="*/ 18509 w 74938"/>
                  <a:gd name="connsiteY7" fmla="*/ 62500 h 107024"/>
                  <a:gd name="connsiteX8" fmla="*/ 18145 w 74938"/>
                  <a:gd name="connsiteY8" fmla="*/ 62500 h 107024"/>
                  <a:gd name="connsiteX9" fmla="*/ 22663 w 74938"/>
                  <a:gd name="connsiteY9" fmla="*/ 105785 h 107024"/>
                  <a:gd name="connsiteX10" fmla="*/ 10567 w 74938"/>
                  <a:gd name="connsiteY10" fmla="*/ 107024 h 107024"/>
                  <a:gd name="connsiteX11" fmla="*/ 0 w 74938"/>
                  <a:gd name="connsiteY11" fmla="*/ 5660 h 107024"/>
                  <a:gd name="connsiteX12" fmla="*/ 41828 w 74938"/>
                  <a:gd name="connsiteY12" fmla="*/ 65852 h 107024"/>
                  <a:gd name="connsiteX13" fmla="*/ 61941 w 74938"/>
                  <a:gd name="connsiteY13" fmla="*/ 36047 h 107024"/>
                  <a:gd name="connsiteX14" fmla="*/ 36072 w 74938"/>
                  <a:gd name="connsiteY14" fmla="*/ 11052 h 107024"/>
                  <a:gd name="connsiteX15" fmla="*/ 15813 w 74938"/>
                  <a:gd name="connsiteY15" fmla="*/ 40857 h 107024"/>
                  <a:gd name="connsiteX16" fmla="*/ 41755 w 74938"/>
                  <a:gd name="connsiteY16" fmla="*/ 65925 h 107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38" h="107024">
                    <a:moveTo>
                      <a:pt x="0" y="5733"/>
                    </a:moveTo>
                    <a:lnTo>
                      <a:pt x="11586" y="4494"/>
                    </a:lnTo>
                    <a:lnTo>
                      <a:pt x="13190" y="19870"/>
                    </a:lnTo>
                    <a:lnTo>
                      <a:pt x="13336" y="19870"/>
                    </a:lnTo>
                    <a:cubicBezTo>
                      <a:pt x="15959" y="10979"/>
                      <a:pt x="22226" y="1943"/>
                      <a:pt x="38768" y="194"/>
                    </a:cubicBezTo>
                    <a:cubicBezTo>
                      <a:pt x="58079" y="-1846"/>
                      <a:pt x="72362" y="12364"/>
                      <a:pt x="74621" y="34590"/>
                    </a:cubicBezTo>
                    <a:cubicBezTo>
                      <a:pt x="76953" y="56961"/>
                      <a:pt x="66313" y="73576"/>
                      <a:pt x="47002" y="75617"/>
                    </a:cubicBezTo>
                    <a:cubicBezTo>
                      <a:pt x="32428" y="77147"/>
                      <a:pt x="23100" y="70661"/>
                      <a:pt x="18509" y="62500"/>
                    </a:cubicBezTo>
                    <a:lnTo>
                      <a:pt x="18145" y="62500"/>
                    </a:lnTo>
                    <a:cubicBezTo>
                      <a:pt x="18145" y="62500"/>
                      <a:pt x="22663" y="105785"/>
                      <a:pt x="22663" y="105785"/>
                    </a:cubicBezTo>
                    <a:lnTo>
                      <a:pt x="10567" y="107024"/>
                    </a:lnTo>
                    <a:lnTo>
                      <a:pt x="0" y="5660"/>
                    </a:lnTo>
                    <a:close/>
                    <a:moveTo>
                      <a:pt x="41828" y="65852"/>
                    </a:moveTo>
                    <a:cubicBezTo>
                      <a:pt x="54727" y="64540"/>
                      <a:pt x="63909" y="54265"/>
                      <a:pt x="61941" y="36047"/>
                    </a:cubicBezTo>
                    <a:cubicBezTo>
                      <a:pt x="60046" y="17902"/>
                      <a:pt x="48970" y="9740"/>
                      <a:pt x="36072" y="11052"/>
                    </a:cubicBezTo>
                    <a:cubicBezTo>
                      <a:pt x="23100" y="12437"/>
                      <a:pt x="13918" y="22639"/>
                      <a:pt x="15813" y="40857"/>
                    </a:cubicBezTo>
                    <a:cubicBezTo>
                      <a:pt x="17708" y="59075"/>
                      <a:pt x="28784" y="67236"/>
                      <a:pt x="41755" y="6592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36" name="Freeform 189">
                <a:extLst>
                  <a:ext uri="{FF2B5EF4-FFF2-40B4-BE49-F238E27FC236}">
                    <a16:creationId xmlns:a16="http://schemas.microsoft.com/office/drawing/2014/main" id="{18DB3008-8EE4-D67B-C5B0-ED7ED3C8C1C5}"/>
                  </a:ext>
                </a:extLst>
              </p:cNvPr>
              <p:cNvSpPr/>
              <p:nvPr/>
            </p:nvSpPr>
            <p:spPr>
              <a:xfrm>
                <a:off x="5845378" y="1971923"/>
                <a:ext cx="33885" cy="100900"/>
              </a:xfrm>
              <a:custGeom>
                <a:avLst/>
                <a:gdLst>
                  <a:gd name="connsiteX0" fmla="*/ 6995 w 33885"/>
                  <a:gd name="connsiteY0" fmla="*/ 84531 h 100900"/>
                  <a:gd name="connsiteX1" fmla="*/ 0 w 33885"/>
                  <a:gd name="connsiteY1" fmla="*/ 1020 h 100900"/>
                  <a:gd name="connsiteX2" fmla="*/ 12097 w 33885"/>
                  <a:gd name="connsiteY2" fmla="*/ 0 h 100900"/>
                  <a:gd name="connsiteX3" fmla="*/ 18947 w 33885"/>
                  <a:gd name="connsiteY3" fmla="*/ 81616 h 100900"/>
                  <a:gd name="connsiteX4" fmla="*/ 26598 w 33885"/>
                  <a:gd name="connsiteY4" fmla="*/ 89560 h 100900"/>
                  <a:gd name="connsiteX5" fmla="*/ 33011 w 33885"/>
                  <a:gd name="connsiteY5" fmla="*/ 88175 h 100900"/>
                  <a:gd name="connsiteX6" fmla="*/ 33885 w 33885"/>
                  <a:gd name="connsiteY6" fmla="*/ 98960 h 100900"/>
                  <a:gd name="connsiteX7" fmla="*/ 25141 w 33885"/>
                  <a:gd name="connsiteY7" fmla="*/ 100782 h 100900"/>
                  <a:gd name="connsiteX8" fmla="*/ 6923 w 33885"/>
                  <a:gd name="connsiteY8" fmla="*/ 84531 h 10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885" h="100900">
                    <a:moveTo>
                      <a:pt x="6995" y="84531"/>
                    </a:moveTo>
                    <a:lnTo>
                      <a:pt x="0" y="1020"/>
                    </a:lnTo>
                    <a:lnTo>
                      <a:pt x="12097" y="0"/>
                    </a:lnTo>
                    <a:lnTo>
                      <a:pt x="18947" y="81616"/>
                    </a:lnTo>
                    <a:cubicBezTo>
                      <a:pt x="19530" y="88248"/>
                      <a:pt x="21206" y="90070"/>
                      <a:pt x="26598" y="89560"/>
                    </a:cubicBezTo>
                    <a:cubicBezTo>
                      <a:pt x="29076" y="89341"/>
                      <a:pt x="31043" y="88685"/>
                      <a:pt x="33011" y="88175"/>
                    </a:cubicBezTo>
                    <a:lnTo>
                      <a:pt x="33885" y="98960"/>
                    </a:lnTo>
                    <a:cubicBezTo>
                      <a:pt x="31553" y="99834"/>
                      <a:pt x="28347" y="100490"/>
                      <a:pt x="25141" y="100782"/>
                    </a:cubicBezTo>
                    <a:cubicBezTo>
                      <a:pt x="13117" y="101802"/>
                      <a:pt x="7943" y="96264"/>
                      <a:pt x="6923" y="8453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37" name="Freeform 190">
                <a:extLst>
                  <a:ext uri="{FF2B5EF4-FFF2-40B4-BE49-F238E27FC236}">
                    <a16:creationId xmlns:a16="http://schemas.microsoft.com/office/drawing/2014/main" id="{93CA47A1-07CC-F719-21D1-BBEBEF63413B}"/>
                  </a:ext>
                </a:extLst>
              </p:cNvPr>
              <p:cNvSpPr/>
              <p:nvPr/>
            </p:nvSpPr>
            <p:spPr>
              <a:xfrm>
                <a:off x="5877150" y="1993056"/>
                <a:ext cx="68645" cy="106895"/>
              </a:xfrm>
              <a:custGeom>
                <a:avLst/>
                <a:gdLst>
                  <a:gd name="connsiteX0" fmla="*/ 10858 w 68645"/>
                  <a:gd name="connsiteY0" fmla="*/ 106757 h 106895"/>
                  <a:gd name="connsiteX1" fmla="*/ 10202 w 68645"/>
                  <a:gd name="connsiteY1" fmla="*/ 96264 h 106895"/>
                  <a:gd name="connsiteX2" fmla="*/ 17052 w 68645"/>
                  <a:gd name="connsiteY2" fmla="*/ 96628 h 106895"/>
                  <a:gd name="connsiteX3" fmla="*/ 30679 w 68645"/>
                  <a:gd name="connsiteY3" fmla="*/ 85916 h 106895"/>
                  <a:gd name="connsiteX4" fmla="*/ 33886 w 68645"/>
                  <a:gd name="connsiteY4" fmla="*/ 75349 h 106895"/>
                  <a:gd name="connsiteX5" fmla="*/ 0 w 68645"/>
                  <a:gd name="connsiteY5" fmla="*/ 4518 h 106895"/>
                  <a:gd name="connsiteX6" fmla="*/ 12971 w 68645"/>
                  <a:gd name="connsiteY6" fmla="*/ 3644 h 106895"/>
                  <a:gd name="connsiteX7" fmla="*/ 31189 w 68645"/>
                  <a:gd name="connsiteY7" fmla="*/ 42994 h 106895"/>
                  <a:gd name="connsiteX8" fmla="*/ 38914 w 68645"/>
                  <a:gd name="connsiteY8" fmla="*/ 61504 h 106895"/>
                  <a:gd name="connsiteX9" fmla="*/ 44233 w 68645"/>
                  <a:gd name="connsiteY9" fmla="*/ 43359 h 106895"/>
                  <a:gd name="connsiteX10" fmla="*/ 55747 w 68645"/>
                  <a:gd name="connsiteY10" fmla="*/ 874 h 106895"/>
                  <a:gd name="connsiteX11" fmla="*/ 68645 w 68645"/>
                  <a:gd name="connsiteY11" fmla="*/ 0 h 106895"/>
                  <a:gd name="connsiteX12" fmla="*/ 40736 w 68645"/>
                  <a:gd name="connsiteY12" fmla="*/ 89268 h 106895"/>
                  <a:gd name="connsiteX13" fmla="*/ 18728 w 68645"/>
                  <a:gd name="connsiteY13" fmla="*/ 106757 h 106895"/>
                  <a:gd name="connsiteX14" fmla="*/ 10931 w 68645"/>
                  <a:gd name="connsiteY14" fmla="*/ 106757 h 106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645" h="106895">
                    <a:moveTo>
                      <a:pt x="10858" y="106757"/>
                    </a:moveTo>
                    <a:lnTo>
                      <a:pt x="10202" y="96264"/>
                    </a:lnTo>
                    <a:cubicBezTo>
                      <a:pt x="11951" y="96701"/>
                      <a:pt x="14428" y="96774"/>
                      <a:pt x="17052" y="96628"/>
                    </a:cubicBezTo>
                    <a:cubicBezTo>
                      <a:pt x="25505" y="96045"/>
                      <a:pt x="28566" y="92693"/>
                      <a:pt x="30679" y="85916"/>
                    </a:cubicBezTo>
                    <a:lnTo>
                      <a:pt x="33886" y="75349"/>
                    </a:lnTo>
                    <a:lnTo>
                      <a:pt x="0" y="4518"/>
                    </a:lnTo>
                    <a:lnTo>
                      <a:pt x="12971" y="3644"/>
                    </a:lnTo>
                    <a:lnTo>
                      <a:pt x="31189" y="42994"/>
                    </a:lnTo>
                    <a:cubicBezTo>
                      <a:pt x="33594" y="48387"/>
                      <a:pt x="38404" y="59974"/>
                      <a:pt x="38914" y="61504"/>
                    </a:cubicBezTo>
                    <a:cubicBezTo>
                      <a:pt x="39351" y="59609"/>
                      <a:pt x="42703" y="49043"/>
                      <a:pt x="44233" y="43359"/>
                    </a:cubicBezTo>
                    <a:lnTo>
                      <a:pt x="55747" y="874"/>
                    </a:lnTo>
                    <a:lnTo>
                      <a:pt x="68645" y="0"/>
                    </a:lnTo>
                    <a:lnTo>
                      <a:pt x="40736" y="89268"/>
                    </a:lnTo>
                    <a:cubicBezTo>
                      <a:pt x="37456" y="99835"/>
                      <a:pt x="32938" y="105883"/>
                      <a:pt x="18728" y="106757"/>
                    </a:cubicBezTo>
                    <a:cubicBezTo>
                      <a:pt x="15668" y="106976"/>
                      <a:pt x="12898" y="106903"/>
                      <a:pt x="10931" y="106757"/>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38" name="Freeform 191">
                <a:extLst>
                  <a:ext uri="{FF2B5EF4-FFF2-40B4-BE49-F238E27FC236}">
                    <a16:creationId xmlns:a16="http://schemas.microsoft.com/office/drawing/2014/main" id="{D74CCD88-7895-3C09-5614-B8407BBAD6E7}"/>
                  </a:ext>
                </a:extLst>
              </p:cNvPr>
              <p:cNvSpPr/>
              <p:nvPr/>
            </p:nvSpPr>
            <p:spPr>
              <a:xfrm>
                <a:off x="5990758" y="1988294"/>
                <a:ext cx="64491" cy="75909"/>
              </a:xfrm>
              <a:custGeom>
                <a:avLst/>
                <a:gdLst>
                  <a:gd name="connsiteX0" fmla="*/ 72 w 64491"/>
                  <a:gd name="connsiteY0" fmla="*/ 39085 h 75909"/>
                  <a:gd name="connsiteX1" fmla="*/ 33958 w 64491"/>
                  <a:gd name="connsiteY1" fmla="*/ 25 h 75909"/>
                  <a:gd name="connsiteX2" fmla="*/ 62961 w 64491"/>
                  <a:gd name="connsiteY2" fmla="*/ 12997 h 75909"/>
                  <a:gd name="connsiteX3" fmla="*/ 54581 w 64491"/>
                  <a:gd name="connsiteY3" fmla="*/ 20211 h 75909"/>
                  <a:gd name="connsiteX4" fmla="*/ 34541 w 64491"/>
                  <a:gd name="connsiteY4" fmla="*/ 10446 h 75909"/>
                  <a:gd name="connsiteX5" fmla="*/ 12753 w 64491"/>
                  <a:gd name="connsiteY5" fmla="*/ 38720 h 75909"/>
                  <a:gd name="connsiteX6" fmla="*/ 36363 w 64491"/>
                  <a:gd name="connsiteY6" fmla="*/ 65537 h 75909"/>
                  <a:gd name="connsiteX7" fmla="*/ 55674 w 64491"/>
                  <a:gd name="connsiteY7" fmla="*/ 54461 h 75909"/>
                  <a:gd name="connsiteX8" fmla="*/ 64491 w 64491"/>
                  <a:gd name="connsiteY8" fmla="*/ 61092 h 75909"/>
                  <a:gd name="connsiteX9" fmla="*/ 36436 w 64491"/>
                  <a:gd name="connsiteY9" fmla="*/ 75885 h 75909"/>
                  <a:gd name="connsiteX10" fmla="*/ 0 w 64491"/>
                  <a:gd name="connsiteY10" fmla="*/ 39085 h 7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491" h="75909">
                    <a:moveTo>
                      <a:pt x="72" y="39085"/>
                    </a:moveTo>
                    <a:cubicBezTo>
                      <a:pt x="-729" y="14454"/>
                      <a:pt x="14064" y="681"/>
                      <a:pt x="33958" y="25"/>
                    </a:cubicBezTo>
                    <a:cubicBezTo>
                      <a:pt x="47002" y="-412"/>
                      <a:pt x="56913" y="4835"/>
                      <a:pt x="62961" y="12997"/>
                    </a:cubicBezTo>
                    <a:lnTo>
                      <a:pt x="54581" y="20211"/>
                    </a:lnTo>
                    <a:cubicBezTo>
                      <a:pt x="49917" y="13871"/>
                      <a:pt x="43577" y="10154"/>
                      <a:pt x="34541" y="10446"/>
                    </a:cubicBezTo>
                    <a:cubicBezTo>
                      <a:pt x="21206" y="10883"/>
                      <a:pt x="12097" y="20429"/>
                      <a:pt x="12753" y="38720"/>
                    </a:cubicBezTo>
                    <a:cubicBezTo>
                      <a:pt x="13335" y="57011"/>
                      <a:pt x="23027" y="65974"/>
                      <a:pt x="36363" y="65537"/>
                    </a:cubicBezTo>
                    <a:cubicBezTo>
                      <a:pt x="45326" y="65246"/>
                      <a:pt x="51448" y="61092"/>
                      <a:pt x="55674" y="54461"/>
                    </a:cubicBezTo>
                    <a:lnTo>
                      <a:pt x="64491" y="61092"/>
                    </a:lnTo>
                    <a:cubicBezTo>
                      <a:pt x="59026" y="69691"/>
                      <a:pt x="49480" y="75448"/>
                      <a:pt x="36436" y="75885"/>
                    </a:cubicBezTo>
                    <a:cubicBezTo>
                      <a:pt x="16469" y="76541"/>
                      <a:pt x="874" y="63788"/>
                      <a:pt x="0" y="3908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39" name="Freeform 192">
                <a:extLst>
                  <a:ext uri="{FF2B5EF4-FFF2-40B4-BE49-F238E27FC236}">
                    <a16:creationId xmlns:a16="http://schemas.microsoft.com/office/drawing/2014/main" id="{1B5F76DD-948F-A0D8-D6FC-C566BF10023E}"/>
                  </a:ext>
                </a:extLst>
              </p:cNvPr>
              <p:cNvSpPr/>
              <p:nvPr/>
            </p:nvSpPr>
            <p:spPr>
              <a:xfrm>
                <a:off x="6067564" y="1961065"/>
                <a:ext cx="59536" cy="100636"/>
              </a:xfrm>
              <a:custGeom>
                <a:avLst/>
                <a:gdLst>
                  <a:gd name="connsiteX0" fmla="*/ 0 w 59536"/>
                  <a:gd name="connsiteY0" fmla="*/ 146 h 100636"/>
                  <a:gd name="connsiteX1" fmla="*/ 12169 w 59536"/>
                  <a:gd name="connsiteY1" fmla="*/ 0 h 100636"/>
                  <a:gd name="connsiteX2" fmla="*/ 12607 w 59536"/>
                  <a:gd name="connsiteY2" fmla="*/ 42484 h 100636"/>
                  <a:gd name="connsiteX3" fmla="*/ 12971 w 59536"/>
                  <a:gd name="connsiteY3" fmla="*/ 42484 h 100636"/>
                  <a:gd name="connsiteX4" fmla="*/ 35926 w 59536"/>
                  <a:gd name="connsiteY4" fmla="*/ 25651 h 100636"/>
                  <a:gd name="connsiteX5" fmla="*/ 59026 w 59536"/>
                  <a:gd name="connsiteY5" fmla="*/ 51156 h 100636"/>
                  <a:gd name="connsiteX6" fmla="*/ 59536 w 59536"/>
                  <a:gd name="connsiteY6" fmla="*/ 99907 h 100636"/>
                  <a:gd name="connsiteX7" fmla="*/ 47294 w 59536"/>
                  <a:gd name="connsiteY7" fmla="*/ 100053 h 100636"/>
                  <a:gd name="connsiteX8" fmla="*/ 46857 w 59536"/>
                  <a:gd name="connsiteY8" fmla="*/ 53707 h 100636"/>
                  <a:gd name="connsiteX9" fmla="*/ 31626 w 59536"/>
                  <a:gd name="connsiteY9" fmla="*/ 36582 h 100636"/>
                  <a:gd name="connsiteX10" fmla="*/ 12826 w 59536"/>
                  <a:gd name="connsiteY10" fmla="*/ 58079 h 100636"/>
                  <a:gd name="connsiteX11" fmla="*/ 13263 w 59536"/>
                  <a:gd name="connsiteY11" fmla="*/ 100490 h 100636"/>
                  <a:gd name="connsiteX12" fmla="*/ 1093 w 59536"/>
                  <a:gd name="connsiteY12" fmla="*/ 100636 h 100636"/>
                  <a:gd name="connsiteX13" fmla="*/ 73 w 59536"/>
                  <a:gd name="connsiteY13" fmla="*/ 219 h 100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536" h="100636">
                    <a:moveTo>
                      <a:pt x="0" y="146"/>
                    </a:moveTo>
                    <a:lnTo>
                      <a:pt x="12169" y="0"/>
                    </a:lnTo>
                    <a:lnTo>
                      <a:pt x="12607" y="42484"/>
                    </a:lnTo>
                    <a:lnTo>
                      <a:pt x="12971" y="42484"/>
                    </a:lnTo>
                    <a:cubicBezTo>
                      <a:pt x="15668" y="34031"/>
                      <a:pt x="22080" y="25797"/>
                      <a:pt x="35926" y="25651"/>
                    </a:cubicBezTo>
                    <a:cubicBezTo>
                      <a:pt x="51375" y="25505"/>
                      <a:pt x="58881" y="35853"/>
                      <a:pt x="59026" y="51156"/>
                    </a:cubicBezTo>
                    <a:lnTo>
                      <a:pt x="59536" y="99907"/>
                    </a:lnTo>
                    <a:lnTo>
                      <a:pt x="47294" y="100053"/>
                    </a:lnTo>
                    <a:lnTo>
                      <a:pt x="46857" y="53707"/>
                    </a:lnTo>
                    <a:cubicBezTo>
                      <a:pt x="46784" y="42994"/>
                      <a:pt x="42849" y="36436"/>
                      <a:pt x="31626" y="36582"/>
                    </a:cubicBezTo>
                    <a:cubicBezTo>
                      <a:pt x="20113" y="36727"/>
                      <a:pt x="12680" y="44379"/>
                      <a:pt x="12826" y="58079"/>
                    </a:cubicBezTo>
                    <a:lnTo>
                      <a:pt x="13263" y="100490"/>
                    </a:lnTo>
                    <a:lnTo>
                      <a:pt x="1093" y="100636"/>
                    </a:lnTo>
                    <a:lnTo>
                      <a:pt x="73" y="219"/>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40" name="Freeform 193">
                <a:extLst>
                  <a:ext uri="{FF2B5EF4-FFF2-40B4-BE49-F238E27FC236}">
                    <a16:creationId xmlns:a16="http://schemas.microsoft.com/office/drawing/2014/main" id="{407B9EA9-37F7-0BFF-3263-486B8E18329F}"/>
                  </a:ext>
                </a:extLst>
              </p:cNvPr>
              <p:cNvSpPr/>
              <p:nvPr/>
            </p:nvSpPr>
            <p:spPr>
              <a:xfrm>
                <a:off x="6144294" y="1987075"/>
                <a:ext cx="58888" cy="75723"/>
              </a:xfrm>
              <a:custGeom>
                <a:avLst/>
                <a:gdLst>
                  <a:gd name="connsiteX0" fmla="*/ 77 w 58888"/>
                  <a:gd name="connsiteY0" fmla="*/ 54077 h 75723"/>
                  <a:gd name="connsiteX1" fmla="*/ 33671 w 58888"/>
                  <a:gd name="connsiteY1" fmla="*/ 31049 h 75723"/>
                  <a:gd name="connsiteX2" fmla="*/ 46642 w 58888"/>
                  <a:gd name="connsiteY2" fmla="*/ 31268 h 75723"/>
                  <a:gd name="connsiteX3" fmla="*/ 46642 w 58888"/>
                  <a:gd name="connsiteY3" fmla="*/ 26239 h 75723"/>
                  <a:gd name="connsiteX4" fmla="*/ 32141 w 58888"/>
                  <a:gd name="connsiteY4" fmla="*/ 10281 h 75723"/>
                  <a:gd name="connsiteX5" fmla="*/ 11299 w 58888"/>
                  <a:gd name="connsiteY5" fmla="*/ 20628 h 75723"/>
                  <a:gd name="connsiteX6" fmla="*/ 3575 w 58888"/>
                  <a:gd name="connsiteY6" fmla="*/ 12685 h 75723"/>
                  <a:gd name="connsiteX7" fmla="*/ 33088 w 58888"/>
                  <a:gd name="connsiteY7" fmla="*/ 6 h 75723"/>
                  <a:gd name="connsiteX8" fmla="*/ 58884 w 58888"/>
                  <a:gd name="connsiteY8" fmla="*/ 26385 h 75723"/>
                  <a:gd name="connsiteX9" fmla="*/ 58156 w 58888"/>
                  <a:gd name="connsiteY9" fmla="*/ 74845 h 75723"/>
                  <a:gd name="connsiteX10" fmla="*/ 46496 w 58888"/>
                  <a:gd name="connsiteY10" fmla="*/ 74699 h 75723"/>
                  <a:gd name="connsiteX11" fmla="*/ 46715 w 58888"/>
                  <a:gd name="connsiteY11" fmla="*/ 61145 h 75723"/>
                  <a:gd name="connsiteX12" fmla="*/ 46424 w 58888"/>
                  <a:gd name="connsiteY12" fmla="*/ 61145 h 75723"/>
                  <a:gd name="connsiteX13" fmla="*/ 22011 w 58888"/>
                  <a:gd name="connsiteY13" fmla="*/ 75720 h 75723"/>
                  <a:gd name="connsiteX14" fmla="*/ 4 w 58888"/>
                  <a:gd name="connsiteY14" fmla="*/ 54077 h 75723"/>
                  <a:gd name="connsiteX15" fmla="*/ 25509 w 58888"/>
                  <a:gd name="connsiteY15" fmla="*/ 65518 h 75723"/>
                  <a:gd name="connsiteX16" fmla="*/ 46424 w 58888"/>
                  <a:gd name="connsiteY16" fmla="*/ 47445 h 75723"/>
                  <a:gd name="connsiteX17" fmla="*/ 46424 w 58888"/>
                  <a:gd name="connsiteY17" fmla="*/ 40377 h 75723"/>
                  <a:gd name="connsiteX18" fmla="*/ 35201 w 58888"/>
                  <a:gd name="connsiteY18" fmla="*/ 40231 h 75723"/>
                  <a:gd name="connsiteX19" fmla="*/ 12684 w 58888"/>
                  <a:gd name="connsiteY19" fmla="*/ 54004 h 75723"/>
                  <a:gd name="connsiteX20" fmla="*/ 25582 w 58888"/>
                  <a:gd name="connsiteY20" fmla="*/ 65518 h 75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888" h="75723">
                    <a:moveTo>
                      <a:pt x="77" y="54077"/>
                    </a:moveTo>
                    <a:cubicBezTo>
                      <a:pt x="368" y="37025"/>
                      <a:pt x="14943" y="30758"/>
                      <a:pt x="33671" y="31049"/>
                    </a:cubicBezTo>
                    <a:lnTo>
                      <a:pt x="46642" y="31268"/>
                    </a:lnTo>
                    <a:lnTo>
                      <a:pt x="46642" y="26239"/>
                    </a:lnTo>
                    <a:cubicBezTo>
                      <a:pt x="46861" y="16183"/>
                      <a:pt x="42197" y="10426"/>
                      <a:pt x="32141" y="10281"/>
                    </a:cubicBezTo>
                    <a:cubicBezTo>
                      <a:pt x="22740" y="10135"/>
                      <a:pt x="16254" y="14143"/>
                      <a:pt x="11299" y="20628"/>
                    </a:cubicBezTo>
                    <a:lnTo>
                      <a:pt x="3575" y="12685"/>
                    </a:lnTo>
                    <a:cubicBezTo>
                      <a:pt x="9405" y="5908"/>
                      <a:pt x="18513" y="-213"/>
                      <a:pt x="33088" y="6"/>
                    </a:cubicBezTo>
                    <a:cubicBezTo>
                      <a:pt x="50431" y="297"/>
                      <a:pt x="59103" y="10936"/>
                      <a:pt x="58884" y="26385"/>
                    </a:cubicBezTo>
                    <a:lnTo>
                      <a:pt x="58156" y="74845"/>
                    </a:lnTo>
                    <a:lnTo>
                      <a:pt x="46496" y="74699"/>
                    </a:lnTo>
                    <a:lnTo>
                      <a:pt x="46715" y="61145"/>
                    </a:lnTo>
                    <a:lnTo>
                      <a:pt x="46424" y="61145"/>
                    </a:lnTo>
                    <a:cubicBezTo>
                      <a:pt x="41395" y="71493"/>
                      <a:pt x="33889" y="75865"/>
                      <a:pt x="22011" y="75720"/>
                    </a:cubicBezTo>
                    <a:cubicBezTo>
                      <a:pt x="9113" y="75501"/>
                      <a:pt x="-215" y="67849"/>
                      <a:pt x="4" y="54077"/>
                    </a:cubicBezTo>
                    <a:close/>
                    <a:moveTo>
                      <a:pt x="25509" y="65518"/>
                    </a:moveTo>
                    <a:cubicBezTo>
                      <a:pt x="38990" y="65736"/>
                      <a:pt x="46278" y="56554"/>
                      <a:pt x="46424" y="47445"/>
                    </a:cubicBezTo>
                    <a:lnTo>
                      <a:pt x="46424" y="40377"/>
                    </a:lnTo>
                    <a:cubicBezTo>
                      <a:pt x="46424" y="40377"/>
                      <a:pt x="35201" y="40231"/>
                      <a:pt x="35201" y="40231"/>
                    </a:cubicBezTo>
                    <a:cubicBezTo>
                      <a:pt x="23687" y="40085"/>
                      <a:pt x="12829" y="42417"/>
                      <a:pt x="12684" y="54004"/>
                    </a:cubicBezTo>
                    <a:cubicBezTo>
                      <a:pt x="12611" y="60927"/>
                      <a:pt x="17347" y="65445"/>
                      <a:pt x="25582" y="65518"/>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41" name="Freeform 194">
                <a:extLst>
                  <a:ext uri="{FF2B5EF4-FFF2-40B4-BE49-F238E27FC236}">
                    <a16:creationId xmlns:a16="http://schemas.microsoft.com/office/drawing/2014/main" id="{47A7340C-6B47-6C12-2B92-E26F2162A1D8}"/>
                  </a:ext>
                </a:extLst>
              </p:cNvPr>
              <p:cNvSpPr/>
              <p:nvPr/>
            </p:nvSpPr>
            <p:spPr>
              <a:xfrm>
                <a:off x="6223000" y="1959749"/>
                <a:ext cx="17275" cy="103191"/>
              </a:xfrm>
              <a:custGeom>
                <a:avLst/>
                <a:gdLst>
                  <a:gd name="connsiteX0" fmla="*/ 2259 w 17275"/>
                  <a:gd name="connsiteY0" fmla="*/ 29736 h 103191"/>
                  <a:gd name="connsiteX1" fmla="*/ 14428 w 17275"/>
                  <a:gd name="connsiteY1" fmla="*/ 30101 h 103191"/>
                  <a:gd name="connsiteX2" fmla="*/ 12169 w 17275"/>
                  <a:gd name="connsiteY2" fmla="*/ 103191 h 103191"/>
                  <a:gd name="connsiteX3" fmla="*/ 0 w 17275"/>
                  <a:gd name="connsiteY3" fmla="*/ 102827 h 103191"/>
                  <a:gd name="connsiteX4" fmla="*/ 2259 w 17275"/>
                  <a:gd name="connsiteY4" fmla="*/ 29736 h 103191"/>
                  <a:gd name="connsiteX5" fmla="*/ 9327 w 17275"/>
                  <a:gd name="connsiteY5" fmla="*/ 5 h 103191"/>
                  <a:gd name="connsiteX6" fmla="*/ 17271 w 17275"/>
                  <a:gd name="connsiteY6" fmla="*/ 8458 h 103191"/>
                  <a:gd name="connsiteX7" fmla="*/ 8817 w 17275"/>
                  <a:gd name="connsiteY7" fmla="*/ 16401 h 103191"/>
                  <a:gd name="connsiteX8" fmla="*/ 947 w 17275"/>
                  <a:gd name="connsiteY8" fmla="*/ 7948 h 103191"/>
                  <a:gd name="connsiteX9" fmla="*/ 9327 w 17275"/>
                  <a:gd name="connsiteY9" fmla="*/ 5 h 10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75" h="103191">
                    <a:moveTo>
                      <a:pt x="2259" y="29736"/>
                    </a:moveTo>
                    <a:lnTo>
                      <a:pt x="14428" y="30101"/>
                    </a:lnTo>
                    <a:lnTo>
                      <a:pt x="12169" y="103191"/>
                    </a:lnTo>
                    <a:lnTo>
                      <a:pt x="0" y="102827"/>
                    </a:lnTo>
                    <a:lnTo>
                      <a:pt x="2259" y="29736"/>
                    </a:lnTo>
                    <a:close/>
                    <a:moveTo>
                      <a:pt x="9327" y="5"/>
                    </a:moveTo>
                    <a:cubicBezTo>
                      <a:pt x="14064" y="150"/>
                      <a:pt x="17416" y="3721"/>
                      <a:pt x="17271" y="8458"/>
                    </a:cubicBezTo>
                    <a:cubicBezTo>
                      <a:pt x="17125" y="13194"/>
                      <a:pt x="13554" y="16546"/>
                      <a:pt x="8817" y="16401"/>
                    </a:cubicBezTo>
                    <a:cubicBezTo>
                      <a:pt x="4154" y="16255"/>
                      <a:pt x="801" y="12684"/>
                      <a:pt x="947" y="7948"/>
                    </a:cubicBezTo>
                    <a:cubicBezTo>
                      <a:pt x="1093" y="3211"/>
                      <a:pt x="4663" y="-141"/>
                      <a:pt x="9327" y="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42" name="Freeform 195">
                <a:extLst>
                  <a:ext uri="{FF2B5EF4-FFF2-40B4-BE49-F238E27FC236}">
                    <a16:creationId xmlns:a16="http://schemas.microsoft.com/office/drawing/2014/main" id="{F02F47B6-590B-846F-CC6D-A324FC65BFBF}"/>
                  </a:ext>
                </a:extLst>
              </p:cNvPr>
              <p:cNvSpPr/>
              <p:nvPr/>
            </p:nvSpPr>
            <p:spPr>
              <a:xfrm>
                <a:off x="6256157" y="1990651"/>
                <a:ext cx="60973" cy="75786"/>
              </a:xfrm>
              <a:custGeom>
                <a:avLst/>
                <a:gdLst>
                  <a:gd name="connsiteX0" fmla="*/ 3717 w 60973"/>
                  <a:gd name="connsiteY0" fmla="*/ 0 h 75786"/>
                  <a:gd name="connsiteX1" fmla="*/ 15303 w 60973"/>
                  <a:gd name="connsiteY1" fmla="*/ 583 h 75786"/>
                  <a:gd name="connsiteX2" fmla="*/ 14574 w 60973"/>
                  <a:gd name="connsiteY2" fmla="*/ 15740 h 75786"/>
                  <a:gd name="connsiteX3" fmla="*/ 14866 w 60973"/>
                  <a:gd name="connsiteY3" fmla="*/ 15740 h 75786"/>
                  <a:gd name="connsiteX4" fmla="*/ 39351 w 60973"/>
                  <a:gd name="connsiteY4" fmla="*/ 291 h 75786"/>
                  <a:gd name="connsiteX5" fmla="*/ 60921 w 60973"/>
                  <a:gd name="connsiteY5" fmla="*/ 27108 h 75786"/>
                  <a:gd name="connsiteX6" fmla="*/ 58516 w 60973"/>
                  <a:gd name="connsiteY6" fmla="*/ 75787 h 75786"/>
                  <a:gd name="connsiteX7" fmla="*/ 46273 w 60973"/>
                  <a:gd name="connsiteY7" fmla="*/ 75204 h 75786"/>
                  <a:gd name="connsiteX8" fmla="*/ 48532 w 60973"/>
                  <a:gd name="connsiteY8" fmla="*/ 28930 h 75786"/>
                  <a:gd name="connsiteX9" fmla="*/ 34322 w 60973"/>
                  <a:gd name="connsiteY9" fmla="*/ 10931 h 75786"/>
                  <a:gd name="connsiteX10" fmla="*/ 14283 w 60973"/>
                  <a:gd name="connsiteY10" fmla="*/ 31262 h 75786"/>
                  <a:gd name="connsiteX11" fmla="*/ 12169 w 60973"/>
                  <a:gd name="connsiteY11" fmla="*/ 73600 h 75786"/>
                  <a:gd name="connsiteX12" fmla="*/ 0 w 60973"/>
                  <a:gd name="connsiteY12" fmla="*/ 73018 h 75786"/>
                  <a:gd name="connsiteX13" fmla="*/ 3644 w 60973"/>
                  <a:gd name="connsiteY13" fmla="*/ 73 h 7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973" h="75786">
                    <a:moveTo>
                      <a:pt x="3717" y="0"/>
                    </a:moveTo>
                    <a:lnTo>
                      <a:pt x="15303" y="583"/>
                    </a:lnTo>
                    <a:lnTo>
                      <a:pt x="14574" y="15740"/>
                    </a:lnTo>
                    <a:lnTo>
                      <a:pt x="14866" y="15740"/>
                    </a:lnTo>
                    <a:cubicBezTo>
                      <a:pt x="18145" y="8234"/>
                      <a:pt x="24704" y="-364"/>
                      <a:pt x="39351" y="291"/>
                    </a:cubicBezTo>
                    <a:cubicBezTo>
                      <a:pt x="54800" y="1093"/>
                      <a:pt x="61649" y="11805"/>
                      <a:pt x="60921" y="27108"/>
                    </a:cubicBezTo>
                    <a:lnTo>
                      <a:pt x="58516" y="75787"/>
                    </a:lnTo>
                    <a:lnTo>
                      <a:pt x="46273" y="75204"/>
                    </a:lnTo>
                    <a:lnTo>
                      <a:pt x="48532" y="28930"/>
                    </a:lnTo>
                    <a:cubicBezTo>
                      <a:pt x="49043" y="18291"/>
                      <a:pt x="45545" y="11441"/>
                      <a:pt x="34322" y="10931"/>
                    </a:cubicBezTo>
                    <a:cubicBezTo>
                      <a:pt x="22882" y="10348"/>
                      <a:pt x="15012" y="17635"/>
                      <a:pt x="14283" y="31262"/>
                    </a:cubicBezTo>
                    <a:lnTo>
                      <a:pt x="12169" y="73600"/>
                    </a:lnTo>
                    <a:lnTo>
                      <a:pt x="0" y="73018"/>
                    </a:lnTo>
                    <a:lnTo>
                      <a:pt x="3644" y="73"/>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43" name="Freeform 196">
                <a:extLst>
                  <a:ext uri="{FF2B5EF4-FFF2-40B4-BE49-F238E27FC236}">
                    <a16:creationId xmlns:a16="http://schemas.microsoft.com/office/drawing/2014/main" id="{D24632E1-2360-C758-6A32-358B4BC69182}"/>
                  </a:ext>
                </a:extLst>
              </p:cNvPr>
              <p:cNvSpPr/>
              <p:nvPr/>
            </p:nvSpPr>
            <p:spPr>
              <a:xfrm>
                <a:off x="6367412" y="1998143"/>
                <a:ext cx="60861" cy="76602"/>
              </a:xfrm>
              <a:custGeom>
                <a:avLst/>
                <a:gdLst>
                  <a:gd name="connsiteX0" fmla="*/ 20 w 60861"/>
                  <a:gd name="connsiteY0" fmla="*/ 51826 h 76602"/>
                  <a:gd name="connsiteX1" fmla="*/ 35144 w 60861"/>
                  <a:gd name="connsiteY1" fmla="*/ 31203 h 76602"/>
                  <a:gd name="connsiteX2" fmla="*/ 48115 w 60861"/>
                  <a:gd name="connsiteY2" fmla="*/ 32296 h 76602"/>
                  <a:gd name="connsiteX3" fmla="*/ 48553 w 60861"/>
                  <a:gd name="connsiteY3" fmla="*/ 27341 h 76602"/>
                  <a:gd name="connsiteX4" fmla="*/ 35144 w 60861"/>
                  <a:gd name="connsiteY4" fmla="*/ 10362 h 76602"/>
                  <a:gd name="connsiteX5" fmla="*/ 13647 w 60861"/>
                  <a:gd name="connsiteY5" fmla="*/ 19252 h 76602"/>
                  <a:gd name="connsiteX6" fmla="*/ 6505 w 60861"/>
                  <a:gd name="connsiteY6" fmla="*/ 10799 h 76602"/>
                  <a:gd name="connsiteX7" fmla="*/ 36820 w 60861"/>
                  <a:gd name="connsiteY7" fmla="*/ 160 h 76602"/>
                  <a:gd name="connsiteX8" fmla="*/ 60722 w 60861"/>
                  <a:gd name="connsiteY8" fmla="*/ 28288 h 76602"/>
                  <a:gd name="connsiteX9" fmla="*/ 56641 w 60861"/>
                  <a:gd name="connsiteY9" fmla="*/ 76602 h 76602"/>
                  <a:gd name="connsiteX10" fmla="*/ 45055 w 60861"/>
                  <a:gd name="connsiteY10" fmla="*/ 75655 h 76602"/>
                  <a:gd name="connsiteX11" fmla="*/ 46221 w 60861"/>
                  <a:gd name="connsiteY11" fmla="*/ 62101 h 76602"/>
                  <a:gd name="connsiteX12" fmla="*/ 45929 w 60861"/>
                  <a:gd name="connsiteY12" fmla="*/ 62101 h 76602"/>
                  <a:gd name="connsiteX13" fmla="*/ 20570 w 60861"/>
                  <a:gd name="connsiteY13" fmla="*/ 74926 h 76602"/>
                  <a:gd name="connsiteX14" fmla="*/ 93 w 60861"/>
                  <a:gd name="connsiteY14" fmla="*/ 51826 h 76602"/>
                  <a:gd name="connsiteX15" fmla="*/ 24651 w 60861"/>
                  <a:gd name="connsiteY15" fmla="*/ 65016 h 76602"/>
                  <a:gd name="connsiteX16" fmla="*/ 46731 w 60861"/>
                  <a:gd name="connsiteY16" fmla="*/ 48401 h 76602"/>
                  <a:gd name="connsiteX17" fmla="*/ 47314 w 60861"/>
                  <a:gd name="connsiteY17" fmla="*/ 41332 h 76602"/>
                  <a:gd name="connsiteX18" fmla="*/ 36019 w 60861"/>
                  <a:gd name="connsiteY18" fmla="*/ 40385 h 76602"/>
                  <a:gd name="connsiteX19" fmla="*/ 12627 w 60861"/>
                  <a:gd name="connsiteY19" fmla="*/ 52627 h 76602"/>
                  <a:gd name="connsiteX20" fmla="*/ 24651 w 60861"/>
                  <a:gd name="connsiteY20" fmla="*/ 65016 h 76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861" h="76602">
                    <a:moveTo>
                      <a:pt x="20" y="51826"/>
                    </a:moveTo>
                    <a:cubicBezTo>
                      <a:pt x="1477" y="34847"/>
                      <a:pt x="16489" y="29600"/>
                      <a:pt x="35144" y="31203"/>
                    </a:cubicBezTo>
                    <a:lnTo>
                      <a:pt x="48115" y="32296"/>
                    </a:lnTo>
                    <a:lnTo>
                      <a:pt x="48553" y="27341"/>
                    </a:lnTo>
                    <a:cubicBezTo>
                      <a:pt x="49427" y="17285"/>
                      <a:pt x="45127" y="11236"/>
                      <a:pt x="35144" y="10362"/>
                    </a:cubicBezTo>
                    <a:cubicBezTo>
                      <a:pt x="25744" y="9560"/>
                      <a:pt x="19040" y="13131"/>
                      <a:pt x="13647" y="19252"/>
                    </a:cubicBezTo>
                    <a:lnTo>
                      <a:pt x="6505" y="10799"/>
                    </a:lnTo>
                    <a:cubicBezTo>
                      <a:pt x="12845" y="4386"/>
                      <a:pt x="22319" y="-1006"/>
                      <a:pt x="36820" y="160"/>
                    </a:cubicBezTo>
                    <a:cubicBezTo>
                      <a:pt x="54091" y="1617"/>
                      <a:pt x="62034" y="12839"/>
                      <a:pt x="60722" y="28288"/>
                    </a:cubicBezTo>
                    <a:lnTo>
                      <a:pt x="56641" y="76602"/>
                    </a:lnTo>
                    <a:lnTo>
                      <a:pt x="45055" y="75655"/>
                    </a:lnTo>
                    <a:lnTo>
                      <a:pt x="46221" y="62101"/>
                    </a:lnTo>
                    <a:lnTo>
                      <a:pt x="45929" y="62101"/>
                    </a:lnTo>
                    <a:cubicBezTo>
                      <a:pt x="40172" y="72011"/>
                      <a:pt x="32448" y="75946"/>
                      <a:pt x="20570" y="74926"/>
                    </a:cubicBezTo>
                    <a:cubicBezTo>
                      <a:pt x="7672" y="73833"/>
                      <a:pt x="-1000" y="65526"/>
                      <a:pt x="93" y="51826"/>
                    </a:cubicBezTo>
                    <a:close/>
                    <a:moveTo>
                      <a:pt x="24651" y="65016"/>
                    </a:moveTo>
                    <a:cubicBezTo>
                      <a:pt x="38059" y="66181"/>
                      <a:pt x="46002" y="57510"/>
                      <a:pt x="46731" y="48401"/>
                    </a:cubicBezTo>
                    <a:lnTo>
                      <a:pt x="47314" y="41332"/>
                    </a:lnTo>
                    <a:lnTo>
                      <a:pt x="36019" y="40385"/>
                    </a:lnTo>
                    <a:cubicBezTo>
                      <a:pt x="24578" y="39438"/>
                      <a:pt x="13574" y="40968"/>
                      <a:pt x="12627" y="52627"/>
                    </a:cubicBezTo>
                    <a:cubicBezTo>
                      <a:pt x="12044" y="59477"/>
                      <a:pt x="16562" y="64360"/>
                      <a:pt x="24651" y="65016"/>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44" name="Freeform 197">
                <a:extLst>
                  <a:ext uri="{FF2B5EF4-FFF2-40B4-BE49-F238E27FC236}">
                    <a16:creationId xmlns:a16="http://schemas.microsoft.com/office/drawing/2014/main" id="{884C2CEE-E2C5-B789-A02A-2840864B5930}"/>
                  </a:ext>
                </a:extLst>
              </p:cNvPr>
              <p:cNvSpPr/>
              <p:nvPr/>
            </p:nvSpPr>
            <p:spPr>
              <a:xfrm>
                <a:off x="6436836" y="2000663"/>
                <a:ext cx="76704" cy="109325"/>
              </a:xfrm>
              <a:custGeom>
                <a:avLst/>
                <a:gdLst>
                  <a:gd name="connsiteX0" fmla="*/ 116 w 76704"/>
                  <a:gd name="connsiteY0" fmla="*/ 87053 h 109325"/>
                  <a:gd name="connsiteX1" fmla="*/ 14837 w 76704"/>
                  <a:gd name="connsiteY1" fmla="*/ 72770 h 109325"/>
                  <a:gd name="connsiteX2" fmla="*/ 7987 w 76704"/>
                  <a:gd name="connsiteY2" fmla="*/ 61767 h 109325"/>
                  <a:gd name="connsiteX3" fmla="*/ 19427 w 76704"/>
                  <a:gd name="connsiteY3" fmla="*/ 50326 h 109325"/>
                  <a:gd name="connsiteX4" fmla="*/ 9954 w 76704"/>
                  <a:gd name="connsiteY4" fmla="*/ 27590 h 109325"/>
                  <a:gd name="connsiteX5" fmla="*/ 41216 w 76704"/>
                  <a:gd name="connsiteY5" fmla="*/ 4781 h 109325"/>
                  <a:gd name="connsiteX6" fmla="*/ 57393 w 76704"/>
                  <a:gd name="connsiteY6" fmla="*/ 10465 h 109325"/>
                  <a:gd name="connsiteX7" fmla="*/ 74373 w 76704"/>
                  <a:gd name="connsiteY7" fmla="*/ 117 h 109325"/>
                  <a:gd name="connsiteX8" fmla="*/ 76705 w 76704"/>
                  <a:gd name="connsiteY8" fmla="*/ 336 h 109325"/>
                  <a:gd name="connsiteX9" fmla="*/ 75393 w 76704"/>
                  <a:gd name="connsiteY9" fmla="*/ 12505 h 109325"/>
                  <a:gd name="connsiteX10" fmla="*/ 72915 w 76704"/>
                  <a:gd name="connsiteY10" fmla="*/ 12214 h 109325"/>
                  <a:gd name="connsiteX11" fmla="*/ 60891 w 76704"/>
                  <a:gd name="connsiteY11" fmla="*/ 13598 h 109325"/>
                  <a:gd name="connsiteX12" fmla="*/ 66648 w 76704"/>
                  <a:gd name="connsiteY12" fmla="*/ 33638 h 109325"/>
                  <a:gd name="connsiteX13" fmla="*/ 35314 w 76704"/>
                  <a:gd name="connsiteY13" fmla="*/ 55864 h 109325"/>
                  <a:gd name="connsiteX14" fmla="*/ 22925 w 76704"/>
                  <a:gd name="connsiteY14" fmla="*/ 52366 h 109325"/>
                  <a:gd name="connsiteX15" fmla="*/ 19937 w 76704"/>
                  <a:gd name="connsiteY15" fmla="*/ 57030 h 109325"/>
                  <a:gd name="connsiteX16" fmla="*/ 38811 w 76704"/>
                  <a:gd name="connsiteY16" fmla="*/ 66722 h 109325"/>
                  <a:gd name="connsiteX17" fmla="*/ 68324 w 76704"/>
                  <a:gd name="connsiteY17" fmla="*/ 89458 h 109325"/>
                  <a:gd name="connsiteX18" fmla="*/ 30285 w 76704"/>
                  <a:gd name="connsiteY18" fmla="*/ 108769 h 109325"/>
                  <a:gd name="connsiteX19" fmla="*/ 116 w 76704"/>
                  <a:gd name="connsiteY19" fmla="*/ 87053 h 109325"/>
                  <a:gd name="connsiteX20" fmla="*/ 31888 w 76704"/>
                  <a:gd name="connsiteY20" fmla="*/ 99223 h 109325"/>
                  <a:gd name="connsiteX21" fmla="*/ 55499 w 76704"/>
                  <a:gd name="connsiteY21" fmla="*/ 89531 h 109325"/>
                  <a:gd name="connsiteX22" fmla="*/ 34220 w 76704"/>
                  <a:gd name="connsiteY22" fmla="*/ 77799 h 109325"/>
                  <a:gd name="connsiteX23" fmla="*/ 19355 w 76704"/>
                  <a:gd name="connsiteY23" fmla="*/ 74592 h 109325"/>
                  <a:gd name="connsiteX24" fmla="*/ 12359 w 76704"/>
                  <a:gd name="connsiteY24" fmla="*/ 84940 h 109325"/>
                  <a:gd name="connsiteX25" fmla="*/ 31961 w 76704"/>
                  <a:gd name="connsiteY25" fmla="*/ 99296 h 109325"/>
                  <a:gd name="connsiteX26" fmla="*/ 36188 w 76704"/>
                  <a:gd name="connsiteY26" fmla="*/ 46464 h 109325"/>
                  <a:gd name="connsiteX27" fmla="*/ 54260 w 76704"/>
                  <a:gd name="connsiteY27" fmla="*/ 32399 h 109325"/>
                  <a:gd name="connsiteX28" fmla="*/ 40269 w 76704"/>
                  <a:gd name="connsiteY28" fmla="*/ 14327 h 109325"/>
                  <a:gd name="connsiteX29" fmla="*/ 22342 w 76704"/>
                  <a:gd name="connsiteY29" fmla="*/ 28974 h 109325"/>
                  <a:gd name="connsiteX30" fmla="*/ 36188 w 76704"/>
                  <a:gd name="connsiteY30" fmla="*/ 46464 h 10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6704" h="109325">
                    <a:moveTo>
                      <a:pt x="116" y="87053"/>
                    </a:moveTo>
                    <a:cubicBezTo>
                      <a:pt x="991" y="78892"/>
                      <a:pt x="7695" y="74082"/>
                      <a:pt x="14837" y="72770"/>
                    </a:cubicBezTo>
                    <a:cubicBezTo>
                      <a:pt x="10173" y="70438"/>
                      <a:pt x="7476" y="67013"/>
                      <a:pt x="7987" y="61767"/>
                    </a:cubicBezTo>
                    <a:cubicBezTo>
                      <a:pt x="8569" y="56083"/>
                      <a:pt x="12796" y="51929"/>
                      <a:pt x="19427" y="50326"/>
                    </a:cubicBezTo>
                    <a:cubicBezTo>
                      <a:pt x="12359" y="45225"/>
                      <a:pt x="8934" y="37136"/>
                      <a:pt x="9954" y="27590"/>
                    </a:cubicBezTo>
                    <a:cubicBezTo>
                      <a:pt x="11484" y="13525"/>
                      <a:pt x="22269" y="2741"/>
                      <a:pt x="41216" y="4781"/>
                    </a:cubicBezTo>
                    <a:cubicBezTo>
                      <a:pt x="48066" y="5510"/>
                      <a:pt x="53386" y="7550"/>
                      <a:pt x="57393" y="10465"/>
                    </a:cubicBezTo>
                    <a:cubicBezTo>
                      <a:pt x="61256" y="3323"/>
                      <a:pt x="65919" y="-757"/>
                      <a:pt x="74373" y="117"/>
                    </a:cubicBezTo>
                    <a:lnTo>
                      <a:pt x="76705" y="336"/>
                    </a:lnTo>
                    <a:lnTo>
                      <a:pt x="75393" y="12505"/>
                    </a:lnTo>
                    <a:lnTo>
                      <a:pt x="72915" y="12214"/>
                    </a:lnTo>
                    <a:cubicBezTo>
                      <a:pt x="66502" y="11485"/>
                      <a:pt x="63442" y="12214"/>
                      <a:pt x="60891" y="13598"/>
                    </a:cubicBezTo>
                    <a:cubicBezTo>
                      <a:pt x="65701" y="18918"/>
                      <a:pt x="67450" y="26132"/>
                      <a:pt x="66648" y="33638"/>
                    </a:cubicBezTo>
                    <a:cubicBezTo>
                      <a:pt x="65191" y="47265"/>
                      <a:pt x="54041" y="57904"/>
                      <a:pt x="35314" y="55864"/>
                    </a:cubicBezTo>
                    <a:cubicBezTo>
                      <a:pt x="30577" y="55354"/>
                      <a:pt x="26423" y="54188"/>
                      <a:pt x="22925" y="52366"/>
                    </a:cubicBezTo>
                    <a:cubicBezTo>
                      <a:pt x="21249" y="53314"/>
                      <a:pt x="20156" y="54771"/>
                      <a:pt x="19937" y="57030"/>
                    </a:cubicBezTo>
                    <a:cubicBezTo>
                      <a:pt x="19282" y="62933"/>
                      <a:pt x="25913" y="64609"/>
                      <a:pt x="38811" y="66722"/>
                    </a:cubicBezTo>
                    <a:cubicBezTo>
                      <a:pt x="54770" y="69272"/>
                      <a:pt x="70219" y="72406"/>
                      <a:pt x="68324" y="89458"/>
                    </a:cubicBezTo>
                    <a:cubicBezTo>
                      <a:pt x="66575" y="105563"/>
                      <a:pt x="53386" y="111247"/>
                      <a:pt x="30285" y="108769"/>
                    </a:cubicBezTo>
                    <a:cubicBezTo>
                      <a:pt x="6383" y="106218"/>
                      <a:pt x="-1050" y="97401"/>
                      <a:pt x="116" y="87053"/>
                    </a:cubicBezTo>
                    <a:close/>
                    <a:moveTo>
                      <a:pt x="31888" y="99223"/>
                    </a:moveTo>
                    <a:cubicBezTo>
                      <a:pt x="45953" y="100753"/>
                      <a:pt x="54479" y="98859"/>
                      <a:pt x="55499" y="89531"/>
                    </a:cubicBezTo>
                    <a:cubicBezTo>
                      <a:pt x="56301" y="81952"/>
                      <a:pt x="49596" y="80130"/>
                      <a:pt x="34220" y="77799"/>
                    </a:cubicBezTo>
                    <a:cubicBezTo>
                      <a:pt x="28901" y="76924"/>
                      <a:pt x="23654" y="75977"/>
                      <a:pt x="19355" y="74592"/>
                    </a:cubicBezTo>
                    <a:cubicBezTo>
                      <a:pt x="15711" y="76633"/>
                      <a:pt x="12869" y="79912"/>
                      <a:pt x="12359" y="84940"/>
                    </a:cubicBezTo>
                    <a:cubicBezTo>
                      <a:pt x="11411" y="93612"/>
                      <a:pt x="16804" y="97620"/>
                      <a:pt x="31961" y="99296"/>
                    </a:cubicBezTo>
                    <a:close/>
                    <a:moveTo>
                      <a:pt x="36188" y="46464"/>
                    </a:moveTo>
                    <a:cubicBezTo>
                      <a:pt x="46244" y="47557"/>
                      <a:pt x="53240" y="41727"/>
                      <a:pt x="54260" y="32399"/>
                    </a:cubicBezTo>
                    <a:cubicBezTo>
                      <a:pt x="55353" y="22416"/>
                      <a:pt x="50106" y="15347"/>
                      <a:pt x="40269" y="14327"/>
                    </a:cubicBezTo>
                    <a:cubicBezTo>
                      <a:pt x="30285" y="13234"/>
                      <a:pt x="23362" y="18991"/>
                      <a:pt x="22342" y="28974"/>
                    </a:cubicBezTo>
                    <a:cubicBezTo>
                      <a:pt x="21176" y="39686"/>
                      <a:pt x="27224" y="45516"/>
                      <a:pt x="36188" y="46464"/>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45" name="Freeform 198">
                <a:extLst>
                  <a:ext uri="{FF2B5EF4-FFF2-40B4-BE49-F238E27FC236}">
                    <a16:creationId xmlns:a16="http://schemas.microsoft.com/office/drawing/2014/main" id="{FC361DEA-CBF8-CAC9-D522-CF73401F046A}"/>
                  </a:ext>
                </a:extLst>
              </p:cNvPr>
              <p:cNvSpPr/>
              <p:nvPr/>
            </p:nvSpPr>
            <p:spPr>
              <a:xfrm>
                <a:off x="6515384" y="2014338"/>
                <a:ext cx="67940" cy="76302"/>
              </a:xfrm>
              <a:custGeom>
                <a:avLst/>
                <a:gdLst>
                  <a:gd name="connsiteX0" fmla="*/ 488 w 67940"/>
                  <a:gd name="connsiteY0" fmla="*/ 33372 h 76302"/>
                  <a:gd name="connsiteX1" fmla="*/ 40568 w 67940"/>
                  <a:gd name="connsiteY1" fmla="*/ 361 h 76302"/>
                  <a:gd name="connsiteX2" fmla="*/ 67530 w 67940"/>
                  <a:gd name="connsiteY2" fmla="*/ 39493 h 76302"/>
                  <a:gd name="connsiteX3" fmla="*/ 66583 w 67940"/>
                  <a:gd name="connsiteY3" fmla="*/ 45104 h 76302"/>
                  <a:gd name="connsiteX4" fmla="*/ 12731 w 67940"/>
                  <a:gd name="connsiteY4" fmla="*/ 38036 h 76302"/>
                  <a:gd name="connsiteX5" fmla="*/ 33353 w 67940"/>
                  <a:gd name="connsiteY5" fmla="*/ 65508 h 76302"/>
                  <a:gd name="connsiteX6" fmla="*/ 54632 w 67940"/>
                  <a:gd name="connsiteY6" fmla="*/ 59533 h 76302"/>
                  <a:gd name="connsiteX7" fmla="*/ 61263 w 67940"/>
                  <a:gd name="connsiteY7" fmla="*/ 68059 h 76302"/>
                  <a:gd name="connsiteX8" fmla="*/ 32041 w 67940"/>
                  <a:gd name="connsiteY8" fmla="*/ 75783 h 76302"/>
                  <a:gd name="connsiteX9" fmla="*/ 488 w 67940"/>
                  <a:gd name="connsiteY9" fmla="*/ 33372 h 76302"/>
                  <a:gd name="connsiteX10" fmla="*/ 55798 w 67940"/>
                  <a:gd name="connsiteY10" fmla="*/ 34174 h 76302"/>
                  <a:gd name="connsiteX11" fmla="*/ 38673 w 67940"/>
                  <a:gd name="connsiteY11" fmla="*/ 10563 h 76302"/>
                  <a:gd name="connsiteX12" fmla="*/ 14334 w 67940"/>
                  <a:gd name="connsiteY12" fmla="*/ 28708 h 76302"/>
                  <a:gd name="connsiteX13" fmla="*/ 55798 w 67940"/>
                  <a:gd name="connsiteY13" fmla="*/ 34174 h 76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940" h="76302">
                    <a:moveTo>
                      <a:pt x="488" y="33372"/>
                    </a:moveTo>
                    <a:cubicBezTo>
                      <a:pt x="3767" y="8085"/>
                      <a:pt x="21840" y="-2117"/>
                      <a:pt x="40568" y="361"/>
                    </a:cubicBezTo>
                    <a:cubicBezTo>
                      <a:pt x="64032" y="3422"/>
                      <a:pt x="69643" y="23315"/>
                      <a:pt x="67530" y="39493"/>
                    </a:cubicBezTo>
                    <a:cubicBezTo>
                      <a:pt x="67239" y="41461"/>
                      <a:pt x="66947" y="43355"/>
                      <a:pt x="66583" y="45104"/>
                    </a:cubicBezTo>
                    <a:lnTo>
                      <a:pt x="12731" y="38036"/>
                    </a:lnTo>
                    <a:cubicBezTo>
                      <a:pt x="11564" y="53849"/>
                      <a:pt x="18414" y="63541"/>
                      <a:pt x="33353" y="65508"/>
                    </a:cubicBezTo>
                    <a:cubicBezTo>
                      <a:pt x="42171" y="66674"/>
                      <a:pt x="48583" y="64998"/>
                      <a:pt x="54632" y="59533"/>
                    </a:cubicBezTo>
                    <a:lnTo>
                      <a:pt x="61263" y="68059"/>
                    </a:lnTo>
                    <a:cubicBezTo>
                      <a:pt x="53101" y="75127"/>
                      <a:pt x="44648" y="77459"/>
                      <a:pt x="32041" y="75783"/>
                    </a:cubicBezTo>
                    <a:cubicBezTo>
                      <a:pt x="10107" y="72941"/>
                      <a:pt x="-2718" y="57857"/>
                      <a:pt x="488" y="33372"/>
                    </a:cubicBezTo>
                    <a:close/>
                    <a:moveTo>
                      <a:pt x="55798" y="34174"/>
                    </a:moveTo>
                    <a:cubicBezTo>
                      <a:pt x="56381" y="19818"/>
                      <a:pt x="49895" y="12020"/>
                      <a:pt x="38673" y="10563"/>
                    </a:cubicBezTo>
                    <a:cubicBezTo>
                      <a:pt x="27523" y="9106"/>
                      <a:pt x="18123" y="14862"/>
                      <a:pt x="14334" y="28708"/>
                    </a:cubicBezTo>
                    <a:lnTo>
                      <a:pt x="55798" y="34174"/>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46" name="Freeform 199">
                <a:extLst>
                  <a:ext uri="{FF2B5EF4-FFF2-40B4-BE49-F238E27FC236}">
                    <a16:creationId xmlns:a16="http://schemas.microsoft.com/office/drawing/2014/main" id="{9926CC6C-E68C-1A62-DC57-7223BC30E2BB}"/>
                  </a:ext>
                </a:extLst>
              </p:cNvPr>
              <p:cNvSpPr/>
              <p:nvPr/>
            </p:nvSpPr>
            <p:spPr>
              <a:xfrm>
                <a:off x="6594282" y="2022934"/>
                <a:ext cx="65824" cy="81325"/>
              </a:xfrm>
              <a:custGeom>
                <a:avLst/>
                <a:gdLst>
                  <a:gd name="connsiteX0" fmla="*/ 11223 w 65824"/>
                  <a:gd name="connsiteY0" fmla="*/ 0 h 81325"/>
                  <a:gd name="connsiteX1" fmla="*/ 22736 w 65824"/>
                  <a:gd name="connsiteY1" fmla="*/ 1822 h 81325"/>
                  <a:gd name="connsiteX2" fmla="*/ 20332 w 65824"/>
                  <a:gd name="connsiteY2" fmla="*/ 16833 h 81325"/>
                  <a:gd name="connsiteX3" fmla="*/ 20623 w 65824"/>
                  <a:gd name="connsiteY3" fmla="*/ 16833 h 81325"/>
                  <a:gd name="connsiteX4" fmla="*/ 46711 w 65824"/>
                  <a:gd name="connsiteY4" fmla="*/ 4154 h 81325"/>
                  <a:gd name="connsiteX5" fmla="*/ 65293 w 65824"/>
                  <a:gd name="connsiteY5" fmla="*/ 33157 h 81325"/>
                  <a:gd name="connsiteX6" fmla="*/ 57715 w 65824"/>
                  <a:gd name="connsiteY6" fmla="*/ 81325 h 81325"/>
                  <a:gd name="connsiteX7" fmla="*/ 45618 w 65824"/>
                  <a:gd name="connsiteY7" fmla="*/ 79430 h 81325"/>
                  <a:gd name="connsiteX8" fmla="*/ 52905 w 65824"/>
                  <a:gd name="connsiteY8" fmla="*/ 33594 h 81325"/>
                  <a:gd name="connsiteX9" fmla="*/ 40736 w 65824"/>
                  <a:gd name="connsiteY9" fmla="*/ 14137 h 81325"/>
                  <a:gd name="connsiteX10" fmla="*/ 18655 w 65824"/>
                  <a:gd name="connsiteY10" fmla="*/ 32209 h 81325"/>
                  <a:gd name="connsiteX11" fmla="*/ 12024 w 65824"/>
                  <a:gd name="connsiteY11" fmla="*/ 74111 h 81325"/>
                  <a:gd name="connsiteX12" fmla="*/ 0 w 65824"/>
                  <a:gd name="connsiteY12" fmla="*/ 72216 h 81325"/>
                  <a:gd name="connsiteX13" fmla="*/ 11441 w 65824"/>
                  <a:gd name="connsiteY13" fmla="*/ 0 h 81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824" h="81325">
                    <a:moveTo>
                      <a:pt x="11223" y="0"/>
                    </a:moveTo>
                    <a:lnTo>
                      <a:pt x="22736" y="1822"/>
                    </a:lnTo>
                    <a:lnTo>
                      <a:pt x="20332" y="16833"/>
                    </a:lnTo>
                    <a:lnTo>
                      <a:pt x="20623" y="16833"/>
                    </a:lnTo>
                    <a:cubicBezTo>
                      <a:pt x="24704" y="9765"/>
                      <a:pt x="32137" y="1822"/>
                      <a:pt x="46711" y="4154"/>
                    </a:cubicBezTo>
                    <a:cubicBezTo>
                      <a:pt x="62014" y="6558"/>
                      <a:pt x="67698" y="17999"/>
                      <a:pt x="65293" y="33157"/>
                    </a:cubicBezTo>
                    <a:lnTo>
                      <a:pt x="57715" y="81325"/>
                    </a:lnTo>
                    <a:lnTo>
                      <a:pt x="45618" y="79430"/>
                    </a:lnTo>
                    <a:lnTo>
                      <a:pt x="52905" y="33594"/>
                    </a:lnTo>
                    <a:cubicBezTo>
                      <a:pt x="54581" y="23028"/>
                      <a:pt x="51812" y="15886"/>
                      <a:pt x="40736" y="14137"/>
                    </a:cubicBezTo>
                    <a:cubicBezTo>
                      <a:pt x="29368" y="12315"/>
                      <a:pt x="20769" y="18728"/>
                      <a:pt x="18655" y="32209"/>
                    </a:cubicBezTo>
                    <a:lnTo>
                      <a:pt x="12024" y="74111"/>
                    </a:lnTo>
                    <a:lnTo>
                      <a:pt x="0" y="72216"/>
                    </a:lnTo>
                    <a:lnTo>
                      <a:pt x="11441"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47" name="Freeform 200">
                <a:extLst>
                  <a:ext uri="{FF2B5EF4-FFF2-40B4-BE49-F238E27FC236}">
                    <a16:creationId xmlns:a16="http://schemas.microsoft.com/office/drawing/2014/main" id="{9738D420-7759-5233-7C7E-D119BC8043EF}"/>
                  </a:ext>
                </a:extLst>
              </p:cNvPr>
              <p:cNvSpPr/>
              <p:nvPr/>
            </p:nvSpPr>
            <p:spPr>
              <a:xfrm>
                <a:off x="6674004" y="2020602"/>
                <a:ext cx="40516" cy="92546"/>
              </a:xfrm>
              <a:custGeom>
                <a:avLst/>
                <a:gdLst>
                  <a:gd name="connsiteX0" fmla="*/ 2332 w 40516"/>
                  <a:gd name="connsiteY0" fmla="*/ 71997 h 92546"/>
                  <a:gd name="connsiteX1" fmla="*/ 10639 w 40516"/>
                  <a:gd name="connsiteY1" fmla="*/ 25578 h 92546"/>
                  <a:gd name="connsiteX2" fmla="*/ 0 w 40516"/>
                  <a:gd name="connsiteY2" fmla="*/ 23683 h 92546"/>
                  <a:gd name="connsiteX3" fmla="*/ 1093 w 40516"/>
                  <a:gd name="connsiteY3" fmla="*/ 17416 h 92546"/>
                  <a:gd name="connsiteX4" fmla="*/ 26161 w 40516"/>
                  <a:gd name="connsiteY4" fmla="*/ 0 h 92546"/>
                  <a:gd name="connsiteX5" fmla="*/ 27546 w 40516"/>
                  <a:gd name="connsiteY5" fmla="*/ 219 h 92546"/>
                  <a:gd name="connsiteX6" fmla="*/ 24412 w 40516"/>
                  <a:gd name="connsiteY6" fmla="*/ 17635 h 92546"/>
                  <a:gd name="connsiteX7" fmla="*/ 40517 w 40516"/>
                  <a:gd name="connsiteY7" fmla="*/ 20550 h 92546"/>
                  <a:gd name="connsiteX8" fmla="*/ 38695 w 40516"/>
                  <a:gd name="connsiteY8" fmla="*/ 30606 h 92546"/>
                  <a:gd name="connsiteX9" fmla="*/ 22591 w 40516"/>
                  <a:gd name="connsiteY9" fmla="*/ 27691 h 92546"/>
                  <a:gd name="connsiteX10" fmla="*/ 14720 w 40516"/>
                  <a:gd name="connsiteY10" fmla="*/ 71633 h 92546"/>
                  <a:gd name="connsiteX11" fmla="*/ 21206 w 40516"/>
                  <a:gd name="connsiteY11" fmla="*/ 81252 h 92546"/>
                  <a:gd name="connsiteX12" fmla="*/ 29586 w 40516"/>
                  <a:gd name="connsiteY12" fmla="*/ 81544 h 92546"/>
                  <a:gd name="connsiteX13" fmla="*/ 27619 w 40516"/>
                  <a:gd name="connsiteY13" fmla="*/ 92474 h 92546"/>
                  <a:gd name="connsiteX14" fmla="*/ 17416 w 40516"/>
                  <a:gd name="connsiteY14" fmla="*/ 91746 h 92546"/>
                  <a:gd name="connsiteX15" fmla="*/ 2259 w 40516"/>
                  <a:gd name="connsiteY15" fmla="*/ 71924 h 9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516" h="92546">
                    <a:moveTo>
                      <a:pt x="2332" y="71997"/>
                    </a:moveTo>
                    <a:lnTo>
                      <a:pt x="10639" y="25578"/>
                    </a:lnTo>
                    <a:lnTo>
                      <a:pt x="0" y="23683"/>
                    </a:lnTo>
                    <a:lnTo>
                      <a:pt x="1093" y="17416"/>
                    </a:lnTo>
                    <a:lnTo>
                      <a:pt x="26161" y="0"/>
                    </a:lnTo>
                    <a:lnTo>
                      <a:pt x="27546" y="219"/>
                    </a:lnTo>
                    <a:lnTo>
                      <a:pt x="24412" y="17635"/>
                    </a:lnTo>
                    <a:lnTo>
                      <a:pt x="40517" y="20550"/>
                    </a:lnTo>
                    <a:lnTo>
                      <a:pt x="38695" y="30606"/>
                    </a:lnTo>
                    <a:lnTo>
                      <a:pt x="22591" y="27691"/>
                    </a:lnTo>
                    <a:lnTo>
                      <a:pt x="14720" y="71633"/>
                    </a:lnTo>
                    <a:cubicBezTo>
                      <a:pt x="13555" y="78046"/>
                      <a:pt x="15303" y="80159"/>
                      <a:pt x="21206" y="81252"/>
                    </a:cubicBezTo>
                    <a:cubicBezTo>
                      <a:pt x="24048" y="81762"/>
                      <a:pt x="27036" y="81835"/>
                      <a:pt x="29586" y="81544"/>
                    </a:cubicBezTo>
                    <a:lnTo>
                      <a:pt x="27619" y="92474"/>
                    </a:lnTo>
                    <a:cubicBezTo>
                      <a:pt x="24923" y="92693"/>
                      <a:pt x="20987" y="92401"/>
                      <a:pt x="17416" y="91746"/>
                    </a:cubicBezTo>
                    <a:cubicBezTo>
                      <a:pt x="4883" y="89487"/>
                      <a:pt x="219" y="83511"/>
                      <a:pt x="2259" y="71924"/>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48" name="Freeform 201">
                <a:extLst>
                  <a:ext uri="{FF2B5EF4-FFF2-40B4-BE49-F238E27FC236}">
                    <a16:creationId xmlns:a16="http://schemas.microsoft.com/office/drawing/2014/main" id="{0783D9CD-00E7-A42A-02B6-5EB51A396709}"/>
                  </a:ext>
                </a:extLst>
              </p:cNvPr>
              <p:cNvSpPr/>
              <p:nvPr/>
            </p:nvSpPr>
            <p:spPr>
              <a:xfrm>
                <a:off x="6712189" y="2046139"/>
                <a:ext cx="64345" cy="76097"/>
              </a:xfrm>
              <a:custGeom>
                <a:avLst/>
                <a:gdLst>
                  <a:gd name="connsiteX0" fmla="*/ 0 w 64345"/>
                  <a:gd name="connsiteY0" fmla="*/ 58484 h 76097"/>
                  <a:gd name="connsiteX1" fmla="*/ 9181 w 64345"/>
                  <a:gd name="connsiteY1" fmla="*/ 52362 h 76097"/>
                  <a:gd name="connsiteX2" fmla="*/ 28420 w 64345"/>
                  <a:gd name="connsiteY2" fmla="*/ 65479 h 76097"/>
                  <a:gd name="connsiteX3" fmla="*/ 45836 w 64345"/>
                  <a:gd name="connsiteY3" fmla="*/ 58119 h 76097"/>
                  <a:gd name="connsiteX4" fmla="*/ 30315 w 64345"/>
                  <a:gd name="connsiteY4" fmla="*/ 41140 h 76097"/>
                  <a:gd name="connsiteX5" fmla="*/ 11732 w 64345"/>
                  <a:gd name="connsiteY5" fmla="*/ 15853 h 76097"/>
                  <a:gd name="connsiteX6" fmla="*/ 40954 w 64345"/>
                  <a:gd name="connsiteY6" fmla="*/ 842 h 76097"/>
                  <a:gd name="connsiteX7" fmla="*/ 64346 w 64345"/>
                  <a:gd name="connsiteY7" fmla="*/ 15271 h 76097"/>
                  <a:gd name="connsiteX8" fmla="*/ 55237 w 64345"/>
                  <a:gd name="connsiteY8" fmla="*/ 21392 h 76097"/>
                  <a:gd name="connsiteX9" fmla="*/ 39059 w 64345"/>
                  <a:gd name="connsiteY9" fmla="*/ 10898 h 76097"/>
                  <a:gd name="connsiteX10" fmla="*/ 23465 w 64345"/>
                  <a:gd name="connsiteY10" fmla="*/ 17530 h 76097"/>
                  <a:gd name="connsiteX11" fmla="*/ 39423 w 64345"/>
                  <a:gd name="connsiteY11" fmla="*/ 32905 h 76097"/>
                  <a:gd name="connsiteX12" fmla="*/ 57787 w 64345"/>
                  <a:gd name="connsiteY12" fmla="*/ 59358 h 76097"/>
                  <a:gd name="connsiteX13" fmla="*/ 26525 w 64345"/>
                  <a:gd name="connsiteY13" fmla="*/ 75244 h 76097"/>
                  <a:gd name="connsiteX14" fmla="*/ 72 w 64345"/>
                  <a:gd name="connsiteY14" fmla="*/ 58338 h 76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345" h="76097">
                    <a:moveTo>
                      <a:pt x="0" y="58484"/>
                    </a:moveTo>
                    <a:lnTo>
                      <a:pt x="9181" y="52362"/>
                    </a:lnTo>
                    <a:cubicBezTo>
                      <a:pt x="14283" y="60597"/>
                      <a:pt x="20258" y="63949"/>
                      <a:pt x="28420" y="65479"/>
                    </a:cubicBezTo>
                    <a:cubicBezTo>
                      <a:pt x="36217" y="67010"/>
                      <a:pt x="44306" y="66062"/>
                      <a:pt x="45836" y="58119"/>
                    </a:cubicBezTo>
                    <a:cubicBezTo>
                      <a:pt x="47439" y="49812"/>
                      <a:pt x="40517" y="46241"/>
                      <a:pt x="30315" y="41140"/>
                    </a:cubicBezTo>
                    <a:cubicBezTo>
                      <a:pt x="20112" y="36039"/>
                      <a:pt x="9036" y="29626"/>
                      <a:pt x="11732" y="15853"/>
                    </a:cubicBezTo>
                    <a:cubicBezTo>
                      <a:pt x="14283" y="2810"/>
                      <a:pt x="25869" y="-2146"/>
                      <a:pt x="40954" y="842"/>
                    </a:cubicBezTo>
                    <a:cubicBezTo>
                      <a:pt x="50573" y="2737"/>
                      <a:pt x="59390" y="7765"/>
                      <a:pt x="64346" y="15271"/>
                    </a:cubicBezTo>
                    <a:lnTo>
                      <a:pt x="55237" y="21392"/>
                    </a:lnTo>
                    <a:cubicBezTo>
                      <a:pt x="50937" y="15052"/>
                      <a:pt x="45035" y="12064"/>
                      <a:pt x="39059" y="10898"/>
                    </a:cubicBezTo>
                    <a:cubicBezTo>
                      <a:pt x="30898" y="9295"/>
                      <a:pt x="24776" y="11044"/>
                      <a:pt x="23465" y="17530"/>
                    </a:cubicBezTo>
                    <a:cubicBezTo>
                      <a:pt x="22153" y="24161"/>
                      <a:pt x="29221" y="27805"/>
                      <a:pt x="39423" y="32905"/>
                    </a:cubicBezTo>
                    <a:cubicBezTo>
                      <a:pt x="49043" y="37715"/>
                      <a:pt x="60848" y="43909"/>
                      <a:pt x="57787" y="59358"/>
                    </a:cubicBezTo>
                    <a:cubicBezTo>
                      <a:pt x="55164" y="72839"/>
                      <a:pt x="42484" y="78378"/>
                      <a:pt x="26525" y="75244"/>
                    </a:cubicBezTo>
                    <a:cubicBezTo>
                      <a:pt x="15667" y="73131"/>
                      <a:pt x="6048" y="68176"/>
                      <a:pt x="72" y="58338"/>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grpSp>
          <p:nvGrpSpPr>
            <p:cNvPr id="1549" name="Graphic 2">
              <a:extLst>
                <a:ext uri="{FF2B5EF4-FFF2-40B4-BE49-F238E27FC236}">
                  <a16:creationId xmlns:a16="http://schemas.microsoft.com/office/drawing/2014/main" id="{4E7A1210-C8FB-0E59-F547-E4D5F87C4E80}"/>
                </a:ext>
              </a:extLst>
            </p:cNvPr>
            <p:cNvGrpSpPr/>
            <p:nvPr/>
          </p:nvGrpSpPr>
          <p:grpSpPr>
            <a:xfrm>
              <a:off x="8990477" y="3842445"/>
              <a:ext cx="259742" cy="598570"/>
              <a:chOff x="8992778" y="3842596"/>
              <a:chExt cx="259809" cy="598733"/>
            </a:xfrm>
            <a:solidFill>
              <a:srgbClr val="00144A"/>
            </a:solidFill>
          </p:grpSpPr>
          <p:sp>
            <p:nvSpPr>
              <p:cNvPr id="1550" name="Freeform 203">
                <a:extLst>
                  <a:ext uri="{FF2B5EF4-FFF2-40B4-BE49-F238E27FC236}">
                    <a16:creationId xmlns:a16="http://schemas.microsoft.com/office/drawing/2014/main" id="{B7B588BD-AAEA-4FBA-E8D2-ECF963A6DDD5}"/>
                  </a:ext>
                </a:extLst>
              </p:cNvPr>
              <p:cNvSpPr/>
              <p:nvPr/>
            </p:nvSpPr>
            <p:spPr>
              <a:xfrm>
                <a:off x="8992778" y="3842596"/>
                <a:ext cx="99388" cy="95482"/>
              </a:xfrm>
              <a:custGeom>
                <a:avLst/>
                <a:gdLst>
                  <a:gd name="connsiteX0" fmla="*/ 30251 w 99388"/>
                  <a:gd name="connsiteY0" fmla="*/ 5851 h 95482"/>
                  <a:gd name="connsiteX1" fmla="*/ 94305 w 99388"/>
                  <a:gd name="connsiteY1" fmla="*/ 28004 h 95482"/>
                  <a:gd name="connsiteX2" fmla="*/ 95545 w 99388"/>
                  <a:gd name="connsiteY2" fmla="*/ 67354 h 95482"/>
                  <a:gd name="connsiteX3" fmla="*/ 83593 w 99388"/>
                  <a:gd name="connsiteY3" fmla="*/ 62909 h 95482"/>
                  <a:gd name="connsiteX4" fmla="*/ 83448 w 99388"/>
                  <a:gd name="connsiteY4" fmla="*/ 32959 h 95482"/>
                  <a:gd name="connsiteX5" fmla="*/ 35716 w 99388"/>
                  <a:gd name="connsiteY5" fmla="*/ 17729 h 95482"/>
                  <a:gd name="connsiteX6" fmla="*/ 15968 w 99388"/>
                  <a:gd name="connsiteY6" fmla="*/ 63784 h 95482"/>
                  <a:gd name="connsiteX7" fmla="*/ 38485 w 99388"/>
                  <a:gd name="connsiteY7" fmla="*/ 83532 h 95482"/>
                  <a:gd name="connsiteX8" fmla="*/ 34040 w 99388"/>
                  <a:gd name="connsiteY8" fmla="*/ 95483 h 95482"/>
                  <a:gd name="connsiteX9" fmla="*/ 5110 w 99388"/>
                  <a:gd name="connsiteY9" fmla="*/ 68812 h 95482"/>
                  <a:gd name="connsiteX10" fmla="*/ 30251 w 99388"/>
                  <a:gd name="connsiteY10" fmla="*/ 5851 h 9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388" h="95482">
                    <a:moveTo>
                      <a:pt x="30251" y="5851"/>
                    </a:moveTo>
                    <a:cubicBezTo>
                      <a:pt x="60930" y="-8214"/>
                      <a:pt x="83593" y="4612"/>
                      <a:pt x="94305" y="28004"/>
                    </a:cubicBezTo>
                    <a:cubicBezTo>
                      <a:pt x="100937" y="42432"/>
                      <a:pt x="100791" y="56059"/>
                      <a:pt x="95545" y="67354"/>
                    </a:cubicBezTo>
                    <a:lnTo>
                      <a:pt x="83593" y="62909"/>
                    </a:lnTo>
                    <a:cubicBezTo>
                      <a:pt x="87674" y="54821"/>
                      <a:pt x="88986" y="45129"/>
                      <a:pt x="83448" y="32959"/>
                    </a:cubicBezTo>
                    <a:cubicBezTo>
                      <a:pt x="74412" y="13211"/>
                      <a:pt x="57141" y="7964"/>
                      <a:pt x="35716" y="17729"/>
                    </a:cubicBezTo>
                    <a:cubicBezTo>
                      <a:pt x="14219" y="27567"/>
                      <a:pt x="6932" y="44035"/>
                      <a:pt x="15968" y="63784"/>
                    </a:cubicBezTo>
                    <a:cubicBezTo>
                      <a:pt x="21506" y="75953"/>
                      <a:pt x="29668" y="81273"/>
                      <a:pt x="38485" y="83532"/>
                    </a:cubicBezTo>
                    <a:lnTo>
                      <a:pt x="34040" y="95483"/>
                    </a:lnTo>
                    <a:cubicBezTo>
                      <a:pt x="22016" y="92058"/>
                      <a:pt x="11742" y="83240"/>
                      <a:pt x="5110" y="68812"/>
                    </a:cubicBezTo>
                    <a:cubicBezTo>
                      <a:pt x="-5602" y="45420"/>
                      <a:pt x="-501" y="19915"/>
                      <a:pt x="30251" y="585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51" name="Freeform 204">
                <a:extLst>
                  <a:ext uri="{FF2B5EF4-FFF2-40B4-BE49-F238E27FC236}">
                    <a16:creationId xmlns:a16="http://schemas.microsoft.com/office/drawing/2014/main" id="{19B2B1F9-7646-7FA6-84B0-F120AC8D0DE9}"/>
                  </a:ext>
                </a:extLst>
              </p:cNvPr>
              <p:cNvSpPr/>
              <p:nvPr/>
            </p:nvSpPr>
            <p:spPr>
              <a:xfrm>
                <a:off x="9015232" y="3911991"/>
                <a:ext cx="118489" cy="109672"/>
              </a:xfrm>
              <a:custGeom>
                <a:avLst/>
                <a:gdLst>
                  <a:gd name="connsiteX0" fmla="*/ 58807 w 118489"/>
                  <a:gd name="connsiteY0" fmla="*/ 46419 h 109672"/>
                  <a:gd name="connsiteX1" fmla="*/ 88903 w 118489"/>
                  <a:gd name="connsiteY1" fmla="*/ 0 h 109672"/>
                  <a:gd name="connsiteX2" fmla="*/ 94660 w 118489"/>
                  <a:gd name="connsiteY2" fmla="*/ 13627 h 109672"/>
                  <a:gd name="connsiteX3" fmla="*/ 70322 w 118489"/>
                  <a:gd name="connsiteY3" fmla="*/ 49116 h 109672"/>
                  <a:gd name="connsiteX4" fmla="*/ 112733 w 118489"/>
                  <a:gd name="connsiteY4" fmla="*/ 56330 h 109672"/>
                  <a:gd name="connsiteX5" fmla="*/ 118490 w 118489"/>
                  <a:gd name="connsiteY5" fmla="*/ 69957 h 109672"/>
                  <a:gd name="connsiteX6" fmla="*/ 64200 w 118489"/>
                  <a:gd name="connsiteY6" fmla="*/ 59245 h 109672"/>
                  <a:gd name="connsiteX7" fmla="*/ 31845 w 118489"/>
                  <a:gd name="connsiteY7" fmla="*/ 109672 h 109672"/>
                  <a:gd name="connsiteX8" fmla="*/ 26088 w 118489"/>
                  <a:gd name="connsiteY8" fmla="*/ 96191 h 109672"/>
                  <a:gd name="connsiteX9" fmla="*/ 53561 w 118489"/>
                  <a:gd name="connsiteY9" fmla="*/ 56257 h 109672"/>
                  <a:gd name="connsiteX10" fmla="*/ 5757 w 118489"/>
                  <a:gd name="connsiteY10" fmla="*/ 48168 h 109672"/>
                  <a:gd name="connsiteX11" fmla="*/ 0 w 118489"/>
                  <a:gd name="connsiteY11" fmla="*/ 34687 h 109672"/>
                  <a:gd name="connsiteX12" fmla="*/ 58662 w 118489"/>
                  <a:gd name="connsiteY12" fmla="*/ 46565 h 109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489" h="109672">
                    <a:moveTo>
                      <a:pt x="58807" y="46419"/>
                    </a:moveTo>
                    <a:lnTo>
                      <a:pt x="88903" y="0"/>
                    </a:lnTo>
                    <a:lnTo>
                      <a:pt x="94660" y="13627"/>
                    </a:lnTo>
                    <a:lnTo>
                      <a:pt x="70322" y="49116"/>
                    </a:lnTo>
                    <a:lnTo>
                      <a:pt x="112733" y="56330"/>
                    </a:lnTo>
                    <a:lnTo>
                      <a:pt x="118490" y="69957"/>
                    </a:lnTo>
                    <a:lnTo>
                      <a:pt x="64200" y="59245"/>
                    </a:lnTo>
                    <a:lnTo>
                      <a:pt x="31845" y="109672"/>
                    </a:lnTo>
                    <a:lnTo>
                      <a:pt x="26088" y="96191"/>
                    </a:lnTo>
                    <a:lnTo>
                      <a:pt x="53561" y="56257"/>
                    </a:lnTo>
                    <a:lnTo>
                      <a:pt x="5757" y="48168"/>
                    </a:lnTo>
                    <a:lnTo>
                      <a:pt x="0" y="34687"/>
                    </a:lnTo>
                    <a:lnTo>
                      <a:pt x="58662" y="4656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52" name="Freeform 205">
                <a:extLst>
                  <a:ext uri="{FF2B5EF4-FFF2-40B4-BE49-F238E27FC236}">
                    <a16:creationId xmlns:a16="http://schemas.microsoft.com/office/drawing/2014/main" id="{A62A8FFF-1B4A-397E-C906-D9DBD3B043BB}"/>
                  </a:ext>
                </a:extLst>
              </p:cNvPr>
              <p:cNvSpPr/>
              <p:nvPr/>
            </p:nvSpPr>
            <p:spPr>
              <a:xfrm>
                <a:off x="9067635" y="4041630"/>
                <a:ext cx="78595" cy="73746"/>
              </a:xfrm>
              <a:custGeom>
                <a:avLst/>
                <a:gdLst>
                  <a:gd name="connsiteX0" fmla="*/ 13837 w 78595"/>
                  <a:gd name="connsiteY0" fmla="*/ 12169 h 73746"/>
                  <a:gd name="connsiteX1" fmla="*/ 47650 w 78595"/>
                  <a:gd name="connsiteY1" fmla="*/ 34833 h 73746"/>
                  <a:gd name="connsiteX2" fmla="*/ 52314 w 78595"/>
                  <a:gd name="connsiteY2" fmla="*/ 46930 h 73746"/>
                  <a:gd name="connsiteX3" fmla="*/ 56978 w 78595"/>
                  <a:gd name="connsiteY3" fmla="*/ 45108 h 73746"/>
                  <a:gd name="connsiteX4" fmla="*/ 66379 w 78595"/>
                  <a:gd name="connsiteY4" fmla="*/ 25651 h 73746"/>
                  <a:gd name="connsiteX5" fmla="*/ 49035 w 78595"/>
                  <a:gd name="connsiteY5" fmla="*/ 10129 h 73746"/>
                  <a:gd name="connsiteX6" fmla="*/ 53553 w 78595"/>
                  <a:gd name="connsiteY6" fmla="*/ 0 h 73746"/>
                  <a:gd name="connsiteX7" fmla="*/ 76289 w 78595"/>
                  <a:gd name="connsiteY7" fmla="*/ 22736 h 73746"/>
                  <a:gd name="connsiteX8" fmla="*/ 61277 w 78595"/>
                  <a:gd name="connsiteY8" fmla="*/ 56476 h 73746"/>
                  <a:gd name="connsiteX9" fmla="*/ 16024 w 78595"/>
                  <a:gd name="connsiteY9" fmla="*/ 73746 h 73746"/>
                  <a:gd name="connsiteX10" fmla="*/ 11870 w 78595"/>
                  <a:gd name="connsiteY10" fmla="*/ 62888 h 73746"/>
                  <a:gd name="connsiteX11" fmla="*/ 24549 w 78595"/>
                  <a:gd name="connsiteY11" fmla="*/ 58006 h 73746"/>
                  <a:gd name="connsiteX12" fmla="*/ 24549 w 78595"/>
                  <a:gd name="connsiteY12" fmla="*/ 57787 h 73746"/>
                  <a:gd name="connsiteX13" fmla="*/ 1886 w 78595"/>
                  <a:gd name="connsiteY13" fmla="*/ 40517 h 73746"/>
                  <a:gd name="connsiteX14" fmla="*/ 13837 w 78595"/>
                  <a:gd name="connsiteY14" fmla="*/ 12097 h 73746"/>
                  <a:gd name="connsiteX15" fmla="*/ 12599 w 78595"/>
                  <a:gd name="connsiteY15" fmla="*/ 40080 h 73746"/>
                  <a:gd name="connsiteX16" fmla="*/ 37157 w 78595"/>
                  <a:gd name="connsiteY16" fmla="*/ 52759 h 73746"/>
                  <a:gd name="connsiteX17" fmla="*/ 43788 w 78595"/>
                  <a:gd name="connsiteY17" fmla="*/ 50209 h 73746"/>
                  <a:gd name="connsiteX18" fmla="*/ 39707 w 78595"/>
                  <a:gd name="connsiteY18" fmla="*/ 39569 h 73746"/>
                  <a:gd name="connsiteX19" fmla="*/ 18574 w 78595"/>
                  <a:gd name="connsiteY19" fmla="*/ 23756 h 73746"/>
                  <a:gd name="connsiteX20" fmla="*/ 12599 w 78595"/>
                  <a:gd name="connsiteY20" fmla="*/ 40007 h 73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595" h="73746">
                    <a:moveTo>
                      <a:pt x="13837" y="12169"/>
                    </a:moveTo>
                    <a:cubicBezTo>
                      <a:pt x="29724" y="6121"/>
                      <a:pt x="41018" y="17344"/>
                      <a:pt x="47650" y="34833"/>
                    </a:cubicBezTo>
                    <a:lnTo>
                      <a:pt x="52314" y="46930"/>
                    </a:lnTo>
                    <a:lnTo>
                      <a:pt x="56978" y="45108"/>
                    </a:lnTo>
                    <a:cubicBezTo>
                      <a:pt x="66379" y="41537"/>
                      <a:pt x="70022" y="35051"/>
                      <a:pt x="66379" y="25651"/>
                    </a:cubicBezTo>
                    <a:cubicBezTo>
                      <a:pt x="63026" y="16833"/>
                      <a:pt x="56905" y="12315"/>
                      <a:pt x="49035" y="10129"/>
                    </a:cubicBezTo>
                    <a:lnTo>
                      <a:pt x="53553" y="0"/>
                    </a:lnTo>
                    <a:cubicBezTo>
                      <a:pt x="62078" y="2915"/>
                      <a:pt x="71042" y="9109"/>
                      <a:pt x="76289" y="22736"/>
                    </a:cubicBezTo>
                    <a:cubicBezTo>
                      <a:pt x="82483" y="38914"/>
                      <a:pt x="75778" y="50937"/>
                      <a:pt x="61277" y="56476"/>
                    </a:cubicBezTo>
                    <a:lnTo>
                      <a:pt x="16024" y="73746"/>
                    </a:lnTo>
                    <a:lnTo>
                      <a:pt x="11870" y="62888"/>
                    </a:lnTo>
                    <a:lnTo>
                      <a:pt x="24549" y="58006"/>
                    </a:lnTo>
                    <a:lnTo>
                      <a:pt x="24549" y="57787"/>
                    </a:lnTo>
                    <a:cubicBezTo>
                      <a:pt x="12963" y="56986"/>
                      <a:pt x="6113" y="51593"/>
                      <a:pt x="1886" y="40517"/>
                    </a:cubicBezTo>
                    <a:cubicBezTo>
                      <a:pt x="-2705" y="28420"/>
                      <a:pt x="1012" y="16979"/>
                      <a:pt x="13837" y="12097"/>
                    </a:cubicBezTo>
                    <a:close/>
                    <a:moveTo>
                      <a:pt x="12599" y="40080"/>
                    </a:moveTo>
                    <a:cubicBezTo>
                      <a:pt x="17408" y="52614"/>
                      <a:pt x="28631" y="56038"/>
                      <a:pt x="37157" y="52759"/>
                    </a:cubicBezTo>
                    <a:lnTo>
                      <a:pt x="43788" y="50209"/>
                    </a:lnTo>
                    <a:lnTo>
                      <a:pt x="39707" y="39569"/>
                    </a:lnTo>
                    <a:cubicBezTo>
                      <a:pt x="35626" y="28857"/>
                      <a:pt x="29432" y="19603"/>
                      <a:pt x="18574" y="23756"/>
                    </a:cubicBezTo>
                    <a:cubicBezTo>
                      <a:pt x="12161" y="26234"/>
                      <a:pt x="9684" y="32355"/>
                      <a:pt x="12599" y="40007"/>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53" name="Freeform 206">
                <a:extLst>
                  <a:ext uri="{FF2B5EF4-FFF2-40B4-BE49-F238E27FC236}">
                    <a16:creationId xmlns:a16="http://schemas.microsoft.com/office/drawing/2014/main" id="{4C54E55F-F8B7-AC23-AF88-093547320936}"/>
                  </a:ext>
                </a:extLst>
              </p:cNvPr>
              <p:cNvSpPr/>
              <p:nvPr/>
            </p:nvSpPr>
            <p:spPr>
              <a:xfrm>
                <a:off x="9067208" y="4114288"/>
                <a:ext cx="121895" cy="82589"/>
              </a:xfrm>
              <a:custGeom>
                <a:avLst/>
                <a:gdLst>
                  <a:gd name="connsiteX0" fmla="*/ 10401 w 121895"/>
                  <a:gd name="connsiteY0" fmla="*/ 18504 h 82589"/>
                  <a:gd name="connsiteX1" fmla="*/ 29712 w 121895"/>
                  <a:gd name="connsiteY1" fmla="*/ 25573 h 82589"/>
                  <a:gd name="connsiteX2" fmla="*/ 36709 w 121895"/>
                  <a:gd name="connsiteY2" fmla="*/ 14642 h 82589"/>
                  <a:gd name="connsiteX3" fmla="*/ 51939 w 121895"/>
                  <a:gd name="connsiteY3" fmla="*/ 20035 h 82589"/>
                  <a:gd name="connsiteX4" fmla="*/ 68408 w 121895"/>
                  <a:gd name="connsiteY4" fmla="*/ 1671 h 82589"/>
                  <a:gd name="connsiteX5" fmla="*/ 102511 w 121895"/>
                  <a:gd name="connsiteY5" fmla="*/ 19962 h 82589"/>
                  <a:gd name="connsiteX6" fmla="*/ 104406 w 121895"/>
                  <a:gd name="connsiteY6" fmla="*/ 37014 h 82589"/>
                  <a:gd name="connsiteX7" fmla="*/ 121094 w 121895"/>
                  <a:gd name="connsiteY7" fmla="*/ 47872 h 82589"/>
                  <a:gd name="connsiteX8" fmla="*/ 121895 w 121895"/>
                  <a:gd name="connsiteY8" fmla="*/ 50131 h 82589"/>
                  <a:gd name="connsiteX9" fmla="*/ 110382 w 121895"/>
                  <a:gd name="connsiteY9" fmla="*/ 54212 h 82589"/>
                  <a:gd name="connsiteX10" fmla="*/ 109580 w 121895"/>
                  <a:gd name="connsiteY10" fmla="*/ 51880 h 82589"/>
                  <a:gd name="connsiteX11" fmla="*/ 103168 w 121895"/>
                  <a:gd name="connsiteY11" fmla="*/ 41605 h 82589"/>
                  <a:gd name="connsiteX12" fmla="*/ 87573 w 121895"/>
                  <a:gd name="connsiteY12" fmla="*/ 55450 h 82589"/>
                  <a:gd name="connsiteX13" fmla="*/ 53906 w 121895"/>
                  <a:gd name="connsiteY13" fmla="*/ 36795 h 82589"/>
                  <a:gd name="connsiteX14" fmla="*/ 51720 w 121895"/>
                  <a:gd name="connsiteY14" fmla="*/ 24116 h 82589"/>
                  <a:gd name="connsiteX15" fmla="*/ 46254 w 121895"/>
                  <a:gd name="connsiteY15" fmla="*/ 23387 h 82589"/>
                  <a:gd name="connsiteX16" fmla="*/ 45672 w 121895"/>
                  <a:gd name="connsiteY16" fmla="*/ 44593 h 82589"/>
                  <a:gd name="connsiteX17" fmla="*/ 37947 w 121895"/>
                  <a:gd name="connsiteY17" fmla="*/ 81102 h 82589"/>
                  <a:gd name="connsiteX18" fmla="*/ 4061 w 121895"/>
                  <a:gd name="connsiteY18" fmla="*/ 55159 h 82589"/>
                  <a:gd name="connsiteX19" fmla="*/ 10547 w 121895"/>
                  <a:gd name="connsiteY19" fmla="*/ 18504 h 82589"/>
                  <a:gd name="connsiteX20" fmla="*/ 13170 w 121895"/>
                  <a:gd name="connsiteY20" fmla="*/ 52462 h 82589"/>
                  <a:gd name="connsiteX21" fmla="*/ 32118 w 121895"/>
                  <a:gd name="connsiteY21" fmla="*/ 69588 h 82589"/>
                  <a:gd name="connsiteX22" fmla="*/ 33502 w 121895"/>
                  <a:gd name="connsiteY22" fmla="*/ 45321 h 82589"/>
                  <a:gd name="connsiteX23" fmla="*/ 30004 w 121895"/>
                  <a:gd name="connsiteY23" fmla="*/ 30528 h 82589"/>
                  <a:gd name="connsiteX24" fmla="*/ 17688 w 121895"/>
                  <a:gd name="connsiteY24" fmla="*/ 28634 h 82589"/>
                  <a:gd name="connsiteX25" fmla="*/ 13243 w 121895"/>
                  <a:gd name="connsiteY25" fmla="*/ 52535 h 82589"/>
                  <a:gd name="connsiteX26" fmla="*/ 62651 w 121895"/>
                  <a:gd name="connsiteY26" fmla="*/ 33516 h 82589"/>
                  <a:gd name="connsiteX27" fmla="*/ 83201 w 121895"/>
                  <a:gd name="connsiteY27" fmla="*/ 43718 h 82589"/>
                  <a:gd name="connsiteX28" fmla="*/ 93475 w 121895"/>
                  <a:gd name="connsiteY28" fmla="*/ 23314 h 82589"/>
                  <a:gd name="connsiteX29" fmla="*/ 72488 w 121895"/>
                  <a:gd name="connsiteY29" fmla="*/ 13476 h 82589"/>
                  <a:gd name="connsiteX30" fmla="*/ 62651 w 121895"/>
                  <a:gd name="connsiteY30" fmla="*/ 33516 h 8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895" h="82589">
                    <a:moveTo>
                      <a:pt x="10401" y="18504"/>
                    </a:moveTo>
                    <a:cubicBezTo>
                      <a:pt x="18199" y="15735"/>
                      <a:pt x="25413" y="19743"/>
                      <a:pt x="29712" y="25573"/>
                    </a:cubicBezTo>
                    <a:cubicBezTo>
                      <a:pt x="29785" y="20399"/>
                      <a:pt x="31680" y="16391"/>
                      <a:pt x="36709" y="14642"/>
                    </a:cubicBezTo>
                    <a:cubicBezTo>
                      <a:pt x="42101" y="12748"/>
                      <a:pt x="47639" y="14642"/>
                      <a:pt x="51939" y="20035"/>
                    </a:cubicBezTo>
                    <a:cubicBezTo>
                      <a:pt x="53469" y="11436"/>
                      <a:pt x="59299" y="4877"/>
                      <a:pt x="68408" y="1671"/>
                    </a:cubicBezTo>
                    <a:cubicBezTo>
                      <a:pt x="81743" y="-3066"/>
                      <a:pt x="96171" y="2035"/>
                      <a:pt x="102511" y="19962"/>
                    </a:cubicBezTo>
                    <a:cubicBezTo>
                      <a:pt x="104844" y="26448"/>
                      <a:pt x="105353" y="32131"/>
                      <a:pt x="104406" y="37014"/>
                    </a:cubicBezTo>
                    <a:cubicBezTo>
                      <a:pt x="112495" y="37451"/>
                      <a:pt x="118252" y="39856"/>
                      <a:pt x="121094" y="47872"/>
                    </a:cubicBezTo>
                    <a:lnTo>
                      <a:pt x="121895" y="50131"/>
                    </a:lnTo>
                    <a:lnTo>
                      <a:pt x="110382" y="54212"/>
                    </a:lnTo>
                    <a:lnTo>
                      <a:pt x="109580" y="51880"/>
                    </a:lnTo>
                    <a:cubicBezTo>
                      <a:pt x="107394" y="45758"/>
                      <a:pt x="105499" y="43281"/>
                      <a:pt x="103168" y="41605"/>
                    </a:cubicBezTo>
                    <a:cubicBezTo>
                      <a:pt x="100399" y="48236"/>
                      <a:pt x="94714" y="52900"/>
                      <a:pt x="87573" y="55450"/>
                    </a:cubicBezTo>
                    <a:cubicBezTo>
                      <a:pt x="74602" y="60041"/>
                      <a:pt x="60246" y="54576"/>
                      <a:pt x="53906" y="36795"/>
                    </a:cubicBezTo>
                    <a:cubicBezTo>
                      <a:pt x="52302" y="32277"/>
                      <a:pt x="51574" y="27978"/>
                      <a:pt x="51720" y="24116"/>
                    </a:cubicBezTo>
                    <a:cubicBezTo>
                      <a:pt x="50117" y="23022"/>
                      <a:pt x="48368" y="22658"/>
                      <a:pt x="46254" y="23387"/>
                    </a:cubicBezTo>
                    <a:cubicBezTo>
                      <a:pt x="40643" y="25354"/>
                      <a:pt x="42028" y="32058"/>
                      <a:pt x="45672" y="44593"/>
                    </a:cubicBezTo>
                    <a:cubicBezTo>
                      <a:pt x="50336" y="60114"/>
                      <a:pt x="54124" y="75344"/>
                      <a:pt x="37947" y="81102"/>
                    </a:cubicBezTo>
                    <a:cubicBezTo>
                      <a:pt x="22644" y="86494"/>
                      <a:pt x="11859" y="77093"/>
                      <a:pt x="4061" y="55159"/>
                    </a:cubicBezTo>
                    <a:cubicBezTo>
                      <a:pt x="-3954" y="32496"/>
                      <a:pt x="782" y="22002"/>
                      <a:pt x="10547" y="18504"/>
                    </a:cubicBezTo>
                    <a:close/>
                    <a:moveTo>
                      <a:pt x="13170" y="52462"/>
                    </a:moveTo>
                    <a:cubicBezTo>
                      <a:pt x="17907" y="65798"/>
                      <a:pt x="23300" y="72721"/>
                      <a:pt x="32118" y="69588"/>
                    </a:cubicBezTo>
                    <a:cubicBezTo>
                      <a:pt x="39332" y="67037"/>
                      <a:pt x="38020" y="60187"/>
                      <a:pt x="33502" y="45321"/>
                    </a:cubicBezTo>
                    <a:cubicBezTo>
                      <a:pt x="31972" y="40147"/>
                      <a:pt x="30587" y="35046"/>
                      <a:pt x="30004" y="30528"/>
                    </a:cubicBezTo>
                    <a:cubicBezTo>
                      <a:pt x="26579" y="28124"/>
                      <a:pt x="22352" y="26957"/>
                      <a:pt x="17688" y="28634"/>
                    </a:cubicBezTo>
                    <a:cubicBezTo>
                      <a:pt x="9455" y="31548"/>
                      <a:pt x="8142" y="38180"/>
                      <a:pt x="13243" y="52535"/>
                    </a:cubicBezTo>
                    <a:close/>
                    <a:moveTo>
                      <a:pt x="62651" y="33516"/>
                    </a:moveTo>
                    <a:cubicBezTo>
                      <a:pt x="66002" y="43062"/>
                      <a:pt x="74310" y="46852"/>
                      <a:pt x="83201" y="43718"/>
                    </a:cubicBezTo>
                    <a:cubicBezTo>
                      <a:pt x="92674" y="40366"/>
                      <a:pt x="96755" y="32642"/>
                      <a:pt x="93475" y="23314"/>
                    </a:cubicBezTo>
                    <a:cubicBezTo>
                      <a:pt x="90123" y="13840"/>
                      <a:pt x="81962" y="10124"/>
                      <a:pt x="72488" y="13476"/>
                    </a:cubicBezTo>
                    <a:cubicBezTo>
                      <a:pt x="62287" y="17120"/>
                      <a:pt x="59663" y="25063"/>
                      <a:pt x="62651" y="33516"/>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54" name="Freeform 207">
                <a:extLst>
                  <a:ext uri="{FF2B5EF4-FFF2-40B4-BE49-F238E27FC236}">
                    <a16:creationId xmlns:a16="http://schemas.microsoft.com/office/drawing/2014/main" id="{602EA7C9-3665-F1B3-2B28-4456CE4C12D3}"/>
                  </a:ext>
                </a:extLst>
              </p:cNvPr>
              <p:cNvSpPr/>
              <p:nvPr/>
            </p:nvSpPr>
            <p:spPr>
              <a:xfrm>
                <a:off x="9120828" y="4183907"/>
                <a:ext cx="75996" cy="72403"/>
              </a:xfrm>
              <a:custGeom>
                <a:avLst/>
                <a:gdLst>
                  <a:gd name="connsiteX0" fmla="*/ 26957 w 75996"/>
                  <a:gd name="connsiteY0" fmla="*/ 2520 h 72403"/>
                  <a:gd name="connsiteX1" fmla="*/ 74106 w 75996"/>
                  <a:gd name="connsiteY1" fmla="*/ 24381 h 72403"/>
                  <a:gd name="connsiteX2" fmla="*/ 50496 w 75996"/>
                  <a:gd name="connsiteY2" fmla="*/ 65699 h 72403"/>
                  <a:gd name="connsiteX3" fmla="*/ 45030 w 75996"/>
                  <a:gd name="connsiteY3" fmla="*/ 67303 h 72403"/>
                  <a:gd name="connsiteX4" fmla="*/ 28051 w 75996"/>
                  <a:gd name="connsiteY4" fmla="*/ 15709 h 72403"/>
                  <a:gd name="connsiteX5" fmla="*/ 12238 w 75996"/>
                  <a:gd name="connsiteY5" fmla="*/ 46170 h 72403"/>
                  <a:gd name="connsiteX6" fmla="*/ 26885 w 75996"/>
                  <a:gd name="connsiteY6" fmla="*/ 62785 h 72403"/>
                  <a:gd name="connsiteX7" fmla="*/ 22076 w 75996"/>
                  <a:gd name="connsiteY7" fmla="*/ 72404 h 72403"/>
                  <a:gd name="connsiteX8" fmla="*/ 2400 w 75996"/>
                  <a:gd name="connsiteY8" fmla="*/ 49376 h 72403"/>
                  <a:gd name="connsiteX9" fmla="*/ 26957 w 75996"/>
                  <a:gd name="connsiteY9" fmla="*/ 2592 h 72403"/>
                  <a:gd name="connsiteX10" fmla="*/ 50204 w 75996"/>
                  <a:gd name="connsiteY10" fmla="*/ 52728 h 72403"/>
                  <a:gd name="connsiteX11" fmla="*/ 64050 w 75996"/>
                  <a:gd name="connsiteY11" fmla="*/ 27077 h 72403"/>
                  <a:gd name="connsiteX12" fmla="*/ 37160 w 75996"/>
                  <a:gd name="connsiteY12" fmla="*/ 13013 h 72403"/>
                  <a:gd name="connsiteX13" fmla="*/ 50204 w 75996"/>
                  <a:gd name="connsiteY13" fmla="*/ 52728 h 72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996" h="72403">
                    <a:moveTo>
                      <a:pt x="26957" y="2520"/>
                    </a:moveTo>
                    <a:cubicBezTo>
                      <a:pt x="51151" y="-5423"/>
                      <a:pt x="68203" y="6382"/>
                      <a:pt x="74106" y="24381"/>
                    </a:cubicBezTo>
                    <a:cubicBezTo>
                      <a:pt x="81466" y="46899"/>
                      <a:pt x="66018" y="60599"/>
                      <a:pt x="50496" y="65699"/>
                    </a:cubicBezTo>
                    <a:cubicBezTo>
                      <a:pt x="48601" y="66282"/>
                      <a:pt x="46779" y="66866"/>
                      <a:pt x="45030" y="67303"/>
                    </a:cubicBezTo>
                    <a:lnTo>
                      <a:pt x="28051" y="15709"/>
                    </a:lnTo>
                    <a:cubicBezTo>
                      <a:pt x="13257" y="21466"/>
                      <a:pt x="7501" y="31887"/>
                      <a:pt x="12238" y="46170"/>
                    </a:cubicBezTo>
                    <a:cubicBezTo>
                      <a:pt x="15007" y="54696"/>
                      <a:pt x="19306" y="59651"/>
                      <a:pt x="26885" y="62785"/>
                    </a:cubicBezTo>
                    <a:lnTo>
                      <a:pt x="22076" y="72404"/>
                    </a:lnTo>
                    <a:cubicBezTo>
                      <a:pt x="12165" y="68104"/>
                      <a:pt x="6408" y="61546"/>
                      <a:pt x="2400" y="49376"/>
                    </a:cubicBezTo>
                    <a:cubicBezTo>
                      <a:pt x="-4523" y="28389"/>
                      <a:pt x="3493" y="10244"/>
                      <a:pt x="26957" y="2592"/>
                    </a:cubicBezTo>
                    <a:close/>
                    <a:moveTo>
                      <a:pt x="50204" y="52728"/>
                    </a:moveTo>
                    <a:cubicBezTo>
                      <a:pt x="63393" y="47044"/>
                      <a:pt x="67620" y="37790"/>
                      <a:pt x="64050" y="27077"/>
                    </a:cubicBezTo>
                    <a:cubicBezTo>
                      <a:pt x="60552" y="16438"/>
                      <a:pt x="51224" y="10390"/>
                      <a:pt x="37160" y="13013"/>
                    </a:cubicBezTo>
                    <a:lnTo>
                      <a:pt x="50204" y="52728"/>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55" name="Freeform 208">
                <a:extLst>
                  <a:ext uri="{FF2B5EF4-FFF2-40B4-BE49-F238E27FC236}">
                    <a16:creationId xmlns:a16="http://schemas.microsoft.com/office/drawing/2014/main" id="{AA6FC2D8-8F10-EE55-0E24-53A8CBCE4290}"/>
                  </a:ext>
                </a:extLst>
              </p:cNvPr>
              <p:cNvSpPr/>
              <p:nvPr/>
            </p:nvSpPr>
            <p:spPr>
              <a:xfrm>
                <a:off x="9138968" y="4256602"/>
                <a:ext cx="82788" cy="77025"/>
              </a:xfrm>
              <a:custGeom>
                <a:avLst/>
                <a:gdLst>
                  <a:gd name="connsiteX0" fmla="*/ 69957 w 82788"/>
                  <a:gd name="connsiteY0" fmla="*/ 0 h 77025"/>
                  <a:gd name="connsiteX1" fmla="*/ 73310 w 82788"/>
                  <a:gd name="connsiteY1" fmla="*/ 11150 h 77025"/>
                  <a:gd name="connsiteX2" fmla="*/ 58735 w 82788"/>
                  <a:gd name="connsiteY2" fmla="*/ 15522 h 77025"/>
                  <a:gd name="connsiteX3" fmla="*/ 58735 w 82788"/>
                  <a:gd name="connsiteY3" fmla="*/ 15813 h 77025"/>
                  <a:gd name="connsiteX4" fmla="*/ 81544 w 82788"/>
                  <a:gd name="connsiteY4" fmla="*/ 33740 h 77025"/>
                  <a:gd name="connsiteX5" fmla="*/ 63471 w 82788"/>
                  <a:gd name="connsiteY5" fmla="*/ 63034 h 77025"/>
                  <a:gd name="connsiteX6" fmla="*/ 16834 w 82788"/>
                  <a:gd name="connsiteY6" fmla="*/ 77026 h 77025"/>
                  <a:gd name="connsiteX7" fmla="*/ 13335 w 82788"/>
                  <a:gd name="connsiteY7" fmla="*/ 65293 h 77025"/>
                  <a:gd name="connsiteX8" fmla="*/ 57715 w 82788"/>
                  <a:gd name="connsiteY8" fmla="*/ 51958 h 77025"/>
                  <a:gd name="connsiteX9" fmla="*/ 69957 w 82788"/>
                  <a:gd name="connsiteY9" fmla="*/ 32574 h 77025"/>
                  <a:gd name="connsiteX10" fmla="*/ 44088 w 82788"/>
                  <a:gd name="connsiteY10" fmla="*/ 20550 h 77025"/>
                  <a:gd name="connsiteX11" fmla="*/ 3498 w 82788"/>
                  <a:gd name="connsiteY11" fmla="*/ 32719 h 77025"/>
                  <a:gd name="connsiteX12" fmla="*/ 0 w 82788"/>
                  <a:gd name="connsiteY12" fmla="*/ 21060 h 77025"/>
                  <a:gd name="connsiteX13" fmla="*/ 69957 w 82788"/>
                  <a:gd name="connsiteY13" fmla="*/ 0 h 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788" h="77025">
                    <a:moveTo>
                      <a:pt x="69957" y="0"/>
                    </a:moveTo>
                    <a:lnTo>
                      <a:pt x="73310" y="11150"/>
                    </a:lnTo>
                    <a:lnTo>
                      <a:pt x="58735" y="15522"/>
                    </a:lnTo>
                    <a:lnTo>
                      <a:pt x="58735" y="15813"/>
                    </a:lnTo>
                    <a:cubicBezTo>
                      <a:pt x="66970" y="16396"/>
                      <a:pt x="77317" y="19675"/>
                      <a:pt x="81544" y="33740"/>
                    </a:cubicBezTo>
                    <a:cubicBezTo>
                      <a:pt x="85989" y="48533"/>
                      <a:pt x="78191" y="58589"/>
                      <a:pt x="63471" y="63034"/>
                    </a:cubicBezTo>
                    <a:lnTo>
                      <a:pt x="16834" y="77026"/>
                    </a:lnTo>
                    <a:lnTo>
                      <a:pt x="13335" y="65293"/>
                    </a:lnTo>
                    <a:lnTo>
                      <a:pt x="57715" y="51958"/>
                    </a:lnTo>
                    <a:cubicBezTo>
                      <a:pt x="67917" y="48897"/>
                      <a:pt x="73164" y="43286"/>
                      <a:pt x="69957" y="32574"/>
                    </a:cubicBezTo>
                    <a:cubicBezTo>
                      <a:pt x="66678" y="21570"/>
                      <a:pt x="57204" y="16615"/>
                      <a:pt x="44088" y="20550"/>
                    </a:cubicBezTo>
                    <a:lnTo>
                      <a:pt x="3498" y="32719"/>
                    </a:lnTo>
                    <a:lnTo>
                      <a:pt x="0" y="21060"/>
                    </a:lnTo>
                    <a:lnTo>
                      <a:pt x="69957"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56" name="Freeform 209">
                <a:extLst>
                  <a:ext uri="{FF2B5EF4-FFF2-40B4-BE49-F238E27FC236}">
                    <a16:creationId xmlns:a16="http://schemas.microsoft.com/office/drawing/2014/main" id="{0C8421C8-62C2-38EE-88F3-406FDF285F5C}"/>
                  </a:ext>
                </a:extLst>
              </p:cNvPr>
              <p:cNvSpPr/>
              <p:nvPr/>
            </p:nvSpPr>
            <p:spPr>
              <a:xfrm>
                <a:off x="9164298" y="4325903"/>
                <a:ext cx="88132" cy="56548"/>
              </a:xfrm>
              <a:custGeom>
                <a:avLst/>
                <a:gdLst>
                  <a:gd name="connsiteX0" fmla="*/ 12564 w 88132"/>
                  <a:gd name="connsiteY0" fmla="*/ 24704 h 56548"/>
                  <a:gd name="connsiteX1" fmla="*/ 57963 w 88132"/>
                  <a:gd name="connsiteY1" fmla="*/ 12097 h 56548"/>
                  <a:gd name="connsiteX2" fmla="*/ 55048 w 88132"/>
                  <a:gd name="connsiteY2" fmla="*/ 1676 h 56548"/>
                  <a:gd name="connsiteX3" fmla="*/ 61169 w 88132"/>
                  <a:gd name="connsiteY3" fmla="*/ 0 h 56548"/>
                  <a:gd name="connsiteX4" fmla="*/ 87768 w 88132"/>
                  <a:gd name="connsiteY4" fmla="*/ 15012 h 56548"/>
                  <a:gd name="connsiteX5" fmla="*/ 88132 w 88132"/>
                  <a:gd name="connsiteY5" fmla="*/ 16396 h 56548"/>
                  <a:gd name="connsiteX6" fmla="*/ 71080 w 88132"/>
                  <a:gd name="connsiteY6" fmla="*/ 21133 h 56548"/>
                  <a:gd name="connsiteX7" fmla="*/ 75452 w 88132"/>
                  <a:gd name="connsiteY7" fmla="*/ 36873 h 56548"/>
                  <a:gd name="connsiteX8" fmla="*/ 65614 w 88132"/>
                  <a:gd name="connsiteY8" fmla="*/ 39642 h 56548"/>
                  <a:gd name="connsiteX9" fmla="*/ 61242 w 88132"/>
                  <a:gd name="connsiteY9" fmla="*/ 23902 h 56548"/>
                  <a:gd name="connsiteX10" fmla="*/ 18248 w 88132"/>
                  <a:gd name="connsiteY10" fmla="*/ 35853 h 56548"/>
                  <a:gd name="connsiteX11" fmla="*/ 12418 w 88132"/>
                  <a:gd name="connsiteY11" fmla="*/ 45836 h 56548"/>
                  <a:gd name="connsiteX12" fmla="*/ 15770 w 88132"/>
                  <a:gd name="connsiteY12" fmla="*/ 53561 h 56548"/>
                  <a:gd name="connsiteX13" fmla="*/ 5058 w 88132"/>
                  <a:gd name="connsiteY13" fmla="*/ 56549 h 56548"/>
                  <a:gd name="connsiteX14" fmla="*/ 1269 w 88132"/>
                  <a:gd name="connsiteY14" fmla="*/ 47075 h 56548"/>
                  <a:gd name="connsiteX15" fmla="*/ 12564 w 88132"/>
                  <a:gd name="connsiteY15" fmla="*/ 24849 h 5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8132" h="56548">
                    <a:moveTo>
                      <a:pt x="12564" y="24704"/>
                    </a:moveTo>
                    <a:lnTo>
                      <a:pt x="57963" y="12097"/>
                    </a:lnTo>
                    <a:lnTo>
                      <a:pt x="55048" y="1676"/>
                    </a:lnTo>
                    <a:lnTo>
                      <a:pt x="61169" y="0"/>
                    </a:lnTo>
                    <a:lnTo>
                      <a:pt x="87768" y="15012"/>
                    </a:lnTo>
                    <a:lnTo>
                      <a:pt x="88132" y="16396"/>
                    </a:lnTo>
                    <a:lnTo>
                      <a:pt x="71080" y="21133"/>
                    </a:lnTo>
                    <a:lnTo>
                      <a:pt x="75452" y="36873"/>
                    </a:lnTo>
                    <a:lnTo>
                      <a:pt x="65614" y="39642"/>
                    </a:lnTo>
                    <a:lnTo>
                      <a:pt x="61242" y="23902"/>
                    </a:lnTo>
                    <a:lnTo>
                      <a:pt x="18248" y="35853"/>
                    </a:lnTo>
                    <a:cubicBezTo>
                      <a:pt x="11981" y="37602"/>
                      <a:pt x="10815" y="40080"/>
                      <a:pt x="12418" y="45836"/>
                    </a:cubicBezTo>
                    <a:cubicBezTo>
                      <a:pt x="13220" y="48605"/>
                      <a:pt x="14458" y="51302"/>
                      <a:pt x="15770" y="53561"/>
                    </a:cubicBezTo>
                    <a:lnTo>
                      <a:pt x="5058" y="56549"/>
                    </a:lnTo>
                    <a:cubicBezTo>
                      <a:pt x="3673" y="54217"/>
                      <a:pt x="2289" y="50500"/>
                      <a:pt x="1269" y="47075"/>
                    </a:cubicBezTo>
                    <a:cubicBezTo>
                      <a:pt x="-2156" y="34833"/>
                      <a:pt x="1269" y="27983"/>
                      <a:pt x="12564" y="2484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57" name="Freeform 210">
                <a:extLst>
                  <a:ext uri="{FF2B5EF4-FFF2-40B4-BE49-F238E27FC236}">
                    <a16:creationId xmlns:a16="http://schemas.microsoft.com/office/drawing/2014/main" id="{2680EC85-FE46-F18E-8F2F-5915CB96251B}"/>
                  </a:ext>
                </a:extLst>
              </p:cNvPr>
              <p:cNvSpPr/>
              <p:nvPr/>
            </p:nvSpPr>
            <p:spPr>
              <a:xfrm>
                <a:off x="9176118" y="4379600"/>
                <a:ext cx="76469" cy="61729"/>
              </a:xfrm>
              <a:custGeom>
                <a:avLst/>
                <a:gdLst>
                  <a:gd name="connsiteX0" fmla="*/ 5480 w 76469"/>
                  <a:gd name="connsiteY0" fmla="*/ 8609 h 61729"/>
                  <a:gd name="connsiteX1" fmla="*/ 14954 w 76469"/>
                  <a:gd name="connsiteY1" fmla="*/ 14220 h 61729"/>
                  <a:gd name="connsiteX2" fmla="*/ 11456 w 76469"/>
                  <a:gd name="connsiteY2" fmla="*/ 37175 h 61729"/>
                  <a:gd name="connsiteX3" fmla="*/ 25593 w 76469"/>
                  <a:gd name="connsiteY3" fmla="*/ 49709 h 61729"/>
                  <a:gd name="connsiteX4" fmla="*/ 34192 w 76469"/>
                  <a:gd name="connsiteY4" fmla="*/ 28430 h 61729"/>
                  <a:gd name="connsiteX5" fmla="*/ 48912 w 76469"/>
                  <a:gd name="connsiteY5" fmla="*/ 739 h 61729"/>
                  <a:gd name="connsiteX6" fmla="*/ 75073 w 76469"/>
                  <a:gd name="connsiteY6" fmla="*/ 20560 h 61729"/>
                  <a:gd name="connsiteX7" fmla="*/ 72158 w 76469"/>
                  <a:gd name="connsiteY7" fmla="*/ 47814 h 61729"/>
                  <a:gd name="connsiteX8" fmla="*/ 62685 w 76469"/>
                  <a:gd name="connsiteY8" fmla="*/ 42276 h 61729"/>
                  <a:gd name="connsiteX9" fmla="*/ 65090 w 76469"/>
                  <a:gd name="connsiteY9" fmla="*/ 23183 h 61729"/>
                  <a:gd name="connsiteX10" fmla="*/ 52337 w 76469"/>
                  <a:gd name="connsiteY10" fmla="*/ 12034 h 61729"/>
                  <a:gd name="connsiteX11" fmla="*/ 45342 w 76469"/>
                  <a:gd name="connsiteY11" fmla="*/ 33021 h 61729"/>
                  <a:gd name="connsiteX12" fmla="*/ 29455 w 76469"/>
                  <a:gd name="connsiteY12" fmla="*/ 61004 h 61729"/>
                  <a:gd name="connsiteX13" fmla="*/ 1691 w 76469"/>
                  <a:gd name="connsiteY13" fmla="*/ 39725 h 61729"/>
                  <a:gd name="connsiteX14" fmla="*/ 5480 w 76469"/>
                  <a:gd name="connsiteY14" fmla="*/ 8609 h 6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469" h="61729">
                    <a:moveTo>
                      <a:pt x="5480" y="8609"/>
                    </a:moveTo>
                    <a:lnTo>
                      <a:pt x="14954" y="14220"/>
                    </a:lnTo>
                    <a:cubicBezTo>
                      <a:pt x="9707" y="22382"/>
                      <a:pt x="9342" y="29232"/>
                      <a:pt x="11456" y="37175"/>
                    </a:cubicBezTo>
                    <a:cubicBezTo>
                      <a:pt x="13424" y="44826"/>
                      <a:pt x="17796" y="51749"/>
                      <a:pt x="25593" y="49709"/>
                    </a:cubicBezTo>
                    <a:cubicBezTo>
                      <a:pt x="33754" y="47596"/>
                      <a:pt x="33973" y="39798"/>
                      <a:pt x="34192" y="28430"/>
                    </a:cubicBezTo>
                    <a:cubicBezTo>
                      <a:pt x="34411" y="17062"/>
                      <a:pt x="35358" y="4237"/>
                      <a:pt x="48912" y="739"/>
                    </a:cubicBezTo>
                    <a:cubicBezTo>
                      <a:pt x="61738" y="-2613"/>
                      <a:pt x="71211" y="5694"/>
                      <a:pt x="75073" y="20560"/>
                    </a:cubicBezTo>
                    <a:cubicBezTo>
                      <a:pt x="77550" y="30033"/>
                      <a:pt x="76822" y="40163"/>
                      <a:pt x="72158" y="47814"/>
                    </a:cubicBezTo>
                    <a:lnTo>
                      <a:pt x="62685" y="42276"/>
                    </a:lnTo>
                    <a:cubicBezTo>
                      <a:pt x="66547" y="35717"/>
                      <a:pt x="66620" y="29086"/>
                      <a:pt x="65090" y="23183"/>
                    </a:cubicBezTo>
                    <a:cubicBezTo>
                      <a:pt x="62976" y="15168"/>
                      <a:pt x="58750" y="10358"/>
                      <a:pt x="52337" y="12034"/>
                    </a:cubicBezTo>
                    <a:cubicBezTo>
                      <a:pt x="45778" y="13710"/>
                      <a:pt x="45560" y="21653"/>
                      <a:pt x="45342" y="33021"/>
                    </a:cubicBezTo>
                    <a:cubicBezTo>
                      <a:pt x="45123" y="43733"/>
                      <a:pt x="44685" y="57069"/>
                      <a:pt x="29455" y="61004"/>
                    </a:cubicBezTo>
                    <a:cubicBezTo>
                      <a:pt x="16193" y="64429"/>
                      <a:pt x="5772" y="55465"/>
                      <a:pt x="1691" y="39725"/>
                    </a:cubicBezTo>
                    <a:cubicBezTo>
                      <a:pt x="-1078" y="29086"/>
                      <a:pt x="-860" y="18228"/>
                      <a:pt x="5480" y="860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grpSp>
          <p:nvGrpSpPr>
            <p:cNvPr id="1558" name="Graphic 2">
              <a:extLst>
                <a:ext uri="{FF2B5EF4-FFF2-40B4-BE49-F238E27FC236}">
                  <a16:creationId xmlns:a16="http://schemas.microsoft.com/office/drawing/2014/main" id="{DC9E0332-5332-D83C-4D6E-404BA89EDCB1}"/>
                </a:ext>
              </a:extLst>
            </p:cNvPr>
            <p:cNvGrpSpPr/>
            <p:nvPr/>
          </p:nvGrpSpPr>
          <p:grpSpPr>
            <a:xfrm>
              <a:off x="3899550" y="2374244"/>
              <a:ext cx="737887" cy="548086"/>
              <a:chOff x="3900538" y="2373973"/>
              <a:chExt cx="738073" cy="548230"/>
            </a:xfrm>
            <a:solidFill>
              <a:srgbClr val="00144A"/>
            </a:solidFill>
          </p:grpSpPr>
          <p:sp>
            <p:nvSpPr>
              <p:cNvPr id="1559" name="Freeform 212">
                <a:extLst>
                  <a:ext uri="{FF2B5EF4-FFF2-40B4-BE49-F238E27FC236}">
                    <a16:creationId xmlns:a16="http://schemas.microsoft.com/office/drawing/2014/main" id="{A295EFAA-8716-4A62-9A22-4D9E3D225312}"/>
                  </a:ext>
                </a:extLst>
              </p:cNvPr>
              <p:cNvSpPr/>
              <p:nvPr/>
            </p:nvSpPr>
            <p:spPr>
              <a:xfrm>
                <a:off x="3900538" y="2823718"/>
                <a:ext cx="93911" cy="98485"/>
              </a:xfrm>
              <a:custGeom>
                <a:avLst/>
                <a:gdLst>
                  <a:gd name="connsiteX0" fmla="*/ 43176 w 93911"/>
                  <a:gd name="connsiteY0" fmla="*/ 98090 h 98485"/>
                  <a:gd name="connsiteX1" fmla="*/ 43613 w 93911"/>
                  <a:gd name="connsiteY1" fmla="*/ 85628 h 98485"/>
                  <a:gd name="connsiteX2" fmla="*/ 71887 w 93911"/>
                  <a:gd name="connsiteY2" fmla="*/ 76665 h 98485"/>
                  <a:gd name="connsiteX3" fmla="*/ 78082 w 93911"/>
                  <a:gd name="connsiteY3" fmla="*/ 49411 h 98485"/>
                  <a:gd name="connsiteX4" fmla="*/ 48350 w 93911"/>
                  <a:gd name="connsiteY4" fmla="*/ 52909 h 98485"/>
                  <a:gd name="connsiteX5" fmla="*/ 6740 w 93911"/>
                  <a:gd name="connsiteY5" fmla="*/ 53565 h 98485"/>
                  <a:gd name="connsiteX6" fmla="*/ 13517 w 93911"/>
                  <a:gd name="connsiteY6" fmla="*/ 12319 h 98485"/>
                  <a:gd name="connsiteX7" fmla="*/ 46309 w 93911"/>
                  <a:gd name="connsiteY7" fmla="*/ 295 h 98485"/>
                  <a:gd name="connsiteX8" fmla="*/ 45872 w 93911"/>
                  <a:gd name="connsiteY8" fmla="*/ 12392 h 98485"/>
                  <a:gd name="connsiteX9" fmla="*/ 20659 w 93911"/>
                  <a:gd name="connsiteY9" fmla="*/ 20991 h 98485"/>
                  <a:gd name="connsiteX10" fmla="*/ 15630 w 93911"/>
                  <a:gd name="connsiteY10" fmla="*/ 44674 h 98485"/>
                  <a:gd name="connsiteX11" fmla="*/ 43686 w 93911"/>
                  <a:gd name="connsiteY11" fmla="*/ 41249 h 98485"/>
                  <a:gd name="connsiteX12" fmla="*/ 86826 w 93911"/>
                  <a:gd name="connsiteY12" fmla="*/ 40229 h 98485"/>
                  <a:gd name="connsiteX13" fmla="*/ 79466 w 93911"/>
                  <a:gd name="connsiteY13" fmla="*/ 84900 h 98485"/>
                  <a:gd name="connsiteX14" fmla="*/ 43030 w 93911"/>
                  <a:gd name="connsiteY14" fmla="*/ 98017 h 9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3911" h="98485">
                    <a:moveTo>
                      <a:pt x="43176" y="98090"/>
                    </a:moveTo>
                    <a:lnTo>
                      <a:pt x="43613" y="85628"/>
                    </a:lnTo>
                    <a:cubicBezTo>
                      <a:pt x="52649" y="86940"/>
                      <a:pt x="61612" y="86284"/>
                      <a:pt x="71887" y="76665"/>
                    </a:cubicBezTo>
                    <a:cubicBezTo>
                      <a:pt x="81215" y="67994"/>
                      <a:pt x="85660" y="57500"/>
                      <a:pt x="78082" y="49411"/>
                    </a:cubicBezTo>
                    <a:cubicBezTo>
                      <a:pt x="70357" y="41104"/>
                      <a:pt x="59718" y="46642"/>
                      <a:pt x="48350" y="52909"/>
                    </a:cubicBezTo>
                    <a:cubicBezTo>
                      <a:pt x="35087" y="60196"/>
                      <a:pt x="20221" y="67994"/>
                      <a:pt x="6740" y="53565"/>
                    </a:cubicBezTo>
                    <a:cubicBezTo>
                      <a:pt x="-5648" y="40302"/>
                      <a:pt x="473" y="24489"/>
                      <a:pt x="13517" y="12319"/>
                    </a:cubicBezTo>
                    <a:cubicBezTo>
                      <a:pt x="25177" y="1461"/>
                      <a:pt x="36399" y="-943"/>
                      <a:pt x="46309" y="295"/>
                    </a:cubicBezTo>
                    <a:lnTo>
                      <a:pt x="45872" y="12392"/>
                    </a:lnTo>
                    <a:cubicBezTo>
                      <a:pt x="37419" y="11445"/>
                      <a:pt x="29112" y="13121"/>
                      <a:pt x="20659" y="20991"/>
                    </a:cubicBezTo>
                    <a:cubicBezTo>
                      <a:pt x="10675" y="30246"/>
                      <a:pt x="10238" y="38845"/>
                      <a:pt x="15630" y="44674"/>
                    </a:cubicBezTo>
                    <a:cubicBezTo>
                      <a:pt x="22845" y="52399"/>
                      <a:pt x="32755" y="47152"/>
                      <a:pt x="43686" y="41249"/>
                    </a:cubicBezTo>
                    <a:cubicBezTo>
                      <a:pt x="57459" y="33671"/>
                      <a:pt x="72980" y="25290"/>
                      <a:pt x="86826" y="40229"/>
                    </a:cubicBezTo>
                    <a:cubicBezTo>
                      <a:pt x="97757" y="51962"/>
                      <a:pt x="96591" y="68941"/>
                      <a:pt x="79466" y="84900"/>
                    </a:cubicBezTo>
                    <a:cubicBezTo>
                      <a:pt x="68171" y="95393"/>
                      <a:pt x="55928" y="100057"/>
                      <a:pt x="43030" y="98017"/>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60" name="Freeform 213">
                <a:extLst>
                  <a:ext uri="{FF2B5EF4-FFF2-40B4-BE49-F238E27FC236}">
                    <a16:creationId xmlns:a16="http://schemas.microsoft.com/office/drawing/2014/main" id="{A4870F77-5798-B7EB-F4D4-DB477FBF38D2}"/>
                  </a:ext>
                </a:extLst>
              </p:cNvPr>
              <p:cNvSpPr/>
              <p:nvPr/>
            </p:nvSpPr>
            <p:spPr>
              <a:xfrm>
                <a:off x="3969656" y="2782294"/>
                <a:ext cx="89220" cy="111094"/>
              </a:xfrm>
              <a:custGeom>
                <a:avLst/>
                <a:gdLst>
                  <a:gd name="connsiteX0" fmla="*/ 0 w 89220"/>
                  <a:gd name="connsiteY0" fmla="*/ 34797 h 111094"/>
                  <a:gd name="connsiteX1" fmla="*/ 8745 w 89220"/>
                  <a:gd name="connsiteY1" fmla="*/ 27073 h 111094"/>
                  <a:gd name="connsiteX2" fmla="*/ 18947 w 89220"/>
                  <a:gd name="connsiteY2" fmla="*/ 38660 h 111094"/>
                  <a:gd name="connsiteX3" fmla="*/ 19020 w 89220"/>
                  <a:gd name="connsiteY3" fmla="*/ 38660 h 111094"/>
                  <a:gd name="connsiteX4" fmla="*/ 28347 w 89220"/>
                  <a:gd name="connsiteY4" fmla="*/ 7835 h 111094"/>
                  <a:gd name="connsiteX5" fmla="*/ 77536 w 89220"/>
                  <a:gd name="connsiteY5" fmla="*/ 15049 h 111094"/>
                  <a:gd name="connsiteX6" fmla="*/ 78847 w 89220"/>
                  <a:gd name="connsiteY6" fmla="*/ 64456 h 111094"/>
                  <a:gd name="connsiteX7" fmla="*/ 48023 w 89220"/>
                  <a:gd name="connsiteY7" fmla="*/ 70286 h 111094"/>
                  <a:gd name="connsiteX8" fmla="*/ 47804 w 89220"/>
                  <a:gd name="connsiteY8" fmla="*/ 70505 h 111094"/>
                  <a:gd name="connsiteX9" fmla="*/ 76515 w 89220"/>
                  <a:gd name="connsiteY9" fmla="*/ 103078 h 111094"/>
                  <a:gd name="connsiteX10" fmla="*/ 67406 w 89220"/>
                  <a:gd name="connsiteY10" fmla="*/ 111094 h 111094"/>
                  <a:gd name="connsiteX11" fmla="*/ 73 w 89220"/>
                  <a:gd name="connsiteY11" fmla="*/ 34652 h 111094"/>
                  <a:gd name="connsiteX12" fmla="*/ 68937 w 89220"/>
                  <a:gd name="connsiteY12" fmla="*/ 59501 h 111094"/>
                  <a:gd name="connsiteX13" fmla="*/ 68062 w 89220"/>
                  <a:gd name="connsiteY13" fmla="*/ 23502 h 111094"/>
                  <a:gd name="connsiteX14" fmla="*/ 32501 w 89220"/>
                  <a:gd name="connsiteY14" fmla="*/ 18182 h 111094"/>
                  <a:gd name="connsiteX15" fmla="*/ 33303 w 89220"/>
                  <a:gd name="connsiteY15" fmla="*/ 54181 h 111094"/>
                  <a:gd name="connsiteX16" fmla="*/ 68937 w 89220"/>
                  <a:gd name="connsiteY16" fmla="*/ 59501 h 111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9220" h="111094">
                    <a:moveTo>
                      <a:pt x="0" y="34797"/>
                    </a:moveTo>
                    <a:lnTo>
                      <a:pt x="8745" y="27073"/>
                    </a:lnTo>
                    <a:lnTo>
                      <a:pt x="18947" y="38660"/>
                    </a:lnTo>
                    <a:lnTo>
                      <a:pt x="19020" y="38660"/>
                    </a:lnTo>
                    <a:cubicBezTo>
                      <a:pt x="15959" y="29842"/>
                      <a:pt x="15886" y="18838"/>
                      <a:pt x="28347" y="7835"/>
                    </a:cubicBezTo>
                    <a:cubicBezTo>
                      <a:pt x="42922" y="-4991"/>
                      <a:pt x="62743" y="-1711"/>
                      <a:pt x="77536" y="15049"/>
                    </a:cubicBezTo>
                    <a:cubicBezTo>
                      <a:pt x="92402" y="31882"/>
                      <a:pt x="93349" y="51631"/>
                      <a:pt x="78847" y="64456"/>
                    </a:cubicBezTo>
                    <a:cubicBezTo>
                      <a:pt x="67844" y="74148"/>
                      <a:pt x="56476" y="74221"/>
                      <a:pt x="48023" y="70286"/>
                    </a:cubicBezTo>
                    <a:lnTo>
                      <a:pt x="47804" y="70505"/>
                    </a:lnTo>
                    <a:lnTo>
                      <a:pt x="76515" y="103078"/>
                    </a:lnTo>
                    <a:lnTo>
                      <a:pt x="67406" y="111094"/>
                    </a:lnTo>
                    <a:lnTo>
                      <a:pt x="73" y="34652"/>
                    </a:lnTo>
                    <a:close/>
                    <a:moveTo>
                      <a:pt x="68937" y="59501"/>
                    </a:moveTo>
                    <a:cubicBezTo>
                      <a:pt x="78702" y="50902"/>
                      <a:pt x="80159" y="37275"/>
                      <a:pt x="68062" y="23502"/>
                    </a:cubicBezTo>
                    <a:cubicBezTo>
                      <a:pt x="55966" y="9802"/>
                      <a:pt x="42266" y="9584"/>
                      <a:pt x="32501" y="18182"/>
                    </a:cubicBezTo>
                    <a:cubicBezTo>
                      <a:pt x="22736" y="26781"/>
                      <a:pt x="21206" y="40481"/>
                      <a:pt x="33303" y="54181"/>
                    </a:cubicBezTo>
                    <a:cubicBezTo>
                      <a:pt x="45399" y="67954"/>
                      <a:pt x="59172" y="68173"/>
                      <a:pt x="68937" y="5950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61" name="Freeform 214">
                <a:extLst>
                  <a:ext uri="{FF2B5EF4-FFF2-40B4-BE49-F238E27FC236}">
                    <a16:creationId xmlns:a16="http://schemas.microsoft.com/office/drawing/2014/main" id="{C6890FFE-E2D8-98FD-07A8-C54B36C4347C}"/>
                  </a:ext>
                </a:extLst>
              </p:cNvPr>
              <p:cNvSpPr/>
              <p:nvPr/>
            </p:nvSpPr>
            <p:spPr>
              <a:xfrm>
                <a:off x="4046868" y="2729155"/>
                <a:ext cx="76912" cy="74912"/>
              </a:xfrm>
              <a:custGeom>
                <a:avLst/>
                <a:gdLst>
                  <a:gd name="connsiteX0" fmla="*/ 10307 w 76912"/>
                  <a:gd name="connsiteY0" fmla="*/ 59662 h 74912"/>
                  <a:gd name="connsiteX1" fmla="*/ 13149 w 76912"/>
                  <a:gd name="connsiteY1" fmla="*/ 7850 h 74912"/>
                  <a:gd name="connsiteX2" fmla="*/ 60224 w 76912"/>
                  <a:gd name="connsiteY2" fmla="*/ 14482 h 74912"/>
                  <a:gd name="connsiteX3" fmla="*/ 63722 w 76912"/>
                  <a:gd name="connsiteY3" fmla="*/ 19000 h 74912"/>
                  <a:gd name="connsiteX4" fmla="*/ 22112 w 76912"/>
                  <a:gd name="connsiteY4" fmla="*/ 53832 h 74912"/>
                  <a:gd name="connsiteX5" fmla="*/ 56216 w 76912"/>
                  <a:gd name="connsiteY5" fmla="*/ 57257 h 74912"/>
                  <a:gd name="connsiteX6" fmla="*/ 66200 w 76912"/>
                  <a:gd name="connsiteY6" fmla="*/ 37509 h 74912"/>
                  <a:gd name="connsiteX7" fmla="*/ 76912 w 76912"/>
                  <a:gd name="connsiteY7" fmla="*/ 38384 h 74912"/>
                  <a:gd name="connsiteX8" fmla="*/ 62848 w 76912"/>
                  <a:gd name="connsiteY8" fmla="*/ 65128 h 74912"/>
                  <a:gd name="connsiteX9" fmla="*/ 10307 w 76912"/>
                  <a:gd name="connsiteY9" fmla="*/ 59662 h 74912"/>
                  <a:gd name="connsiteX10" fmla="*/ 48346 w 76912"/>
                  <a:gd name="connsiteY10" fmla="*/ 19583 h 74912"/>
                  <a:gd name="connsiteX11" fmla="*/ 19416 w 76912"/>
                  <a:gd name="connsiteY11" fmla="*/ 16230 h 74912"/>
                  <a:gd name="connsiteX12" fmla="*/ 16283 w 76912"/>
                  <a:gd name="connsiteY12" fmla="*/ 46399 h 74912"/>
                  <a:gd name="connsiteX13" fmla="*/ 48273 w 76912"/>
                  <a:gd name="connsiteY13" fmla="*/ 19583 h 7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912" h="74912">
                    <a:moveTo>
                      <a:pt x="10307" y="59662"/>
                    </a:moveTo>
                    <a:cubicBezTo>
                      <a:pt x="-6016" y="40132"/>
                      <a:pt x="-1352" y="19947"/>
                      <a:pt x="13149" y="7850"/>
                    </a:cubicBezTo>
                    <a:cubicBezTo>
                      <a:pt x="31294" y="-7307"/>
                      <a:pt x="49731" y="2021"/>
                      <a:pt x="60224" y="14482"/>
                    </a:cubicBezTo>
                    <a:cubicBezTo>
                      <a:pt x="61463" y="16012"/>
                      <a:pt x="62702" y="17542"/>
                      <a:pt x="63722" y="19000"/>
                    </a:cubicBezTo>
                    <a:lnTo>
                      <a:pt x="22112" y="53832"/>
                    </a:lnTo>
                    <a:cubicBezTo>
                      <a:pt x="32970" y="65419"/>
                      <a:pt x="44703" y="66949"/>
                      <a:pt x="56216" y="57257"/>
                    </a:cubicBezTo>
                    <a:cubicBezTo>
                      <a:pt x="63066" y="51501"/>
                      <a:pt x="66127" y="45744"/>
                      <a:pt x="66200" y="37509"/>
                    </a:cubicBezTo>
                    <a:lnTo>
                      <a:pt x="76912" y="38384"/>
                    </a:lnTo>
                    <a:cubicBezTo>
                      <a:pt x="76621" y="49169"/>
                      <a:pt x="72613" y="56966"/>
                      <a:pt x="62848" y="65128"/>
                    </a:cubicBezTo>
                    <a:cubicBezTo>
                      <a:pt x="45869" y="79337"/>
                      <a:pt x="26120" y="78536"/>
                      <a:pt x="10307" y="59662"/>
                    </a:cubicBezTo>
                    <a:close/>
                    <a:moveTo>
                      <a:pt x="48346" y="19583"/>
                    </a:moveTo>
                    <a:cubicBezTo>
                      <a:pt x="38144" y="9453"/>
                      <a:pt x="28088" y="8943"/>
                      <a:pt x="19416" y="16230"/>
                    </a:cubicBezTo>
                    <a:cubicBezTo>
                      <a:pt x="10817" y="23445"/>
                      <a:pt x="8704" y="34303"/>
                      <a:pt x="16283" y="46399"/>
                    </a:cubicBezTo>
                    <a:lnTo>
                      <a:pt x="48273" y="19583"/>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62" name="Freeform 215">
                <a:extLst>
                  <a:ext uri="{FF2B5EF4-FFF2-40B4-BE49-F238E27FC236}">
                    <a16:creationId xmlns:a16="http://schemas.microsoft.com/office/drawing/2014/main" id="{72DD4D0F-1FC0-4702-5557-E21715A5AF3F}"/>
                  </a:ext>
                </a:extLst>
              </p:cNvPr>
              <p:cNvSpPr/>
              <p:nvPr/>
            </p:nvSpPr>
            <p:spPr>
              <a:xfrm>
                <a:off x="4099805" y="2677198"/>
                <a:ext cx="91235" cy="86040"/>
              </a:xfrm>
              <a:custGeom>
                <a:avLst/>
                <a:gdLst>
                  <a:gd name="connsiteX0" fmla="*/ 0 w 91235"/>
                  <a:gd name="connsiteY0" fmla="*/ 28763 h 86040"/>
                  <a:gd name="connsiteX1" fmla="*/ 9109 w 91235"/>
                  <a:gd name="connsiteY1" fmla="*/ 21549 h 86040"/>
                  <a:gd name="connsiteX2" fmla="*/ 18582 w 91235"/>
                  <a:gd name="connsiteY2" fmla="*/ 33427 h 86040"/>
                  <a:gd name="connsiteX3" fmla="*/ 18801 w 91235"/>
                  <a:gd name="connsiteY3" fmla="*/ 33281 h 86040"/>
                  <a:gd name="connsiteX4" fmla="*/ 27035 w 91235"/>
                  <a:gd name="connsiteY4" fmla="*/ 5517 h 86040"/>
                  <a:gd name="connsiteX5" fmla="*/ 60921 w 91235"/>
                  <a:gd name="connsiteY5" fmla="*/ 11492 h 86040"/>
                  <a:gd name="connsiteX6" fmla="*/ 91236 w 91235"/>
                  <a:gd name="connsiteY6" fmla="*/ 49677 h 86040"/>
                  <a:gd name="connsiteX7" fmla="*/ 81689 w 91235"/>
                  <a:gd name="connsiteY7" fmla="*/ 57256 h 86040"/>
                  <a:gd name="connsiteX8" fmla="*/ 52832 w 91235"/>
                  <a:gd name="connsiteY8" fmla="*/ 20966 h 86040"/>
                  <a:gd name="connsiteX9" fmla="*/ 30242 w 91235"/>
                  <a:gd name="connsiteY9" fmla="*/ 16812 h 86040"/>
                  <a:gd name="connsiteX10" fmla="*/ 28639 w 91235"/>
                  <a:gd name="connsiteY10" fmla="*/ 45305 h 86040"/>
                  <a:gd name="connsiteX11" fmla="*/ 55018 w 91235"/>
                  <a:gd name="connsiteY11" fmla="*/ 78462 h 86040"/>
                  <a:gd name="connsiteX12" fmla="*/ 45472 w 91235"/>
                  <a:gd name="connsiteY12" fmla="*/ 86040 h 86040"/>
                  <a:gd name="connsiteX13" fmla="*/ 0 w 91235"/>
                  <a:gd name="connsiteY13" fmla="*/ 28836 h 8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235" h="86040">
                    <a:moveTo>
                      <a:pt x="0" y="28763"/>
                    </a:moveTo>
                    <a:lnTo>
                      <a:pt x="9109" y="21549"/>
                    </a:lnTo>
                    <a:lnTo>
                      <a:pt x="18582" y="33427"/>
                    </a:lnTo>
                    <a:lnTo>
                      <a:pt x="18801" y="33281"/>
                    </a:lnTo>
                    <a:cubicBezTo>
                      <a:pt x="16323" y="25484"/>
                      <a:pt x="15522" y="14626"/>
                      <a:pt x="27035" y="5517"/>
                    </a:cubicBezTo>
                    <a:cubicBezTo>
                      <a:pt x="39132" y="-4102"/>
                      <a:pt x="51375" y="-531"/>
                      <a:pt x="60921" y="11492"/>
                    </a:cubicBezTo>
                    <a:lnTo>
                      <a:pt x="91236" y="49677"/>
                    </a:lnTo>
                    <a:lnTo>
                      <a:pt x="81689" y="57256"/>
                    </a:lnTo>
                    <a:lnTo>
                      <a:pt x="52832" y="20966"/>
                    </a:lnTo>
                    <a:cubicBezTo>
                      <a:pt x="46201" y="12586"/>
                      <a:pt x="39059" y="9816"/>
                      <a:pt x="30242" y="16812"/>
                    </a:cubicBezTo>
                    <a:cubicBezTo>
                      <a:pt x="21206" y="23954"/>
                      <a:pt x="20112" y="34593"/>
                      <a:pt x="28639" y="45305"/>
                    </a:cubicBezTo>
                    <a:lnTo>
                      <a:pt x="55018" y="78462"/>
                    </a:lnTo>
                    <a:lnTo>
                      <a:pt x="45472" y="86040"/>
                    </a:lnTo>
                    <a:lnTo>
                      <a:pt x="0" y="28836"/>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63" name="Freeform 216">
                <a:extLst>
                  <a:ext uri="{FF2B5EF4-FFF2-40B4-BE49-F238E27FC236}">
                    <a16:creationId xmlns:a16="http://schemas.microsoft.com/office/drawing/2014/main" id="{BC9970C5-269E-E2DF-4D61-A0D14252B0C9}"/>
                  </a:ext>
                </a:extLst>
              </p:cNvPr>
              <p:cNvSpPr/>
              <p:nvPr/>
            </p:nvSpPr>
            <p:spPr>
              <a:xfrm>
                <a:off x="4171855" y="2593885"/>
                <a:ext cx="88413" cy="111179"/>
              </a:xfrm>
              <a:custGeom>
                <a:avLst/>
                <a:gdLst>
                  <a:gd name="connsiteX0" fmla="*/ 9639 w 88413"/>
                  <a:gd name="connsiteY0" fmla="*/ 93786 h 111179"/>
                  <a:gd name="connsiteX1" fmla="*/ 12117 w 88413"/>
                  <a:gd name="connsiteY1" fmla="*/ 44379 h 111179"/>
                  <a:gd name="connsiteX2" fmla="*/ 43379 w 88413"/>
                  <a:gd name="connsiteY2" fmla="*/ 41027 h 111179"/>
                  <a:gd name="connsiteX3" fmla="*/ 43597 w 88413"/>
                  <a:gd name="connsiteY3" fmla="*/ 40881 h 111179"/>
                  <a:gd name="connsiteX4" fmla="*/ 18311 w 88413"/>
                  <a:gd name="connsiteY4" fmla="*/ 7287 h 111179"/>
                  <a:gd name="connsiteX5" fmla="*/ 28003 w 88413"/>
                  <a:gd name="connsiteY5" fmla="*/ 0 h 111179"/>
                  <a:gd name="connsiteX6" fmla="*/ 88413 w 88413"/>
                  <a:gd name="connsiteY6" fmla="*/ 80232 h 111179"/>
                  <a:gd name="connsiteX7" fmla="*/ 79086 w 88413"/>
                  <a:gd name="connsiteY7" fmla="*/ 87228 h 111179"/>
                  <a:gd name="connsiteX8" fmla="*/ 69758 w 88413"/>
                  <a:gd name="connsiteY8" fmla="*/ 74839 h 111179"/>
                  <a:gd name="connsiteX9" fmla="*/ 69685 w 88413"/>
                  <a:gd name="connsiteY9" fmla="*/ 74839 h 111179"/>
                  <a:gd name="connsiteX10" fmla="*/ 58026 w 88413"/>
                  <a:gd name="connsiteY10" fmla="*/ 104790 h 111179"/>
                  <a:gd name="connsiteX11" fmla="*/ 9493 w 88413"/>
                  <a:gd name="connsiteY11" fmla="*/ 93786 h 111179"/>
                  <a:gd name="connsiteX12" fmla="*/ 54892 w 88413"/>
                  <a:gd name="connsiteY12" fmla="*/ 94223 h 111179"/>
                  <a:gd name="connsiteX13" fmla="*/ 56787 w 88413"/>
                  <a:gd name="connsiteY13" fmla="*/ 58225 h 111179"/>
                  <a:gd name="connsiteX14" fmla="*/ 21736 w 88413"/>
                  <a:gd name="connsiteY14" fmla="*/ 50136 h 111179"/>
                  <a:gd name="connsiteX15" fmla="*/ 19841 w 88413"/>
                  <a:gd name="connsiteY15" fmla="*/ 86062 h 111179"/>
                  <a:gd name="connsiteX16" fmla="*/ 54892 w 88413"/>
                  <a:gd name="connsiteY16" fmla="*/ 94223 h 11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413" h="111179">
                    <a:moveTo>
                      <a:pt x="9639" y="93786"/>
                    </a:moveTo>
                    <a:cubicBezTo>
                      <a:pt x="-3842" y="75860"/>
                      <a:pt x="-3332" y="56038"/>
                      <a:pt x="12117" y="44379"/>
                    </a:cubicBezTo>
                    <a:cubicBezTo>
                      <a:pt x="23849" y="35562"/>
                      <a:pt x="35217" y="36363"/>
                      <a:pt x="43379" y="41027"/>
                    </a:cubicBezTo>
                    <a:lnTo>
                      <a:pt x="43597" y="40881"/>
                    </a:lnTo>
                    <a:lnTo>
                      <a:pt x="18311" y="7287"/>
                    </a:lnTo>
                    <a:lnTo>
                      <a:pt x="28003" y="0"/>
                    </a:lnTo>
                    <a:lnTo>
                      <a:pt x="88413" y="80232"/>
                    </a:lnTo>
                    <a:lnTo>
                      <a:pt x="79086" y="87228"/>
                    </a:lnTo>
                    <a:lnTo>
                      <a:pt x="69758" y="74839"/>
                    </a:lnTo>
                    <a:lnTo>
                      <a:pt x="69685" y="74839"/>
                    </a:lnTo>
                    <a:cubicBezTo>
                      <a:pt x="72090" y="83875"/>
                      <a:pt x="71361" y="94733"/>
                      <a:pt x="58026" y="104790"/>
                    </a:cubicBezTo>
                    <a:cubicBezTo>
                      <a:pt x="42504" y="116449"/>
                      <a:pt x="23047" y="111785"/>
                      <a:pt x="9493" y="93786"/>
                    </a:cubicBezTo>
                    <a:close/>
                    <a:moveTo>
                      <a:pt x="54892" y="94223"/>
                    </a:moveTo>
                    <a:cubicBezTo>
                      <a:pt x="65313" y="86353"/>
                      <a:pt x="67791" y="72872"/>
                      <a:pt x="56787" y="58225"/>
                    </a:cubicBezTo>
                    <a:cubicBezTo>
                      <a:pt x="45783" y="43650"/>
                      <a:pt x="32156" y="42266"/>
                      <a:pt x="21736" y="50136"/>
                    </a:cubicBezTo>
                    <a:cubicBezTo>
                      <a:pt x="11388" y="57933"/>
                      <a:pt x="8837" y="71487"/>
                      <a:pt x="19841" y="86062"/>
                    </a:cubicBezTo>
                    <a:cubicBezTo>
                      <a:pt x="30845" y="100709"/>
                      <a:pt x="44545" y="102021"/>
                      <a:pt x="54892" y="94223"/>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64" name="Freeform 217">
                <a:extLst>
                  <a:ext uri="{FF2B5EF4-FFF2-40B4-BE49-F238E27FC236}">
                    <a16:creationId xmlns:a16="http://schemas.microsoft.com/office/drawing/2014/main" id="{C297E1EF-0FBC-D202-B1C5-F5DBBB03642C}"/>
                  </a:ext>
                </a:extLst>
              </p:cNvPr>
              <p:cNvSpPr/>
              <p:nvPr/>
            </p:nvSpPr>
            <p:spPr>
              <a:xfrm>
                <a:off x="4269596" y="2558454"/>
                <a:ext cx="80669" cy="78398"/>
              </a:xfrm>
              <a:custGeom>
                <a:avLst/>
                <a:gdLst>
                  <a:gd name="connsiteX0" fmla="*/ 21351 w 80669"/>
                  <a:gd name="connsiteY0" fmla="*/ 68879 h 78398"/>
                  <a:gd name="connsiteX1" fmla="*/ 35197 w 80669"/>
                  <a:gd name="connsiteY1" fmla="*/ 30548 h 78398"/>
                  <a:gd name="connsiteX2" fmla="*/ 45836 w 80669"/>
                  <a:gd name="connsiteY2" fmla="*/ 23115 h 78398"/>
                  <a:gd name="connsiteX3" fmla="*/ 42994 w 80669"/>
                  <a:gd name="connsiteY3" fmla="*/ 19035 h 78398"/>
                  <a:gd name="connsiteX4" fmla="*/ 21789 w 80669"/>
                  <a:gd name="connsiteY4" fmla="*/ 14589 h 78398"/>
                  <a:gd name="connsiteX5" fmla="*/ 10931 w 80669"/>
                  <a:gd name="connsiteY5" fmla="*/ 35212 h 78398"/>
                  <a:gd name="connsiteX6" fmla="*/ 0 w 80669"/>
                  <a:gd name="connsiteY6" fmla="*/ 33245 h 78398"/>
                  <a:gd name="connsiteX7" fmla="*/ 16542 w 80669"/>
                  <a:gd name="connsiteY7" fmla="*/ 5699 h 78398"/>
                  <a:gd name="connsiteX8" fmla="*/ 52905 w 80669"/>
                  <a:gd name="connsiteY8" fmla="*/ 12112 h 78398"/>
                  <a:gd name="connsiteX9" fmla="*/ 80669 w 80669"/>
                  <a:gd name="connsiteY9" fmla="*/ 51900 h 78398"/>
                  <a:gd name="connsiteX10" fmla="*/ 71123 w 80669"/>
                  <a:gd name="connsiteY10" fmla="*/ 58531 h 78398"/>
                  <a:gd name="connsiteX11" fmla="*/ 63326 w 80669"/>
                  <a:gd name="connsiteY11" fmla="*/ 47382 h 78398"/>
                  <a:gd name="connsiteX12" fmla="*/ 63107 w 80669"/>
                  <a:gd name="connsiteY12" fmla="*/ 47528 h 78398"/>
                  <a:gd name="connsiteX13" fmla="*/ 51812 w 80669"/>
                  <a:gd name="connsiteY13" fmla="*/ 73616 h 78398"/>
                  <a:gd name="connsiteX14" fmla="*/ 21279 w 80669"/>
                  <a:gd name="connsiteY14" fmla="*/ 68879 h 78398"/>
                  <a:gd name="connsiteX15" fmla="*/ 48751 w 80669"/>
                  <a:gd name="connsiteY15" fmla="*/ 63341 h 78398"/>
                  <a:gd name="connsiteX16" fmla="*/ 55164 w 80669"/>
                  <a:gd name="connsiteY16" fmla="*/ 36451 h 78398"/>
                  <a:gd name="connsiteX17" fmla="*/ 51083 w 80669"/>
                  <a:gd name="connsiteY17" fmla="*/ 30621 h 78398"/>
                  <a:gd name="connsiteX18" fmla="*/ 41756 w 80669"/>
                  <a:gd name="connsiteY18" fmla="*/ 37107 h 78398"/>
                  <a:gd name="connsiteX19" fmla="*/ 31554 w 80669"/>
                  <a:gd name="connsiteY19" fmla="*/ 61446 h 78398"/>
                  <a:gd name="connsiteX20" fmla="*/ 48751 w 80669"/>
                  <a:gd name="connsiteY20" fmla="*/ 63268 h 7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669" h="78398">
                    <a:moveTo>
                      <a:pt x="21351" y="68879"/>
                    </a:moveTo>
                    <a:cubicBezTo>
                      <a:pt x="11587" y="54888"/>
                      <a:pt x="19821" y="41260"/>
                      <a:pt x="35197" y="30548"/>
                    </a:cubicBezTo>
                    <a:lnTo>
                      <a:pt x="45836" y="23115"/>
                    </a:lnTo>
                    <a:lnTo>
                      <a:pt x="42994" y="19035"/>
                    </a:lnTo>
                    <a:cubicBezTo>
                      <a:pt x="37238" y="10800"/>
                      <a:pt x="30096" y="8832"/>
                      <a:pt x="21789" y="14589"/>
                    </a:cubicBezTo>
                    <a:cubicBezTo>
                      <a:pt x="14064" y="19982"/>
                      <a:pt x="11149" y="27050"/>
                      <a:pt x="10931" y="35212"/>
                    </a:cubicBezTo>
                    <a:lnTo>
                      <a:pt x="0" y="33245"/>
                    </a:lnTo>
                    <a:cubicBezTo>
                      <a:pt x="802" y="24281"/>
                      <a:pt x="4591" y="14079"/>
                      <a:pt x="16542" y="5699"/>
                    </a:cubicBezTo>
                    <a:cubicBezTo>
                      <a:pt x="30752" y="-4211"/>
                      <a:pt x="44015" y="-641"/>
                      <a:pt x="52905" y="12112"/>
                    </a:cubicBezTo>
                    <a:lnTo>
                      <a:pt x="80669" y="51900"/>
                    </a:lnTo>
                    <a:lnTo>
                      <a:pt x="71123" y="58531"/>
                    </a:lnTo>
                    <a:lnTo>
                      <a:pt x="63326" y="47382"/>
                    </a:lnTo>
                    <a:lnTo>
                      <a:pt x="63107" y="47528"/>
                    </a:lnTo>
                    <a:cubicBezTo>
                      <a:pt x="65075" y="58823"/>
                      <a:pt x="61577" y="66839"/>
                      <a:pt x="51812" y="73616"/>
                    </a:cubicBezTo>
                    <a:cubicBezTo>
                      <a:pt x="41246" y="80976"/>
                      <a:pt x="29149" y="80174"/>
                      <a:pt x="21279" y="68879"/>
                    </a:cubicBezTo>
                    <a:close/>
                    <a:moveTo>
                      <a:pt x="48751" y="63341"/>
                    </a:moveTo>
                    <a:cubicBezTo>
                      <a:pt x="59828" y="55616"/>
                      <a:pt x="60338" y="43957"/>
                      <a:pt x="55164" y="36451"/>
                    </a:cubicBezTo>
                    <a:lnTo>
                      <a:pt x="51083" y="30621"/>
                    </a:lnTo>
                    <a:lnTo>
                      <a:pt x="41756" y="37107"/>
                    </a:lnTo>
                    <a:cubicBezTo>
                      <a:pt x="32355" y="43665"/>
                      <a:pt x="24849" y="51900"/>
                      <a:pt x="31554" y="61446"/>
                    </a:cubicBezTo>
                    <a:cubicBezTo>
                      <a:pt x="35489" y="67130"/>
                      <a:pt x="42047" y="68005"/>
                      <a:pt x="48751" y="63268"/>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65" name="Freeform 218">
                <a:extLst>
                  <a:ext uri="{FF2B5EF4-FFF2-40B4-BE49-F238E27FC236}">
                    <a16:creationId xmlns:a16="http://schemas.microsoft.com/office/drawing/2014/main" id="{51753A66-156C-CF10-6D57-B1CB8BDEF963}"/>
                  </a:ext>
                </a:extLst>
              </p:cNvPr>
              <p:cNvSpPr/>
              <p:nvPr/>
            </p:nvSpPr>
            <p:spPr>
              <a:xfrm>
                <a:off x="4333189" y="2496455"/>
                <a:ext cx="93169" cy="122698"/>
              </a:xfrm>
              <a:custGeom>
                <a:avLst/>
                <a:gdLst>
                  <a:gd name="connsiteX0" fmla="*/ 35076 w 93169"/>
                  <a:gd name="connsiteY0" fmla="*/ 115720 h 122698"/>
                  <a:gd name="connsiteX1" fmla="*/ 37262 w 93169"/>
                  <a:gd name="connsiteY1" fmla="*/ 95316 h 122698"/>
                  <a:gd name="connsiteX2" fmla="*/ 24947 w 93169"/>
                  <a:gd name="connsiteY2" fmla="*/ 91235 h 122698"/>
                  <a:gd name="connsiteX3" fmla="*/ 26477 w 93169"/>
                  <a:gd name="connsiteY3" fmla="*/ 75131 h 122698"/>
                  <a:gd name="connsiteX4" fmla="*/ 4616 w 93169"/>
                  <a:gd name="connsiteY4" fmla="*/ 63617 h 122698"/>
                  <a:gd name="connsiteX5" fmla="*/ 14162 w 93169"/>
                  <a:gd name="connsiteY5" fmla="*/ 26088 h 122698"/>
                  <a:gd name="connsiteX6" fmla="*/ 30266 w 93169"/>
                  <a:gd name="connsiteY6" fmla="*/ 20112 h 122698"/>
                  <a:gd name="connsiteX7" fmla="*/ 36752 w 93169"/>
                  <a:gd name="connsiteY7" fmla="*/ 1312 h 122698"/>
                  <a:gd name="connsiteX8" fmla="*/ 38720 w 93169"/>
                  <a:gd name="connsiteY8" fmla="*/ 0 h 122698"/>
                  <a:gd name="connsiteX9" fmla="*/ 45497 w 93169"/>
                  <a:gd name="connsiteY9" fmla="*/ 10202 h 122698"/>
                  <a:gd name="connsiteX10" fmla="*/ 43383 w 93169"/>
                  <a:gd name="connsiteY10" fmla="*/ 11587 h 122698"/>
                  <a:gd name="connsiteX11" fmla="*/ 35003 w 93169"/>
                  <a:gd name="connsiteY11" fmla="*/ 20331 h 122698"/>
                  <a:gd name="connsiteX12" fmla="*/ 52201 w 93169"/>
                  <a:gd name="connsiteY12" fmla="*/ 32136 h 122698"/>
                  <a:gd name="connsiteX13" fmla="*/ 42290 w 93169"/>
                  <a:gd name="connsiteY13" fmla="*/ 69301 h 122698"/>
                  <a:gd name="connsiteX14" fmla="*/ 30485 w 93169"/>
                  <a:gd name="connsiteY14" fmla="*/ 74548 h 122698"/>
                  <a:gd name="connsiteX15" fmla="*/ 31141 w 93169"/>
                  <a:gd name="connsiteY15" fmla="*/ 80013 h 122698"/>
                  <a:gd name="connsiteX16" fmla="*/ 51909 w 93169"/>
                  <a:gd name="connsiteY16" fmla="*/ 75422 h 122698"/>
                  <a:gd name="connsiteX17" fmla="*/ 89220 w 93169"/>
                  <a:gd name="connsiteY17" fmla="*/ 74038 h 122698"/>
                  <a:gd name="connsiteX18" fmla="*/ 72241 w 93169"/>
                  <a:gd name="connsiteY18" fmla="*/ 113170 h 122698"/>
                  <a:gd name="connsiteX19" fmla="*/ 35076 w 93169"/>
                  <a:gd name="connsiteY19" fmla="*/ 115720 h 122698"/>
                  <a:gd name="connsiteX20" fmla="*/ 36971 w 93169"/>
                  <a:gd name="connsiteY20" fmla="*/ 61358 h 122698"/>
                  <a:gd name="connsiteX21" fmla="*/ 41926 w 93169"/>
                  <a:gd name="connsiteY21" fmla="*/ 38914 h 122698"/>
                  <a:gd name="connsiteX22" fmla="*/ 19627 w 93169"/>
                  <a:gd name="connsiteY22" fmla="*/ 33885 h 122698"/>
                  <a:gd name="connsiteX23" fmla="*/ 15182 w 93169"/>
                  <a:gd name="connsiteY23" fmla="*/ 56621 h 122698"/>
                  <a:gd name="connsiteX24" fmla="*/ 37043 w 93169"/>
                  <a:gd name="connsiteY24" fmla="*/ 61285 h 122698"/>
                  <a:gd name="connsiteX25" fmla="*/ 67358 w 93169"/>
                  <a:gd name="connsiteY25" fmla="*/ 104863 h 122698"/>
                  <a:gd name="connsiteX26" fmla="*/ 79382 w 93169"/>
                  <a:gd name="connsiteY26" fmla="*/ 82345 h 122698"/>
                  <a:gd name="connsiteX27" fmla="*/ 55480 w 93169"/>
                  <a:gd name="connsiteY27" fmla="*/ 86936 h 122698"/>
                  <a:gd name="connsiteX28" fmla="*/ 41926 w 93169"/>
                  <a:gd name="connsiteY28" fmla="*/ 93932 h 122698"/>
                  <a:gd name="connsiteX29" fmla="*/ 43092 w 93169"/>
                  <a:gd name="connsiteY29" fmla="*/ 106393 h 122698"/>
                  <a:gd name="connsiteX30" fmla="*/ 67358 w 93169"/>
                  <a:gd name="connsiteY30" fmla="*/ 104935 h 12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3169" h="122698">
                    <a:moveTo>
                      <a:pt x="35076" y="115720"/>
                    </a:moveTo>
                    <a:cubicBezTo>
                      <a:pt x="30485" y="108870"/>
                      <a:pt x="32598" y="100855"/>
                      <a:pt x="37262" y="95316"/>
                    </a:cubicBezTo>
                    <a:cubicBezTo>
                      <a:pt x="32161" y="96482"/>
                      <a:pt x="27862" y="95608"/>
                      <a:pt x="24947" y="91235"/>
                    </a:cubicBezTo>
                    <a:cubicBezTo>
                      <a:pt x="21740" y="86426"/>
                      <a:pt x="22396" y="80596"/>
                      <a:pt x="26477" y="75131"/>
                    </a:cubicBezTo>
                    <a:cubicBezTo>
                      <a:pt x="17732" y="75714"/>
                      <a:pt x="10008" y="71706"/>
                      <a:pt x="4616" y="63617"/>
                    </a:cubicBezTo>
                    <a:cubicBezTo>
                      <a:pt x="-3182" y="51812"/>
                      <a:pt x="-1797" y="36582"/>
                      <a:pt x="14162" y="26088"/>
                    </a:cubicBezTo>
                    <a:cubicBezTo>
                      <a:pt x="19918" y="22299"/>
                      <a:pt x="25311" y="20404"/>
                      <a:pt x="30266" y="20112"/>
                    </a:cubicBezTo>
                    <a:cubicBezTo>
                      <a:pt x="28736" y="12169"/>
                      <a:pt x="29684" y="5975"/>
                      <a:pt x="36752" y="1312"/>
                    </a:cubicBezTo>
                    <a:lnTo>
                      <a:pt x="38720" y="0"/>
                    </a:lnTo>
                    <a:lnTo>
                      <a:pt x="45497" y="10202"/>
                    </a:lnTo>
                    <a:lnTo>
                      <a:pt x="43383" y="11587"/>
                    </a:lnTo>
                    <a:cubicBezTo>
                      <a:pt x="37991" y="15157"/>
                      <a:pt x="36023" y="17635"/>
                      <a:pt x="35003" y="20331"/>
                    </a:cubicBezTo>
                    <a:cubicBezTo>
                      <a:pt x="42072" y="21351"/>
                      <a:pt x="48047" y="25796"/>
                      <a:pt x="52201" y="32136"/>
                    </a:cubicBezTo>
                    <a:cubicBezTo>
                      <a:pt x="59779" y="43577"/>
                      <a:pt x="58031" y="58880"/>
                      <a:pt x="42290" y="69301"/>
                    </a:cubicBezTo>
                    <a:cubicBezTo>
                      <a:pt x="38282" y="71924"/>
                      <a:pt x="34347" y="73673"/>
                      <a:pt x="30485" y="74548"/>
                    </a:cubicBezTo>
                    <a:cubicBezTo>
                      <a:pt x="29829" y="76370"/>
                      <a:pt x="29902" y="78191"/>
                      <a:pt x="31141" y="80013"/>
                    </a:cubicBezTo>
                    <a:cubicBezTo>
                      <a:pt x="34420" y="84968"/>
                      <a:pt x="40614" y="82054"/>
                      <a:pt x="51909" y="75422"/>
                    </a:cubicBezTo>
                    <a:cubicBezTo>
                      <a:pt x="65828" y="67188"/>
                      <a:pt x="79746" y="59755"/>
                      <a:pt x="89220" y="74038"/>
                    </a:cubicBezTo>
                    <a:cubicBezTo>
                      <a:pt x="98183" y="87592"/>
                      <a:pt x="91625" y="100344"/>
                      <a:pt x="72241" y="113170"/>
                    </a:cubicBezTo>
                    <a:cubicBezTo>
                      <a:pt x="52201" y="126505"/>
                      <a:pt x="40833" y="124392"/>
                      <a:pt x="35076" y="115720"/>
                    </a:cubicBezTo>
                    <a:close/>
                    <a:moveTo>
                      <a:pt x="36971" y="61358"/>
                    </a:moveTo>
                    <a:cubicBezTo>
                      <a:pt x="45424" y="55747"/>
                      <a:pt x="47100" y="46784"/>
                      <a:pt x="41926" y="38914"/>
                    </a:cubicBezTo>
                    <a:cubicBezTo>
                      <a:pt x="36388" y="30533"/>
                      <a:pt x="27862" y="28420"/>
                      <a:pt x="19627" y="33885"/>
                    </a:cubicBezTo>
                    <a:cubicBezTo>
                      <a:pt x="11247" y="39423"/>
                      <a:pt x="9571" y="48241"/>
                      <a:pt x="15182" y="56621"/>
                    </a:cubicBezTo>
                    <a:cubicBezTo>
                      <a:pt x="21157" y="65657"/>
                      <a:pt x="29538" y="66241"/>
                      <a:pt x="37043" y="61285"/>
                    </a:cubicBezTo>
                    <a:close/>
                    <a:moveTo>
                      <a:pt x="67358" y="104863"/>
                    </a:moveTo>
                    <a:cubicBezTo>
                      <a:pt x="79163" y="97065"/>
                      <a:pt x="84556" y="90142"/>
                      <a:pt x="79382" y="82345"/>
                    </a:cubicBezTo>
                    <a:cubicBezTo>
                      <a:pt x="75156" y="76005"/>
                      <a:pt x="68816" y="78920"/>
                      <a:pt x="55480" y="86936"/>
                    </a:cubicBezTo>
                    <a:cubicBezTo>
                      <a:pt x="50816" y="89705"/>
                      <a:pt x="46225" y="92256"/>
                      <a:pt x="41926" y="93932"/>
                    </a:cubicBezTo>
                    <a:cubicBezTo>
                      <a:pt x="40396" y="97867"/>
                      <a:pt x="40323" y="102166"/>
                      <a:pt x="43092" y="106393"/>
                    </a:cubicBezTo>
                    <a:cubicBezTo>
                      <a:pt x="47901" y="113680"/>
                      <a:pt x="54679" y="113316"/>
                      <a:pt x="67358" y="10493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66" name="Freeform 219">
                <a:extLst>
                  <a:ext uri="{FF2B5EF4-FFF2-40B4-BE49-F238E27FC236}">
                    <a16:creationId xmlns:a16="http://schemas.microsoft.com/office/drawing/2014/main" id="{F510AC87-A248-25E8-F9D4-C06C2CA8DED6}"/>
                  </a:ext>
                </a:extLst>
              </p:cNvPr>
              <p:cNvSpPr/>
              <p:nvPr/>
            </p:nvSpPr>
            <p:spPr>
              <a:xfrm>
                <a:off x="4396453" y="2474536"/>
                <a:ext cx="75945" cy="75584"/>
              </a:xfrm>
              <a:custGeom>
                <a:avLst/>
                <a:gdLst>
                  <a:gd name="connsiteX0" fmla="*/ 7082 w 75945"/>
                  <a:gd name="connsiteY0" fmla="*/ 56387 h 75584"/>
                  <a:gd name="connsiteX1" fmla="*/ 16847 w 75945"/>
                  <a:gd name="connsiteY1" fmla="*/ 5377 h 75584"/>
                  <a:gd name="connsiteX2" fmla="*/ 62610 w 75945"/>
                  <a:gd name="connsiteY2" fmla="*/ 18275 h 75584"/>
                  <a:gd name="connsiteX3" fmla="*/ 65452 w 75945"/>
                  <a:gd name="connsiteY3" fmla="*/ 23157 h 75584"/>
                  <a:gd name="connsiteX4" fmla="*/ 19470 w 75945"/>
                  <a:gd name="connsiteY4" fmla="*/ 52087 h 75584"/>
                  <a:gd name="connsiteX5" fmla="*/ 52846 w 75945"/>
                  <a:gd name="connsiteY5" fmla="*/ 60103 h 75584"/>
                  <a:gd name="connsiteX6" fmla="*/ 65452 w 75945"/>
                  <a:gd name="connsiteY6" fmla="*/ 41885 h 75584"/>
                  <a:gd name="connsiteX7" fmla="*/ 75946 w 75945"/>
                  <a:gd name="connsiteY7" fmla="*/ 44217 h 75584"/>
                  <a:gd name="connsiteX8" fmla="*/ 58384 w 75945"/>
                  <a:gd name="connsiteY8" fmla="*/ 68848 h 75584"/>
                  <a:gd name="connsiteX9" fmla="*/ 7009 w 75945"/>
                  <a:gd name="connsiteY9" fmla="*/ 56314 h 75584"/>
                  <a:gd name="connsiteX10" fmla="*/ 50222 w 75945"/>
                  <a:gd name="connsiteY10" fmla="*/ 21700 h 75584"/>
                  <a:gd name="connsiteX11" fmla="*/ 22021 w 75945"/>
                  <a:gd name="connsiteY11" fmla="*/ 14413 h 75584"/>
                  <a:gd name="connsiteX12" fmla="*/ 14879 w 75945"/>
                  <a:gd name="connsiteY12" fmla="*/ 43926 h 75584"/>
                  <a:gd name="connsiteX13" fmla="*/ 50295 w 75945"/>
                  <a:gd name="connsiteY13" fmla="*/ 21700 h 75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945" h="75584">
                    <a:moveTo>
                      <a:pt x="7082" y="56387"/>
                    </a:moveTo>
                    <a:cubicBezTo>
                      <a:pt x="-6472" y="34817"/>
                      <a:pt x="888" y="15433"/>
                      <a:pt x="16847" y="5377"/>
                    </a:cubicBezTo>
                    <a:cubicBezTo>
                      <a:pt x="36887" y="-7230"/>
                      <a:pt x="53939" y="4502"/>
                      <a:pt x="62610" y="18275"/>
                    </a:cubicBezTo>
                    <a:cubicBezTo>
                      <a:pt x="63631" y="19951"/>
                      <a:pt x="64651" y="21627"/>
                      <a:pt x="65452" y="23157"/>
                    </a:cubicBezTo>
                    <a:lnTo>
                      <a:pt x="19470" y="52087"/>
                    </a:lnTo>
                    <a:cubicBezTo>
                      <a:pt x="28652" y="64986"/>
                      <a:pt x="40093" y="68119"/>
                      <a:pt x="52846" y="60103"/>
                    </a:cubicBezTo>
                    <a:cubicBezTo>
                      <a:pt x="60424" y="55367"/>
                      <a:pt x="64214" y="49974"/>
                      <a:pt x="65452" y="41885"/>
                    </a:cubicBezTo>
                    <a:lnTo>
                      <a:pt x="75946" y="44217"/>
                    </a:lnTo>
                    <a:cubicBezTo>
                      <a:pt x="74124" y="54857"/>
                      <a:pt x="69169" y="62071"/>
                      <a:pt x="58384" y="68848"/>
                    </a:cubicBezTo>
                    <a:cubicBezTo>
                      <a:pt x="39656" y="80653"/>
                      <a:pt x="20199" y="77228"/>
                      <a:pt x="7009" y="56314"/>
                    </a:cubicBezTo>
                    <a:close/>
                    <a:moveTo>
                      <a:pt x="50222" y="21700"/>
                    </a:moveTo>
                    <a:cubicBezTo>
                      <a:pt x="41478" y="10259"/>
                      <a:pt x="31567" y="8437"/>
                      <a:pt x="22021" y="14413"/>
                    </a:cubicBezTo>
                    <a:cubicBezTo>
                      <a:pt x="12547" y="20388"/>
                      <a:pt x="8977" y="30882"/>
                      <a:pt x="14879" y="43926"/>
                    </a:cubicBezTo>
                    <a:lnTo>
                      <a:pt x="50295" y="2170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67" name="Freeform 220">
                <a:extLst>
                  <a:ext uri="{FF2B5EF4-FFF2-40B4-BE49-F238E27FC236}">
                    <a16:creationId xmlns:a16="http://schemas.microsoft.com/office/drawing/2014/main" id="{1C3F6F73-1A7A-AE07-15C6-235C80516D9C}"/>
                  </a:ext>
                </a:extLst>
              </p:cNvPr>
              <p:cNvSpPr/>
              <p:nvPr/>
            </p:nvSpPr>
            <p:spPr>
              <a:xfrm>
                <a:off x="4456804" y="2431336"/>
                <a:ext cx="87664" cy="86033"/>
              </a:xfrm>
              <a:custGeom>
                <a:avLst/>
                <a:gdLst>
                  <a:gd name="connsiteX0" fmla="*/ 0 w 87664"/>
                  <a:gd name="connsiteY0" fmla="*/ 23218 h 86033"/>
                  <a:gd name="connsiteX1" fmla="*/ 9983 w 87664"/>
                  <a:gd name="connsiteY1" fmla="*/ 17242 h 86033"/>
                  <a:gd name="connsiteX2" fmla="*/ 17781 w 87664"/>
                  <a:gd name="connsiteY2" fmla="*/ 30359 h 86033"/>
                  <a:gd name="connsiteX3" fmla="*/ 17999 w 87664"/>
                  <a:gd name="connsiteY3" fmla="*/ 30213 h 86033"/>
                  <a:gd name="connsiteX4" fmla="*/ 29878 w 87664"/>
                  <a:gd name="connsiteY4" fmla="*/ 3761 h 86033"/>
                  <a:gd name="connsiteX5" fmla="*/ 62743 w 87664"/>
                  <a:gd name="connsiteY5" fmla="*/ 14254 h 86033"/>
                  <a:gd name="connsiteX6" fmla="*/ 87665 w 87664"/>
                  <a:gd name="connsiteY6" fmla="*/ 56156 h 86033"/>
                  <a:gd name="connsiteX7" fmla="*/ 77099 w 87664"/>
                  <a:gd name="connsiteY7" fmla="*/ 62423 h 86033"/>
                  <a:gd name="connsiteX8" fmla="*/ 53415 w 87664"/>
                  <a:gd name="connsiteY8" fmla="*/ 22562 h 86033"/>
                  <a:gd name="connsiteX9" fmla="*/ 31626 w 87664"/>
                  <a:gd name="connsiteY9" fmla="*/ 15347 h 86033"/>
                  <a:gd name="connsiteX10" fmla="*/ 26161 w 87664"/>
                  <a:gd name="connsiteY10" fmla="*/ 43403 h 86033"/>
                  <a:gd name="connsiteX11" fmla="*/ 47877 w 87664"/>
                  <a:gd name="connsiteY11" fmla="*/ 79839 h 86033"/>
                  <a:gd name="connsiteX12" fmla="*/ 37383 w 87664"/>
                  <a:gd name="connsiteY12" fmla="*/ 86033 h 86033"/>
                  <a:gd name="connsiteX13" fmla="*/ 0 w 87664"/>
                  <a:gd name="connsiteY13" fmla="*/ 23145 h 86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664" h="86033">
                    <a:moveTo>
                      <a:pt x="0" y="23218"/>
                    </a:moveTo>
                    <a:lnTo>
                      <a:pt x="9983" y="17242"/>
                    </a:lnTo>
                    <a:lnTo>
                      <a:pt x="17781" y="30359"/>
                    </a:lnTo>
                    <a:lnTo>
                      <a:pt x="17999" y="30213"/>
                    </a:lnTo>
                    <a:cubicBezTo>
                      <a:pt x="16615" y="22124"/>
                      <a:pt x="17271" y="11267"/>
                      <a:pt x="29878" y="3761"/>
                    </a:cubicBezTo>
                    <a:cubicBezTo>
                      <a:pt x="43213" y="-4182"/>
                      <a:pt x="54873" y="992"/>
                      <a:pt x="62743" y="14254"/>
                    </a:cubicBezTo>
                    <a:lnTo>
                      <a:pt x="87665" y="56156"/>
                    </a:lnTo>
                    <a:lnTo>
                      <a:pt x="77099" y="62423"/>
                    </a:lnTo>
                    <a:lnTo>
                      <a:pt x="53415" y="22562"/>
                    </a:lnTo>
                    <a:cubicBezTo>
                      <a:pt x="47950" y="13380"/>
                      <a:pt x="41246" y="9663"/>
                      <a:pt x="31626" y="15347"/>
                    </a:cubicBezTo>
                    <a:cubicBezTo>
                      <a:pt x="21716" y="21250"/>
                      <a:pt x="19165" y="31671"/>
                      <a:pt x="26161" y="43403"/>
                    </a:cubicBezTo>
                    <a:lnTo>
                      <a:pt x="47877" y="79839"/>
                    </a:lnTo>
                    <a:lnTo>
                      <a:pt x="37383" y="86033"/>
                    </a:lnTo>
                    <a:lnTo>
                      <a:pt x="0" y="2314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68" name="Freeform 221">
                <a:extLst>
                  <a:ext uri="{FF2B5EF4-FFF2-40B4-BE49-F238E27FC236}">
                    <a16:creationId xmlns:a16="http://schemas.microsoft.com/office/drawing/2014/main" id="{FBE47B2B-15FE-0404-9969-3DDDE11781E9}"/>
                  </a:ext>
                </a:extLst>
              </p:cNvPr>
              <p:cNvSpPr/>
              <p:nvPr/>
            </p:nvSpPr>
            <p:spPr>
              <a:xfrm>
                <a:off x="4519911" y="2391519"/>
                <a:ext cx="68353" cy="80577"/>
              </a:xfrm>
              <a:custGeom>
                <a:avLst/>
                <a:gdLst>
                  <a:gd name="connsiteX0" fmla="*/ 35780 w 68353"/>
                  <a:gd name="connsiteY0" fmla="*/ 71415 h 80577"/>
                  <a:gd name="connsiteX1" fmla="*/ 12534 w 68353"/>
                  <a:gd name="connsiteY1" fmla="*/ 30388 h 80577"/>
                  <a:gd name="connsiteX2" fmla="*/ 3133 w 68353"/>
                  <a:gd name="connsiteY2" fmla="*/ 35707 h 80577"/>
                  <a:gd name="connsiteX3" fmla="*/ 0 w 68353"/>
                  <a:gd name="connsiteY3" fmla="*/ 30169 h 80577"/>
                  <a:gd name="connsiteX4" fmla="*/ 8089 w 68353"/>
                  <a:gd name="connsiteY4" fmla="*/ 729 h 80577"/>
                  <a:gd name="connsiteX5" fmla="*/ 9328 w 68353"/>
                  <a:gd name="connsiteY5" fmla="*/ 0 h 80577"/>
                  <a:gd name="connsiteX6" fmla="*/ 18072 w 68353"/>
                  <a:gd name="connsiteY6" fmla="*/ 15376 h 80577"/>
                  <a:gd name="connsiteX7" fmla="*/ 32282 w 68353"/>
                  <a:gd name="connsiteY7" fmla="*/ 7287 h 80577"/>
                  <a:gd name="connsiteX8" fmla="*/ 37310 w 68353"/>
                  <a:gd name="connsiteY8" fmla="*/ 16178 h 80577"/>
                  <a:gd name="connsiteX9" fmla="*/ 23100 w 68353"/>
                  <a:gd name="connsiteY9" fmla="*/ 24266 h 80577"/>
                  <a:gd name="connsiteX10" fmla="*/ 45108 w 68353"/>
                  <a:gd name="connsiteY10" fmla="*/ 63107 h 80577"/>
                  <a:gd name="connsiteX11" fmla="*/ 56184 w 68353"/>
                  <a:gd name="connsiteY11" fmla="*/ 66386 h 80577"/>
                  <a:gd name="connsiteX12" fmla="*/ 62888 w 68353"/>
                  <a:gd name="connsiteY12" fmla="*/ 61285 h 80577"/>
                  <a:gd name="connsiteX13" fmla="*/ 68354 w 68353"/>
                  <a:gd name="connsiteY13" fmla="*/ 70904 h 80577"/>
                  <a:gd name="connsiteX14" fmla="*/ 60046 w 68353"/>
                  <a:gd name="connsiteY14" fmla="*/ 76880 h 80577"/>
                  <a:gd name="connsiteX15" fmla="*/ 35707 w 68353"/>
                  <a:gd name="connsiteY15" fmla="*/ 71342 h 8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353" h="80577">
                    <a:moveTo>
                      <a:pt x="35780" y="71415"/>
                    </a:moveTo>
                    <a:lnTo>
                      <a:pt x="12534" y="30388"/>
                    </a:lnTo>
                    <a:lnTo>
                      <a:pt x="3133" y="35707"/>
                    </a:lnTo>
                    <a:lnTo>
                      <a:pt x="0" y="30169"/>
                    </a:lnTo>
                    <a:lnTo>
                      <a:pt x="8089" y="729"/>
                    </a:lnTo>
                    <a:lnTo>
                      <a:pt x="9328" y="0"/>
                    </a:lnTo>
                    <a:lnTo>
                      <a:pt x="18072" y="15376"/>
                    </a:lnTo>
                    <a:lnTo>
                      <a:pt x="32282" y="7287"/>
                    </a:lnTo>
                    <a:lnTo>
                      <a:pt x="37310" y="16178"/>
                    </a:lnTo>
                    <a:lnTo>
                      <a:pt x="23100" y="24266"/>
                    </a:lnTo>
                    <a:lnTo>
                      <a:pt x="45108" y="63107"/>
                    </a:lnTo>
                    <a:cubicBezTo>
                      <a:pt x="48314" y="68718"/>
                      <a:pt x="51010" y="69301"/>
                      <a:pt x="56184" y="66386"/>
                    </a:cubicBezTo>
                    <a:cubicBezTo>
                      <a:pt x="58735" y="64929"/>
                      <a:pt x="60994" y="63107"/>
                      <a:pt x="62888" y="61285"/>
                    </a:cubicBezTo>
                    <a:lnTo>
                      <a:pt x="68354" y="70904"/>
                    </a:lnTo>
                    <a:cubicBezTo>
                      <a:pt x="66386" y="72799"/>
                      <a:pt x="63180" y="75058"/>
                      <a:pt x="60046" y="76880"/>
                    </a:cubicBezTo>
                    <a:cubicBezTo>
                      <a:pt x="48970" y="83147"/>
                      <a:pt x="41537" y="81544"/>
                      <a:pt x="35707" y="71342"/>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69" name="Freeform 222">
                <a:extLst>
                  <a:ext uri="{FF2B5EF4-FFF2-40B4-BE49-F238E27FC236}">
                    <a16:creationId xmlns:a16="http://schemas.microsoft.com/office/drawing/2014/main" id="{4023FAAF-9242-9080-DFF7-3AF0D0B5FD9F}"/>
                  </a:ext>
                </a:extLst>
              </p:cNvPr>
              <p:cNvSpPr/>
              <p:nvPr/>
            </p:nvSpPr>
            <p:spPr>
              <a:xfrm>
                <a:off x="4570240" y="2373973"/>
                <a:ext cx="68371" cy="77328"/>
              </a:xfrm>
              <a:custGeom>
                <a:avLst/>
                <a:gdLst>
                  <a:gd name="connsiteX0" fmla="*/ 20722 w 68371"/>
                  <a:gd name="connsiteY0" fmla="*/ 75334 h 77328"/>
                  <a:gd name="connsiteX1" fmla="*/ 23855 w 68371"/>
                  <a:gd name="connsiteY1" fmla="*/ 64767 h 77328"/>
                  <a:gd name="connsiteX2" fmla="*/ 47029 w 68371"/>
                  <a:gd name="connsiteY2" fmla="*/ 62654 h 77328"/>
                  <a:gd name="connsiteX3" fmla="*/ 55773 w 68371"/>
                  <a:gd name="connsiteY3" fmla="*/ 45894 h 77328"/>
                  <a:gd name="connsiteX4" fmla="*/ 33037 w 68371"/>
                  <a:gd name="connsiteY4" fmla="*/ 42760 h 77328"/>
                  <a:gd name="connsiteX5" fmla="*/ 2577 w 68371"/>
                  <a:gd name="connsiteY5" fmla="*/ 35181 h 77328"/>
                  <a:gd name="connsiteX6" fmla="*/ 15475 w 68371"/>
                  <a:gd name="connsiteY6" fmla="*/ 5012 h 77328"/>
                  <a:gd name="connsiteX7" fmla="*/ 42656 w 68371"/>
                  <a:gd name="connsiteY7" fmla="*/ 1223 h 77328"/>
                  <a:gd name="connsiteX8" fmla="*/ 39523 w 68371"/>
                  <a:gd name="connsiteY8" fmla="*/ 11790 h 77328"/>
                  <a:gd name="connsiteX9" fmla="*/ 20358 w 68371"/>
                  <a:gd name="connsiteY9" fmla="*/ 14049 h 77328"/>
                  <a:gd name="connsiteX10" fmla="*/ 12633 w 68371"/>
                  <a:gd name="connsiteY10" fmla="*/ 29133 h 77328"/>
                  <a:gd name="connsiteX11" fmla="*/ 34713 w 68371"/>
                  <a:gd name="connsiteY11" fmla="*/ 30809 h 77328"/>
                  <a:gd name="connsiteX12" fmla="*/ 65757 w 68371"/>
                  <a:gd name="connsiteY12" fmla="*/ 39481 h 77328"/>
                  <a:gd name="connsiteX13" fmla="*/ 51838 w 68371"/>
                  <a:gd name="connsiteY13" fmla="*/ 71617 h 77328"/>
                  <a:gd name="connsiteX14" fmla="*/ 20649 w 68371"/>
                  <a:gd name="connsiteY14" fmla="*/ 75480 h 7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371" h="77328">
                    <a:moveTo>
                      <a:pt x="20722" y="75334"/>
                    </a:moveTo>
                    <a:lnTo>
                      <a:pt x="23855" y="64767"/>
                    </a:lnTo>
                    <a:cubicBezTo>
                      <a:pt x="33037" y="67828"/>
                      <a:pt x="39741" y="66589"/>
                      <a:pt x="47029" y="62654"/>
                    </a:cubicBezTo>
                    <a:cubicBezTo>
                      <a:pt x="53951" y="58865"/>
                      <a:pt x="59635" y="52962"/>
                      <a:pt x="55773" y="45894"/>
                    </a:cubicBezTo>
                    <a:cubicBezTo>
                      <a:pt x="51692" y="38461"/>
                      <a:pt x="44114" y="40137"/>
                      <a:pt x="33037" y="42760"/>
                    </a:cubicBezTo>
                    <a:cubicBezTo>
                      <a:pt x="21961" y="45311"/>
                      <a:pt x="9281" y="47497"/>
                      <a:pt x="2577" y="35181"/>
                    </a:cubicBezTo>
                    <a:cubicBezTo>
                      <a:pt x="-3763" y="23522"/>
                      <a:pt x="1994" y="12300"/>
                      <a:pt x="15475" y="5012"/>
                    </a:cubicBezTo>
                    <a:cubicBezTo>
                      <a:pt x="24074" y="349"/>
                      <a:pt x="34057" y="-1400"/>
                      <a:pt x="42656" y="1223"/>
                    </a:cubicBezTo>
                    <a:lnTo>
                      <a:pt x="39523" y="11790"/>
                    </a:lnTo>
                    <a:cubicBezTo>
                      <a:pt x="32163" y="9603"/>
                      <a:pt x="25750" y="11134"/>
                      <a:pt x="20358" y="14049"/>
                    </a:cubicBezTo>
                    <a:cubicBezTo>
                      <a:pt x="13070" y="18056"/>
                      <a:pt x="9427" y="23303"/>
                      <a:pt x="12633" y="29133"/>
                    </a:cubicBezTo>
                    <a:cubicBezTo>
                      <a:pt x="15839" y="35108"/>
                      <a:pt x="23637" y="33360"/>
                      <a:pt x="34713" y="30809"/>
                    </a:cubicBezTo>
                    <a:cubicBezTo>
                      <a:pt x="45207" y="28404"/>
                      <a:pt x="58251" y="25635"/>
                      <a:pt x="65757" y="39481"/>
                    </a:cubicBezTo>
                    <a:cubicBezTo>
                      <a:pt x="72315" y="51505"/>
                      <a:pt x="66121" y="63893"/>
                      <a:pt x="51838" y="71617"/>
                    </a:cubicBezTo>
                    <a:cubicBezTo>
                      <a:pt x="42146" y="76864"/>
                      <a:pt x="31580" y="79269"/>
                      <a:pt x="20649" y="7548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grpSp>
          <p:nvGrpSpPr>
            <p:cNvPr id="1570" name="Graphic 2">
              <a:extLst>
                <a:ext uri="{FF2B5EF4-FFF2-40B4-BE49-F238E27FC236}">
                  <a16:creationId xmlns:a16="http://schemas.microsoft.com/office/drawing/2014/main" id="{0B9291F6-7D84-6941-EAAB-D1947FEA07BD}"/>
                </a:ext>
              </a:extLst>
            </p:cNvPr>
            <p:cNvGrpSpPr/>
            <p:nvPr/>
          </p:nvGrpSpPr>
          <p:grpSpPr>
            <a:xfrm>
              <a:off x="7730816" y="2417825"/>
              <a:ext cx="541296" cy="440167"/>
              <a:chOff x="7732833" y="2417535"/>
              <a:chExt cx="541437" cy="440277"/>
            </a:xfrm>
            <a:solidFill>
              <a:srgbClr val="00144A"/>
            </a:solidFill>
          </p:grpSpPr>
          <p:sp>
            <p:nvSpPr>
              <p:cNvPr id="1571" name="Freeform 224">
                <a:extLst>
                  <a:ext uri="{FF2B5EF4-FFF2-40B4-BE49-F238E27FC236}">
                    <a16:creationId xmlns:a16="http://schemas.microsoft.com/office/drawing/2014/main" id="{50D31FF1-FEBE-ECB5-5303-753F97CEAF4C}"/>
                  </a:ext>
                </a:extLst>
              </p:cNvPr>
              <p:cNvSpPr/>
              <p:nvPr/>
            </p:nvSpPr>
            <p:spPr>
              <a:xfrm>
                <a:off x="7732833" y="2417535"/>
                <a:ext cx="112149" cy="119582"/>
              </a:xfrm>
              <a:custGeom>
                <a:avLst/>
                <a:gdLst>
                  <a:gd name="connsiteX0" fmla="*/ 49480 w 112149"/>
                  <a:gd name="connsiteY0" fmla="*/ 0 h 119582"/>
                  <a:gd name="connsiteX1" fmla="*/ 60484 w 112149"/>
                  <a:gd name="connsiteY1" fmla="*/ 6704 h 119582"/>
                  <a:gd name="connsiteX2" fmla="*/ 39861 w 112149"/>
                  <a:gd name="connsiteY2" fmla="*/ 40590 h 119582"/>
                  <a:gd name="connsiteX3" fmla="*/ 80523 w 112149"/>
                  <a:gd name="connsiteY3" fmla="*/ 65293 h 119582"/>
                  <a:gd name="connsiteX4" fmla="*/ 101146 w 112149"/>
                  <a:gd name="connsiteY4" fmla="*/ 31408 h 119582"/>
                  <a:gd name="connsiteX5" fmla="*/ 112149 w 112149"/>
                  <a:gd name="connsiteY5" fmla="*/ 38112 h 119582"/>
                  <a:gd name="connsiteX6" fmla="*/ 62670 w 112149"/>
                  <a:gd name="connsiteY6" fmla="*/ 119583 h 119582"/>
                  <a:gd name="connsiteX7" fmla="*/ 51666 w 112149"/>
                  <a:gd name="connsiteY7" fmla="*/ 112878 h 119582"/>
                  <a:gd name="connsiteX8" fmla="*/ 74256 w 112149"/>
                  <a:gd name="connsiteY8" fmla="*/ 75714 h 119582"/>
                  <a:gd name="connsiteX9" fmla="*/ 33594 w 112149"/>
                  <a:gd name="connsiteY9" fmla="*/ 51010 h 119582"/>
                  <a:gd name="connsiteX10" fmla="*/ 11003 w 112149"/>
                  <a:gd name="connsiteY10" fmla="*/ 88175 h 119582"/>
                  <a:gd name="connsiteX11" fmla="*/ 0 w 112149"/>
                  <a:gd name="connsiteY11" fmla="*/ 81471 h 119582"/>
                  <a:gd name="connsiteX12" fmla="*/ 49480 w 112149"/>
                  <a:gd name="connsiteY12" fmla="*/ 0 h 11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149" h="119582">
                    <a:moveTo>
                      <a:pt x="49480" y="0"/>
                    </a:moveTo>
                    <a:lnTo>
                      <a:pt x="60484" y="6704"/>
                    </a:lnTo>
                    <a:lnTo>
                      <a:pt x="39861" y="40590"/>
                    </a:lnTo>
                    <a:lnTo>
                      <a:pt x="80523" y="65293"/>
                    </a:lnTo>
                    <a:lnTo>
                      <a:pt x="101146" y="31408"/>
                    </a:lnTo>
                    <a:lnTo>
                      <a:pt x="112149" y="38112"/>
                    </a:lnTo>
                    <a:lnTo>
                      <a:pt x="62670" y="119583"/>
                    </a:lnTo>
                    <a:lnTo>
                      <a:pt x="51666" y="112878"/>
                    </a:lnTo>
                    <a:lnTo>
                      <a:pt x="74256" y="75714"/>
                    </a:lnTo>
                    <a:lnTo>
                      <a:pt x="33594" y="51010"/>
                    </a:lnTo>
                    <a:lnTo>
                      <a:pt x="11003" y="88175"/>
                    </a:lnTo>
                    <a:lnTo>
                      <a:pt x="0" y="81471"/>
                    </a:lnTo>
                    <a:lnTo>
                      <a:pt x="49480"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72" name="Freeform 225">
                <a:extLst>
                  <a:ext uri="{FF2B5EF4-FFF2-40B4-BE49-F238E27FC236}">
                    <a16:creationId xmlns:a16="http://schemas.microsoft.com/office/drawing/2014/main" id="{F95A2B6F-9694-BDD9-8AA5-B6501B7F3720}"/>
                  </a:ext>
                </a:extLst>
              </p:cNvPr>
              <p:cNvSpPr/>
              <p:nvPr/>
            </p:nvSpPr>
            <p:spPr>
              <a:xfrm>
                <a:off x="7816343" y="2470367"/>
                <a:ext cx="100203" cy="120165"/>
              </a:xfrm>
              <a:custGeom>
                <a:avLst/>
                <a:gdLst>
                  <a:gd name="connsiteX0" fmla="*/ 51812 w 100203"/>
                  <a:gd name="connsiteY0" fmla="*/ 0 h 120165"/>
                  <a:gd name="connsiteX1" fmla="*/ 82491 w 100203"/>
                  <a:gd name="connsiteY1" fmla="*/ 19894 h 120165"/>
                  <a:gd name="connsiteX2" fmla="*/ 95244 w 100203"/>
                  <a:gd name="connsiteY2" fmla="*/ 61722 h 120165"/>
                  <a:gd name="connsiteX3" fmla="*/ 60775 w 100203"/>
                  <a:gd name="connsiteY3" fmla="*/ 71924 h 120165"/>
                  <a:gd name="connsiteX4" fmla="*/ 62014 w 100203"/>
                  <a:gd name="connsiteY4" fmla="*/ 120166 h 120165"/>
                  <a:gd name="connsiteX5" fmla="*/ 49407 w 100203"/>
                  <a:gd name="connsiteY5" fmla="*/ 112004 h 120165"/>
                  <a:gd name="connsiteX6" fmla="*/ 49407 w 100203"/>
                  <a:gd name="connsiteY6" fmla="*/ 66386 h 120165"/>
                  <a:gd name="connsiteX7" fmla="*/ 31554 w 100203"/>
                  <a:gd name="connsiteY7" fmla="*/ 54800 h 120165"/>
                  <a:gd name="connsiteX8" fmla="*/ 10785 w 100203"/>
                  <a:gd name="connsiteY8" fmla="*/ 86863 h 120165"/>
                  <a:gd name="connsiteX9" fmla="*/ 0 w 100203"/>
                  <a:gd name="connsiteY9" fmla="*/ 79868 h 120165"/>
                  <a:gd name="connsiteX10" fmla="*/ 51885 w 100203"/>
                  <a:gd name="connsiteY10" fmla="*/ 0 h 120165"/>
                  <a:gd name="connsiteX11" fmla="*/ 56986 w 100203"/>
                  <a:gd name="connsiteY11" fmla="*/ 57642 h 120165"/>
                  <a:gd name="connsiteX12" fmla="*/ 84459 w 100203"/>
                  <a:gd name="connsiteY12" fmla="*/ 54800 h 120165"/>
                  <a:gd name="connsiteX13" fmla="*/ 74985 w 100203"/>
                  <a:gd name="connsiteY13" fmla="*/ 29003 h 120165"/>
                  <a:gd name="connsiteX14" fmla="*/ 56257 w 100203"/>
                  <a:gd name="connsiteY14" fmla="*/ 16833 h 120165"/>
                  <a:gd name="connsiteX15" fmla="*/ 37821 w 100203"/>
                  <a:gd name="connsiteY15" fmla="*/ 45181 h 120165"/>
                  <a:gd name="connsiteX16" fmla="*/ 56986 w 100203"/>
                  <a:gd name="connsiteY16" fmla="*/ 57642 h 120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0203" h="120165">
                    <a:moveTo>
                      <a:pt x="51812" y="0"/>
                    </a:moveTo>
                    <a:lnTo>
                      <a:pt x="82491" y="19894"/>
                    </a:lnTo>
                    <a:cubicBezTo>
                      <a:pt x="100563" y="31626"/>
                      <a:pt x="104790" y="46930"/>
                      <a:pt x="95244" y="61722"/>
                    </a:cubicBezTo>
                    <a:cubicBezTo>
                      <a:pt x="88758" y="71706"/>
                      <a:pt x="76734" y="78337"/>
                      <a:pt x="60775" y="71924"/>
                    </a:cubicBezTo>
                    <a:lnTo>
                      <a:pt x="62014" y="120166"/>
                    </a:lnTo>
                    <a:lnTo>
                      <a:pt x="49407" y="112004"/>
                    </a:lnTo>
                    <a:lnTo>
                      <a:pt x="49407" y="66386"/>
                    </a:lnTo>
                    <a:cubicBezTo>
                      <a:pt x="49407" y="66386"/>
                      <a:pt x="31554" y="54800"/>
                      <a:pt x="31554" y="54800"/>
                    </a:cubicBezTo>
                    <a:lnTo>
                      <a:pt x="10785" y="86863"/>
                    </a:lnTo>
                    <a:lnTo>
                      <a:pt x="0" y="79868"/>
                    </a:lnTo>
                    <a:lnTo>
                      <a:pt x="51885" y="0"/>
                    </a:lnTo>
                    <a:close/>
                    <a:moveTo>
                      <a:pt x="56986" y="57642"/>
                    </a:moveTo>
                    <a:cubicBezTo>
                      <a:pt x="69593" y="65803"/>
                      <a:pt x="79139" y="62961"/>
                      <a:pt x="84459" y="54800"/>
                    </a:cubicBezTo>
                    <a:cubicBezTo>
                      <a:pt x="90507" y="45472"/>
                      <a:pt x="86572" y="36509"/>
                      <a:pt x="74985" y="29003"/>
                    </a:cubicBezTo>
                    <a:lnTo>
                      <a:pt x="56257" y="16833"/>
                    </a:lnTo>
                    <a:lnTo>
                      <a:pt x="37821" y="45181"/>
                    </a:lnTo>
                    <a:lnTo>
                      <a:pt x="56986" y="57642"/>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73" name="Freeform 226">
                <a:extLst>
                  <a:ext uri="{FF2B5EF4-FFF2-40B4-BE49-F238E27FC236}">
                    <a16:creationId xmlns:a16="http://schemas.microsoft.com/office/drawing/2014/main" id="{CBF29E0F-FD55-0AF4-36FD-732D8C9E3158}"/>
                  </a:ext>
                </a:extLst>
              </p:cNvPr>
              <p:cNvSpPr/>
              <p:nvPr/>
            </p:nvSpPr>
            <p:spPr>
              <a:xfrm>
                <a:off x="7922755" y="2566122"/>
                <a:ext cx="74218" cy="83509"/>
              </a:xfrm>
              <a:custGeom>
                <a:avLst/>
                <a:gdLst>
                  <a:gd name="connsiteX0" fmla="*/ 4281 w 74218"/>
                  <a:gd name="connsiteY0" fmla="*/ 33519 h 83509"/>
                  <a:gd name="connsiteX1" fmla="*/ 45017 w 74218"/>
                  <a:gd name="connsiteY1" fmla="*/ 33446 h 83509"/>
                  <a:gd name="connsiteX2" fmla="*/ 55656 w 74218"/>
                  <a:gd name="connsiteY2" fmla="*/ 40952 h 83509"/>
                  <a:gd name="connsiteX3" fmla="*/ 58571 w 74218"/>
                  <a:gd name="connsiteY3" fmla="*/ 36871 h 83509"/>
                  <a:gd name="connsiteX4" fmla="*/ 55510 w 74218"/>
                  <a:gd name="connsiteY4" fmla="*/ 15447 h 83509"/>
                  <a:gd name="connsiteX5" fmla="*/ 32483 w 74218"/>
                  <a:gd name="connsiteY5" fmla="*/ 12241 h 83509"/>
                  <a:gd name="connsiteX6" fmla="*/ 30588 w 74218"/>
                  <a:gd name="connsiteY6" fmla="*/ 1310 h 83509"/>
                  <a:gd name="connsiteX7" fmla="*/ 62142 w 74218"/>
                  <a:gd name="connsiteY7" fmla="*/ 7504 h 83509"/>
                  <a:gd name="connsiteX8" fmla="*/ 68554 w 74218"/>
                  <a:gd name="connsiteY8" fmla="*/ 43867 h 83509"/>
                  <a:gd name="connsiteX9" fmla="*/ 40644 w 74218"/>
                  <a:gd name="connsiteY9" fmla="*/ 83509 h 83509"/>
                  <a:gd name="connsiteX10" fmla="*/ 31171 w 74218"/>
                  <a:gd name="connsiteY10" fmla="*/ 76805 h 83509"/>
                  <a:gd name="connsiteX11" fmla="*/ 38968 w 74218"/>
                  <a:gd name="connsiteY11" fmla="*/ 65728 h 83509"/>
                  <a:gd name="connsiteX12" fmla="*/ 38750 w 74218"/>
                  <a:gd name="connsiteY12" fmla="*/ 65583 h 83509"/>
                  <a:gd name="connsiteX13" fmla="*/ 10330 w 74218"/>
                  <a:gd name="connsiteY13" fmla="*/ 63834 h 83509"/>
                  <a:gd name="connsiteX14" fmla="*/ 4354 w 74218"/>
                  <a:gd name="connsiteY14" fmla="*/ 33592 h 83509"/>
                  <a:gd name="connsiteX15" fmla="*/ 18783 w 74218"/>
                  <a:gd name="connsiteY15" fmla="*/ 57348 h 83509"/>
                  <a:gd name="connsiteX16" fmla="*/ 46256 w 74218"/>
                  <a:gd name="connsiteY16" fmla="*/ 54215 h 83509"/>
                  <a:gd name="connsiteX17" fmla="*/ 50336 w 74218"/>
                  <a:gd name="connsiteY17" fmla="*/ 48385 h 83509"/>
                  <a:gd name="connsiteX18" fmla="*/ 41081 w 74218"/>
                  <a:gd name="connsiteY18" fmla="*/ 41826 h 83509"/>
                  <a:gd name="connsiteX19" fmla="*/ 14702 w 74218"/>
                  <a:gd name="connsiteY19" fmla="*/ 40515 h 83509"/>
                  <a:gd name="connsiteX20" fmla="*/ 18856 w 74218"/>
                  <a:gd name="connsiteY20" fmla="*/ 57275 h 8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218" h="83509">
                    <a:moveTo>
                      <a:pt x="4281" y="33519"/>
                    </a:moveTo>
                    <a:cubicBezTo>
                      <a:pt x="14119" y="19601"/>
                      <a:pt x="29713" y="22661"/>
                      <a:pt x="45017" y="33446"/>
                    </a:cubicBezTo>
                    <a:lnTo>
                      <a:pt x="55656" y="40952"/>
                    </a:lnTo>
                    <a:lnTo>
                      <a:pt x="58571" y="36871"/>
                    </a:lnTo>
                    <a:cubicBezTo>
                      <a:pt x="64328" y="28637"/>
                      <a:pt x="63745" y="21277"/>
                      <a:pt x="55510" y="15447"/>
                    </a:cubicBezTo>
                    <a:cubicBezTo>
                      <a:pt x="47859" y="10054"/>
                      <a:pt x="40207" y="9690"/>
                      <a:pt x="32483" y="12241"/>
                    </a:cubicBezTo>
                    <a:lnTo>
                      <a:pt x="30588" y="1310"/>
                    </a:lnTo>
                    <a:cubicBezTo>
                      <a:pt x="39260" y="-1022"/>
                      <a:pt x="50190" y="-949"/>
                      <a:pt x="62142" y="7504"/>
                    </a:cubicBezTo>
                    <a:cubicBezTo>
                      <a:pt x="76279" y="17487"/>
                      <a:pt x="77445" y="31187"/>
                      <a:pt x="68554" y="43867"/>
                    </a:cubicBezTo>
                    <a:lnTo>
                      <a:pt x="40644" y="83509"/>
                    </a:lnTo>
                    <a:lnTo>
                      <a:pt x="31171" y="76805"/>
                    </a:lnTo>
                    <a:lnTo>
                      <a:pt x="38968" y="65728"/>
                    </a:lnTo>
                    <a:lnTo>
                      <a:pt x="38750" y="65583"/>
                    </a:lnTo>
                    <a:cubicBezTo>
                      <a:pt x="28766" y="71267"/>
                      <a:pt x="20094" y="70684"/>
                      <a:pt x="10330" y="63834"/>
                    </a:cubicBezTo>
                    <a:cubicBezTo>
                      <a:pt x="-237" y="56401"/>
                      <a:pt x="-3516" y="44814"/>
                      <a:pt x="4354" y="33592"/>
                    </a:cubicBezTo>
                    <a:close/>
                    <a:moveTo>
                      <a:pt x="18783" y="57348"/>
                    </a:moveTo>
                    <a:cubicBezTo>
                      <a:pt x="29786" y="65073"/>
                      <a:pt x="40936" y="61648"/>
                      <a:pt x="46256" y="54215"/>
                    </a:cubicBezTo>
                    <a:lnTo>
                      <a:pt x="50336" y="48385"/>
                    </a:lnTo>
                    <a:lnTo>
                      <a:pt x="41081" y="41826"/>
                    </a:lnTo>
                    <a:cubicBezTo>
                      <a:pt x="31681" y="35195"/>
                      <a:pt x="21406" y="31041"/>
                      <a:pt x="14702" y="40515"/>
                    </a:cubicBezTo>
                    <a:cubicBezTo>
                      <a:pt x="10767" y="46126"/>
                      <a:pt x="12152" y="52612"/>
                      <a:pt x="18856" y="5727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74" name="Freeform 227">
                <a:extLst>
                  <a:ext uri="{FF2B5EF4-FFF2-40B4-BE49-F238E27FC236}">
                    <a16:creationId xmlns:a16="http://schemas.microsoft.com/office/drawing/2014/main" id="{A737F336-4D10-1FFB-86CD-2418DF00583A}"/>
                  </a:ext>
                </a:extLst>
              </p:cNvPr>
              <p:cNvSpPr/>
              <p:nvPr/>
            </p:nvSpPr>
            <p:spPr>
              <a:xfrm>
                <a:off x="7964668" y="2610207"/>
                <a:ext cx="113212" cy="102513"/>
              </a:xfrm>
              <a:custGeom>
                <a:avLst/>
                <a:gdLst>
                  <a:gd name="connsiteX0" fmla="*/ 3322 w 113212"/>
                  <a:gd name="connsiteY0" fmla="*/ 57132 h 102513"/>
                  <a:gd name="connsiteX1" fmla="*/ 23289 w 113212"/>
                  <a:gd name="connsiteY1" fmla="*/ 52177 h 102513"/>
                  <a:gd name="connsiteX2" fmla="*/ 22925 w 113212"/>
                  <a:gd name="connsiteY2" fmla="*/ 39206 h 102513"/>
                  <a:gd name="connsiteX3" fmla="*/ 38519 w 113212"/>
                  <a:gd name="connsiteY3" fmla="*/ 35125 h 102513"/>
                  <a:gd name="connsiteX4" fmla="*/ 41872 w 113212"/>
                  <a:gd name="connsiteY4" fmla="*/ 10713 h 102513"/>
                  <a:gd name="connsiteX5" fmla="*/ 80348 w 113212"/>
                  <a:gd name="connsiteY5" fmla="*/ 6778 h 102513"/>
                  <a:gd name="connsiteX6" fmla="*/ 91424 w 113212"/>
                  <a:gd name="connsiteY6" fmla="*/ 19822 h 102513"/>
                  <a:gd name="connsiteX7" fmla="*/ 111318 w 113212"/>
                  <a:gd name="connsiteY7" fmla="*/ 19458 h 102513"/>
                  <a:gd name="connsiteX8" fmla="*/ 113213 w 113212"/>
                  <a:gd name="connsiteY8" fmla="*/ 20842 h 102513"/>
                  <a:gd name="connsiteX9" fmla="*/ 105926 w 113212"/>
                  <a:gd name="connsiteY9" fmla="*/ 30680 h 102513"/>
                  <a:gd name="connsiteX10" fmla="*/ 103885 w 113212"/>
                  <a:gd name="connsiteY10" fmla="*/ 29223 h 102513"/>
                  <a:gd name="connsiteX11" fmla="*/ 92809 w 113212"/>
                  <a:gd name="connsiteY11" fmla="*/ 24340 h 102513"/>
                  <a:gd name="connsiteX12" fmla="*/ 87635 w 113212"/>
                  <a:gd name="connsiteY12" fmla="*/ 44525 h 102513"/>
                  <a:gd name="connsiteX13" fmla="*/ 49304 w 113212"/>
                  <a:gd name="connsiteY13" fmla="*/ 47950 h 102513"/>
                  <a:gd name="connsiteX14" fmla="*/ 40341 w 113212"/>
                  <a:gd name="connsiteY14" fmla="*/ 38696 h 102513"/>
                  <a:gd name="connsiteX15" fmla="*/ 35386 w 113212"/>
                  <a:gd name="connsiteY15" fmla="*/ 41173 h 102513"/>
                  <a:gd name="connsiteX16" fmla="*/ 46754 w 113212"/>
                  <a:gd name="connsiteY16" fmla="*/ 59100 h 102513"/>
                  <a:gd name="connsiteX17" fmla="*/ 60818 w 113212"/>
                  <a:gd name="connsiteY17" fmla="*/ 93641 h 102513"/>
                  <a:gd name="connsiteX18" fmla="*/ 18261 w 113212"/>
                  <a:gd name="connsiteY18" fmla="*/ 91091 h 102513"/>
                  <a:gd name="connsiteX19" fmla="*/ 3104 w 113212"/>
                  <a:gd name="connsiteY19" fmla="*/ 57059 h 102513"/>
                  <a:gd name="connsiteX20" fmla="*/ 24601 w 113212"/>
                  <a:gd name="connsiteY20" fmla="*/ 83731 h 102513"/>
                  <a:gd name="connsiteX21" fmla="*/ 49887 w 113212"/>
                  <a:gd name="connsiteY21" fmla="*/ 87301 h 102513"/>
                  <a:gd name="connsiteX22" fmla="*/ 37426 w 113212"/>
                  <a:gd name="connsiteY22" fmla="*/ 66387 h 102513"/>
                  <a:gd name="connsiteX23" fmla="*/ 26204 w 113212"/>
                  <a:gd name="connsiteY23" fmla="*/ 56112 h 102513"/>
                  <a:gd name="connsiteX24" fmla="*/ 14909 w 113212"/>
                  <a:gd name="connsiteY24" fmla="*/ 61505 h 102513"/>
                  <a:gd name="connsiteX25" fmla="*/ 24601 w 113212"/>
                  <a:gd name="connsiteY25" fmla="*/ 83804 h 102513"/>
                  <a:gd name="connsiteX26" fmla="*/ 54988 w 113212"/>
                  <a:gd name="connsiteY26" fmla="*/ 40299 h 102513"/>
                  <a:gd name="connsiteX27" fmla="*/ 77724 w 113212"/>
                  <a:gd name="connsiteY27" fmla="*/ 37238 h 102513"/>
                  <a:gd name="connsiteX28" fmla="*/ 74809 w 113212"/>
                  <a:gd name="connsiteY28" fmla="*/ 14575 h 102513"/>
                  <a:gd name="connsiteX29" fmla="*/ 51928 w 113212"/>
                  <a:gd name="connsiteY29" fmla="*/ 18146 h 102513"/>
                  <a:gd name="connsiteX30" fmla="*/ 54988 w 113212"/>
                  <a:gd name="connsiteY30" fmla="*/ 40226 h 102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3212" h="102513">
                    <a:moveTo>
                      <a:pt x="3322" y="57132"/>
                    </a:moveTo>
                    <a:cubicBezTo>
                      <a:pt x="8205" y="50501"/>
                      <a:pt x="16439" y="49772"/>
                      <a:pt x="23289" y="52177"/>
                    </a:cubicBezTo>
                    <a:cubicBezTo>
                      <a:pt x="20447" y="47805"/>
                      <a:pt x="19791" y="43432"/>
                      <a:pt x="22925" y="39206"/>
                    </a:cubicBezTo>
                    <a:cubicBezTo>
                      <a:pt x="26350" y="34615"/>
                      <a:pt x="32034" y="33157"/>
                      <a:pt x="38519" y="35125"/>
                    </a:cubicBezTo>
                    <a:cubicBezTo>
                      <a:pt x="35022" y="27182"/>
                      <a:pt x="36114" y="18510"/>
                      <a:pt x="41872" y="10713"/>
                    </a:cubicBezTo>
                    <a:cubicBezTo>
                      <a:pt x="50252" y="-655"/>
                      <a:pt x="65045" y="-4517"/>
                      <a:pt x="80348" y="6778"/>
                    </a:cubicBezTo>
                    <a:cubicBezTo>
                      <a:pt x="85886" y="10859"/>
                      <a:pt x="89530" y="15304"/>
                      <a:pt x="91424" y="19822"/>
                    </a:cubicBezTo>
                    <a:cubicBezTo>
                      <a:pt x="98420" y="15596"/>
                      <a:pt x="104468" y="14430"/>
                      <a:pt x="111318" y="19458"/>
                    </a:cubicBezTo>
                    <a:lnTo>
                      <a:pt x="113213" y="20842"/>
                    </a:lnTo>
                    <a:lnTo>
                      <a:pt x="105926" y="30680"/>
                    </a:lnTo>
                    <a:lnTo>
                      <a:pt x="103885" y="29223"/>
                    </a:lnTo>
                    <a:cubicBezTo>
                      <a:pt x="98639" y="25360"/>
                      <a:pt x="95724" y="24340"/>
                      <a:pt x="92809" y="24340"/>
                    </a:cubicBezTo>
                    <a:cubicBezTo>
                      <a:pt x="94266" y="31336"/>
                      <a:pt x="92153" y="38477"/>
                      <a:pt x="87635" y="44525"/>
                    </a:cubicBezTo>
                    <a:cubicBezTo>
                      <a:pt x="79473" y="55529"/>
                      <a:pt x="64535" y="59100"/>
                      <a:pt x="49304" y="47950"/>
                    </a:cubicBezTo>
                    <a:cubicBezTo>
                      <a:pt x="45442" y="45109"/>
                      <a:pt x="42454" y="41975"/>
                      <a:pt x="40341" y="38696"/>
                    </a:cubicBezTo>
                    <a:cubicBezTo>
                      <a:pt x="38446" y="38696"/>
                      <a:pt x="36697" y="39352"/>
                      <a:pt x="35386" y="41173"/>
                    </a:cubicBezTo>
                    <a:cubicBezTo>
                      <a:pt x="31815" y="45983"/>
                      <a:pt x="36697" y="50720"/>
                      <a:pt x="46754" y="59100"/>
                    </a:cubicBezTo>
                    <a:cubicBezTo>
                      <a:pt x="59288" y="69375"/>
                      <a:pt x="71020" y="79868"/>
                      <a:pt x="60818" y="93641"/>
                    </a:cubicBezTo>
                    <a:cubicBezTo>
                      <a:pt x="51199" y="106685"/>
                      <a:pt x="36916" y="104936"/>
                      <a:pt x="18261" y="91091"/>
                    </a:cubicBezTo>
                    <a:cubicBezTo>
                      <a:pt x="-1123" y="76808"/>
                      <a:pt x="-3018" y="65440"/>
                      <a:pt x="3104" y="57059"/>
                    </a:cubicBezTo>
                    <a:close/>
                    <a:moveTo>
                      <a:pt x="24601" y="83731"/>
                    </a:moveTo>
                    <a:cubicBezTo>
                      <a:pt x="35969" y="92111"/>
                      <a:pt x="44276" y="94807"/>
                      <a:pt x="49887" y="87301"/>
                    </a:cubicBezTo>
                    <a:cubicBezTo>
                      <a:pt x="54405" y="81180"/>
                      <a:pt x="49523" y="76225"/>
                      <a:pt x="37426" y="66387"/>
                    </a:cubicBezTo>
                    <a:cubicBezTo>
                      <a:pt x="33200" y="62962"/>
                      <a:pt x="29264" y="59464"/>
                      <a:pt x="26204" y="56112"/>
                    </a:cubicBezTo>
                    <a:cubicBezTo>
                      <a:pt x="21977" y="56039"/>
                      <a:pt x="17896" y="57424"/>
                      <a:pt x="14909" y="61505"/>
                    </a:cubicBezTo>
                    <a:cubicBezTo>
                      <a:pt x="9735" y="68500"/>
                      <a:pt x="12358" y="74767"/>
                      <a:pt x="24601" y="83804"/>
                    </a:cubicBezTo>
                    <a:close/>
                    <a:moveTo>
                      <a:pt x="54988" y="40299"/>
                    </a:moveTo>
                    <a:cubicBezTo>
                      <a:pt x="63150" y="46347"/>
                      <a:pt x="72186" y="44817"/>
                      <a:pt x="77724" y="37238"/>
                    </a:cubicBezTo>
                    <a:cubicBezTo>
                      <a:pt x="83700" y="29150"/>
                      <a:pt x="82753" y="20405"/>
                      <a:pt x="74809" y="14575"/>
                    </a:cubicBezTo>
                    <a:cubicBezTo>
                      <a:pt x="66721" y="8600"/>
                      <a:pt x="57903" y="10057"/>
                      <a:pt x="51928" y="18146"/>
                    </a:cubicBezTo>
                    <a:cubicBezTo>
                      <a:pt x="45515" y="26818"/>
                      <a:pt x="47774" y="34907"/>
                      <a:pt x="54988" y="40226"/>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75" name="Freeform 228">
                <a:extLst>
                  <a:ext uri="{FF2B5EF4-FFF2-40B4-BE49-F238E27FC236}">
                    <a16:creationId xmlns:a16="http://schemas.microsoft.com/office/drawing/2014/main" id="{D866AC61-9838-C2C0-7FE0-052ED0BEB933}"/>
                  </a:ext>
                </a:extLst>
              </p:cNvPr>
              <p:cNvSpPr/>
              <p:nvPr/>
            </p:nvSpPr>
            <p:spPr>
              <a:xfrm>
                <a:off x="8046656" y="2656423"/>
                <a:ext cx="73307" cy="77390"/>
              </a:xfrm>
              <a:custGeom>
                <a:avLst/>
                <a:gdLst>
                  <a:gd name="connsiteX0" fmla="*/ 9582 w 73307"/>
                  <a:gd name="connsiteY0" fmla="*/ 16163 h 77390"/>
                  <a:gd name="connsiteX1" fmla="*/ 60810 w 73307"/>
                  <a:gd name="connsiteY1" fmla="*/ 7929 h 77390"/>
                  <a:gd name="connsiteX2" fmla="*/ 64308 w 73307"/>
                  <a:gd name="connsiteY2" fmla="*/ 55295 h 77390"/>
                  <a:gd name="connsiteX3" fmla="*/ 60665 w 73307"/>
                  <a:gd name="connsiteY3" fmla="*/ 59668 h 77390"/>
                  <a:gd name="connsiteX4" fmla="*/ 17816 w 73307"/>
                  <a:gd name="connsiteY4" fmla="*/ 26365 h 77390"/>
                  <a:gd name="connsiteX5" fmla="*/ 21678 w 73307"/>
                  <a:gd name="connsiteY5" fmla="*/ 60469 h 77390"/>
                  <a:gd name="connsiteX6" fmla="*/ 43103 w 73307"/>
                  <a:gd name="connsiteY6" fmla="*/ 66080 h 77390"/>
                  <a:gd name="connsiteX7" fmla="*/ 44487 w 73307"/>
                  <a:gd name="connsiteY7" fmla="*/ 76720 h 77390"/>
                  <a:gd name="connsiteX8" fmla="*/ 15338 w 73307"/>
                  <a:gd name="connsiteY8" fmla="*/ 68631 h 77390"/>
                  <a:gd name="connsiteX9" fmla="*/ 9582 w 73307"/>
                  <a:gd name="connsiteY9" fmla="*/ 16090 h 77390"/>
                  <a:gd name="connsiteX10" fmla="*/ 56803 w 73307"/>
                  <a:gd name="connsiteY10" fmla="*/ 44875 h 77390"/>
                  <a:gd name="connsiteX11" fmla="*/ 53960 w 73307"/>
                  <a:gd name="connsiteY11" fmla="*/ 15872 h 77390"/>
                  <a:gd name="connsiteX12" fmla="*/ 23791 w 73307"/>
                  <a:gd name="connsiteY12" fmla="*/ 19224 h 77390"/>
                  <a:gd name="connsiteX13" fmla="*/ 56803 w 73307"/>
                  <a:gd name="connsiteY13" fmla="*/ 44875 h 7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307" h="77390">
                    <a:moveTo>
                      <a:pt x="9582" y="16163"/>
                    </a:moveTo>
                    <a:cubicBezTo>
                      <a:pt x="25249" y="-3950"/>
                      <a:pt x="45945" y="-3585"/>
                      <a:pt x="60810" y="7929"/>
                    </a:cubicBezTo>
                    <a:cubicBezTo>
                      <a:pt x="79466" y="22430"/>
                      <a:pt x="74292" y="42470"/>
                      <a:pt x="64308" y="55295"/>
                    </a:cubicBezTo>
                    <a:cubicBezTo>
                      <a:pt x="63069" y="56826"/>
                      <a:pt x="61831" y="58356"/>
                      <a:pt x="60665" y="59668"/>
                    </a:cubicBezTo>
                    <a:lnTo>
                      <a:pt x="17816" y="26365"/>
                    </a:lnTo>
                    <a:cubicBezTo>
                      <a:pt x="8780" y="39409"/>
                      <a:pt x="9800" y="51214"/>
                      <a:pt x="21678" y="60469"/>
                    </a:cubicBezTo>
                    <a:cubicBezTo>
                      <a:pt x="28747" y="65935"/>
                      <a:pt x="35087" y="67684"/>
                      <a:pt x="43103" y="66080"/>
                    </a:cubicBezTo>
                    <a:lnTo>
                      <a:pt x="44487" y="76720"/>
                    </a:lnTo>
                    <a:cubicBezTo>
                      <a:pt x="33921" y="78687"/>
                      <a:pt x="25395" y="76428"/>
                      <a:pt x="15338" y="68631"/>
                    </a:cubicBezTo>
                    <a:cubicBezTo>
                      <a:pt x="-2078" y="55077"/>
                      <a:pt x="-5576" y="35620"/>
                      <a:pt x="9582" y="16090"/>
                    </a:cubicBezTo>
                    <a:close/>
                    <a:moveTo>
                      <a:pt x="56803" y="44875"/>
                    </a:moveTo>
                    <a:cubicBezTo>
                      <a:pt x="64600" y="32778"/>
                      <a:pt x="62924" y="22794"/>
                      <a:pt x="53960" y="15872"/>
                    </a:cubicBezTo>
                    <a:cubicBezTo>
                      <a:pt x="45070" y="8949"/>
                      <a:pt x="34067" y="9240"/>
                      <a:pt x="23791" y="19224"/>
                    </a:cubicBezTo>
                    <a:lnTo>
                      <a:pt x="56803" y="4487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76" name="Freeform 229">
                <a:extLst>
                  <a:ext uri="{FF2B5EF4-FFF2-40B4-BE49-F238E27FC236}">
                    <a16:creationId xmlns:a16="http://schemas.microsoft.com/office/drawing/2014/main" id="{099842D4-8F6B-A5E2-A528-5DA7944311CD}"/>
                  </a:ext>
                </a:extLst>
              </p:cNvPr>
              <p:cNvSpPr/>
              <p:nvPr/>
            </p:nvSpPr>
            <p:spPr>
              <a:xfrm>
                <a:off x="8099815" y="2696342"/>
                <a:ext cx="83602" cy="93640"/>
              </a:xfrm>
              <a:custGeom>
                <a:avLst/>
                <a:gdLst>
                  <a:gd name="connsiteX0" fmla="*/ 46201 w 83602"/>
                  <a:gd name="connsiteY0" fmla="*/ 73 h 93640"/>
                  <a:gd name="connsiteX1" fmla="*/ 55237 w 83602"/>
                  <a:gd name="connsiteY1" fmla="*/ 7433 h 93640"/>
                  <a:gd name="connsiteX2" fmla="*/ 45618 w 83602"/>
                  <a:gd name="connsiteY2" fmla="*/ 19238 h 93640"/>
                  <a:gd name="connsiteX3" fmla="*/ 45836 w 83602"/>
                  <a:gd name="connsiteY3" fmla="*/ 19384 h 93640"/>
                  <a:gd name="connsiteX4" fmla="*/ 74767 w 83602"/>
                  <a:gd name="connsiteY4" fmla="*/ 21497 h 93640"/>
                  <a:gd name="connsiteX5" fmla="*/ 76151 w 83602"/>
                  <a:gd name="connsiteY5" fmla="*/ 55893 h 93640"/>
                  <a:gd name="connsiteX6" fmla="*/ 45253 w 83602"/>
                  <a:gd name="connsiteY6" fmla="*/ 93640 h 93640"/>
                  <a:gd name="connsiteX7" fmla="*/ 35780 w 83602"/>
                  <a:gd name="connsiteY7" fmla="*/ 85916 h 93640"/>
                  <a:gd name="connsiteX8" fmla="*/ 65147 w 83602"/>
                  <a:gd name="connsiteY8" fmla="*/ 49990 h 93640"/>
                  <a:gd name="connsiteX9" fmla="*/ 64418 w 83602"/>
                  <a:gd name="connsiteY9" fmla="*/ 27035 h 93640"/>
                  <a:gd name="connsiteX10" fmla="*/ 36217 w 83602"/>
                  <a:gd name="connsiteY10" fmla="*/ 31481 h 93640"/>
                  <a:gd name="connsiteX11" fmla="*/ 9400 w 83602"/>
                  <a:gd name="connsiteY11" fmla="*/ 64346 h 93640"/>
                  <a:gd name="connsiteX12" fmla="*/ 0 w 83602"/>
                  <a:gd name="connsiteY12" fmla="*/ 56621 h 93640"/>
                  <a:gd name="connsiteX13" fmla="*/ 46273 w 83602"/>
                  <a:gd name="connsiteY13" fmla="*/ 0 h 9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602" h="93640">
                    <a:moveTo>
                      <a:pt x="46201" y="73"/>
                    </a:moveTo>
                    <a:lnTo>
                      <a:pt x="55237" y="7433"/>
                    </a:lnTo>
                    <a:lnTo>
                      <a:pt x="45618" y="19238"/>
                    </a:lnTo>
                    <a:lnTo>
                      <a:pt x="45836" y="19384"/>
                    </a:lnTo>
                    <a:cubicBezTo>
                      <a:pt x="52905" y="15303"/>
                      <a:pt x="63399" y="12242"/>
                      <a:pt x="74767" y="21497"/>
                    </a:cubicBezTo>
                    <a:cubicBezTo>
                      <a:pt x="86790" y="31335"/>
                      <a:pt x="85843" y="44014"/>
                      <a:pt x="76151" y="55893"/>
                    </a:cubicBezTo>
                    <a:lnTo>
                      <a:pt x="45253" y="93640"/>
                    </a:lnTo>
                    <a:lnTo>
                      <a:pt x="35780" y="85916"/>
                    </a:lnTo>
                    <a:lnTo>
                      <a:pt x="65147" y="49990"/>
                    </a:lnTo>
                    <a:cubicBezTo>
                      <a:pt x="71925" y="41755"/>
                      <a:pt x="73090" y="34177"/>
                      <a:pt x="64418" y="27035"/>
                    </a:cubicBezTo>
                    <a:cubicBezTo>
                      <a:pt x="55528" y="19748"/>
                      <a:pt x="44889" y="20914"/>
                      <a:pt x="36217" y="31481"/>
                    </a:cubicBezTo>
                    <a:lnTo>
                      <a:pt x="9400" y="64346"/>
                    </a:lnTo>
                    <a:lnTo>
                      <a:pt x="0" y="56621"/>
                    </a:lnTo>
                    <a:lnTo>
                      <a:pt x="46273"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77" name="Freeform 230">
                <a:extLst>
                  <a:ext uri="{FF2B5EF4-FFF2-40B4-BE49-F238E27FC236}">
                    <a16:creationId xmlns:a16="http://schemas.microsoft.com/office/drawing/2014/main" id="{9F9F5A48-A614-9FAB-ADC6-B0EDA35792B4}"/>
                  </a:ext>
                </a:extLst>
              </p:cNvPr>
              <p:cNvSpPr/>
              <p:nvPr/>
            </p:nvSpPr>
            <p:spPr>
              <a:xfrm>
                <a:off x="8166968" y="2742179"/>
                <a:ext cx="64016" cy="80669"/>
              </a:xfrm>
              <a:custGeom>
                <a:avLst/>
                <a:gdLst>
                  <a:gd name="connsiteX0" fmla="*/ 5136 w 64016"/>
                  <a:gd name="connsiteY0" fmla="*/ 50136 h 80669"/>
                  <a:gd name="connsiteX1" fmla="*/ 35670 w 64016"/>
                  <a:gd name="connsiteY1" fmla="*/ 14283 h 80669"/>
                  <a:gd name="connsiteX2" fmla="*/ 27435 w 64016"/>
                  <a:gd name="connsiteY2" fmla="*/ 7287 h 80669"/>
                  <a:gd name="connsiteX3" fmla="*/ 31589 w 64016"/>
                  <a:gd name="connsiteY3" fmla="*/ 2478 h 80669"/>
                  <a:gd name="connsiteX4" fmla="*/ 61976 w 64016"/>
                  <a:gd name="connsiteY4" fmla="*/ 0 h 80669"/>
                  <a:gd name="connsiteX5" fmla="*/ 63070 w 64016"/>
                  <a:gd name="connsiteY5" fmla="*/ 947 h 80669"/>
                  <a:gd name="connsiteX6" fmla="*/ 51556 w 64016"/>
                  <a:gd name="connsiteY6" fmla="*/ 14429 h 80669"/>
                  <a:gd name="connsiteX7" fmla="*/ 64017 w 64016"/>
                  <a:gd name="connsiteY7" fmla="*/ 25068 h 80669"/>
                  <a:gd name="connsiteX8" fmla="*/ 57385 w 64016"/>
                  <a:gd name="connsiteY8" fmla="*/ 32865 h 80669"/>
                  <a:gd name="connsiteX9" fmla="*/ 44925 w 64016"/>
                  <a:gd name="connsiteY9" fmla="*/ 22226 h 80669"/>
                  <a:gd name="connsiteX10" fmla="*/ 15994 w 64016"/>
                  <a:gd name="connsiteY10" fmla="*/ 56184 h 80669"/>
                  <a:gd name="connsiteX11" fmla="*/ 16723 w 64016"/>
                  <a:gd name="connsiteY11" fmla="*/ 67698 h 80669"/>
                  <a:gd name="connsiteX12" fmla="*/ 23792 w 64016"/>
                  <a:gd name="connsiteY12" fmla="*/ 72216 h 80669"/>
                  <a:gd name="connsiteX13" fmla="*/ 16577 w 64016"/>
                  <a:gd name="connsiteY13" fmla="*/ 80669 h 80669"/>
                  <a:gd name="connsiteX14" fmla="*/ 8124 w 64016"/>
                  <a:gd name="connsiteY14" fmla="*/ 74912 h 80669"/>
                  <a:gd name="connsiteX15" fmla="*/ 5063 w 64016"/>
                  <a:gd name="connsiteY15" fmla="*/ 50209 h 80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016" h="80669">
                    <a:moveTo>
                      <a:pt x="5136" y="50136"/>
                    </a:moveTo>
                    <a:lnTo>
                      <a:pt x="35670" y="14283"/>
                    </a:lnTo>
                    <a:lnTo>
                      <a:pt x="27435" y="7287"/>
                    </a:lnTo>
                    <a:lnTo>
                      <a:pt x="31589" y="2478"/>
                    </a:lnTo>
                    <a:lnTo>
                      <a:pt x="61976" y="0"/>
                    </a:lnTo>
                    <a:lnTo>
                      <a:pt x="63070" y="947"/>
                    </a:lnTo>
                    <a:lnTo>
                      <a:pt x="51556" y="14429"/>
                    </a:lnTo>
                    <a:lnTo>
                      <a:pt x="64017" y="25068"/>
                    </a:lnTo>
                    <a:lnTo>
                      <a:pt x="57385" y="32865"/>
                    </a:lnTo>
                    <a:lnTo>
                      <a:pt x="44925" y="22226"/>
                    </a:lnTo>
                    <a:lnTo>
                      <a:pt x="15994" y="56184"/>
                    </a:lnTo>
                    <a:cubicBezTo>
                      <a:pt x="11768" y="61140"/>
                      <a:pt x="12205" y="63909"/>
                      <a:pt x="16723" y="67698"/>
                    </a:cubicBezTo>
                    <a:cubicBezTo>
                      <a:pt x="18909" y="69593"/>
                      <a:pt x="21460" y="71123"/>
                      <a:pt x="23792" y="72216"/>
                    </a:cubicBezTo>
                    <a:lnTo>
                      <a:pt x="16577" y="80669"/>
                    </a:lnTo>
                    <a:cubicBezTo>
                      <a:pt x="14172" y="79503"/>
                      <a:pt x="10893" y="77244"/>
                      <a:pt x="8124" y="74912"/>
                    </a:cubicBezTo>
                    <a:cubicBezTo>
                      <a:pt x="-1568" y="66678"/>
                      <a:pt x="-2588" y="59099"/>
                      <a:pt x="5063" y="5020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78" name="Freeform 231">
                <a:extLst>
                  <a:ext uri="{FF2B5EF4-FFF2-40B4-BE49-F238E27FC236}">
                    <a16:creationId xmlns:a16="http://schemas.microsoft.com/office/drawing/2014/main" id="{218F89E7-E768-FD2B-67EF-C74A5F7FD0DB}"/>
                  </a:ext>
                </a:extLst>
              </p:cNvPr>
              <p:cNvSpPr/>
              <p:nvPr/>
            </p:nvSpPr>
            <p:spPr>
              <a:xfrm>
                <a:off x="8196954" y="2783365"/>
                <a:ext cx="77316" cy="74447"/>
              </a:xfrm>
              <a:custGeom>
                <a:avLst/>
                <a:gdLst>
                  <a:gd name="connsiteX0" fmla="*/ 72 w 77316"/>
                  <a:gd name="connsiteY0" fmla="*/ 37515 h 74447"/>
                  <a:gd name="connsiteX1" fmla="*/ 11076 w 77316"/>
                  <a:gd name="connsiteY1" fmla="*/ 36860 h 74447"/>
                  <a:gd name="connsiteX2" fmla="*/ 20987 w 77316"/>
                  <a:gd name="connsiteY2" fmla="*/ 57847 h 74447"/>
                  <a:gd name="connsiteX3" fmla="*/ 39715 w 77316"/>
                  <a:gd name="connsiteY3" fmla="*/ 60324 h 74447"/>
                  <a:gd name="connsiteX4" fmla="*/ 34905 w 77316"/>
                  <a:gd name="connsiteY4" fmla="*/ 37880 h 74447"/>
                  <a:gd name="connsiteX5" fmla="*/ 31626 w 77316"/>
                  <a:gd name="connsiteY5" fmla="*/ 6690 h 74447"/>
                  <a:gd name="connsiteX6" fmla="*/ 64418 w 77316"/>
                  <a:gd name="connsiteY6" fmla="*/ 8440 h 74447"/>
                  <a:gd name="connsiteX7" fmla="*/ 77317 w 77316"/>
                  <a:gd name="connsiteY7" fmla="*/ 32706 h 74447"/>
                  <a:gd name="connsiteX8" fmla="*/ 66313 w 77316"/>
                  <a:gd name="connsiteY8" fmla="*/ 33362 h 74447"/>
                  <a:gd name="connsiteX9" fmla="*/ 57641 w 77316"/>
                  <a:gd name="connsiteY9" fmla="*/ 16164 h 74447"/>
                  <a:gd name="connsiteX10" fmla="*/ 40808 w 77316"/>
                  <a:gd name="connsiteY10" fmla="*/ 14051 h 74447"/>
                  <a:gd name="connsiteX11" fmla="*/ 46784 w 77316"/>
                  <a:gd name="connsiteY11" fmla="*/ 35402 h 74447"/>
                  <a:gd name="connsiteX12" fmla="*/ 49261 w 77316"/>
                  <a:gd name="connsiteY12" fmla="*/ 67539 h 74447"/>
                  <a:gd name="connsiteX13" fmla="*/ 14283 w 77316"/>
                  <a:gd name="connsiteY13" fmla="*/ 65498 h 74447"/>
                  <a:gd name="connsiteX14" fmla="*/ 0 w 77316"/>
                  <a:gd name="connsiteY14" fmla="*/ 37588 h 74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316" h="74447">
                    <a:moveTo>
                      <a:pt x="72" y="37515"/>
                    </a:moveTo>
                    <a:lnTo>
                      <a:pt x="11076" y="36860"/>
                    </a:lnTo>
                    <a:cubicBezTo>
                      <a:pt x="11295" y="46551"/>
                      <a:pt x="14866" y="52454"/>
                      <a:pt x="20987" y="57847"/>
                    </a:cubicBezTo>
                    <a:cubicBezTo>
                      <a:pt x="26890" y="63093"/>
                      <a:pt x="34395" y="66373"/>
                      <a:pt x="39715" y="60324"/>
                    </a:cubicBezTo>
                    <a:cubicBezTo>
                      <a:pt x="45326" y="53984"/>
                      <a:pt x="41099" y="47426"/>
                      <a:pt x="34905" y="37880"/>
                    </a:cubicBezTo>
                    <a:cubicBezTo>
                      <a:pt x="28712" y="28333"/>
                      <a:pt x="22371" y="17184"/>
                      <a:pt x="31626" y="6690"/>
                    </a:cubicBezTo>
                    <a:cubicBezTo>
                      <a:pt x="40371" y="-3220"/>
                      <a:pt x="52905" y="-1690"/>
                      <a:pt x="64418" y="8440"/>
                    </a:cubicBezTo>
                    <a:cubicBezTo>
                      <a:pt x="71779" y="14925"/>
                      <a:pt x="76807" y="23670"/>
                      <a:pt x="77317" y="32706"/>
                    </a:cubicBezTo>
                    <a:lnTo>
                      <a:pt x="66313" y="33362"/>
                    </a:lnTo>
                    <a:cubicBezTo>
                      <a:pt x="65803" y="25710"/>
                      <a:pt x="62232" y="20172"/>
                      <a:pt x="57641" y="16164"/>
                    </a:cubicBezTo>
                    <a:cubicBezTo>
                      <a:pt x="51375" y="10699"/>
                      <a:pt x="45253" y="9095"/>
                      <a:pt x="40808" y="14051"/>
                    </a:cubicBezTo>
                    <a:cubicBezTo>
                      <a:pt x="36363" y="19152"/>
                      <a:pt x="40589" y="25856"/>
                      <a:pt x="46784" y="35402"/>
                    </a:cubicBezTo>
                    <a:cubicBezTo>
                      <a:pt x="52613" y="44438"/>
                      <a:pt x="59682" y="55733"/>
                      <a:pt x="49261" y="67539"/>
                    </a:cubicBezTo>
                    <a:cubicBezTo>
                      <a:pt x="40152" y="77814"/>
                      <a:pt x="26452" y="76210"/>
                      <a:pt x="14283" y="65498"/>
                    </a:cubicBezTo>
                    <a:cubicBezTo>
                      <a:pt x="6048" y="58211"/>
                      <a:pt x="145" y="49102"/>
                      <a:pt x="0" y="37588"/>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grpSp>
          <p:nvGrpSpPr>
            <p:cNvPr id="1579" name="Graphic 2">
              <a:extLst>
                <a:ext uri="{FF2B5EF4-FFF2-40B4-BE49-F238E27FC236}">
                  <a16:creationId xmlns:a16="http://schemas.microsoft.com/office/drawing/2014/main" id="{C3315175-5CDC-62E5-8A40-3A3F1F69C1C5}"/>
                </a:ext>
              </a:extLst>
            </p:cNvPr>
            <p:cNvGrpSpPr/>
            <p:nvPr/>
          </p:nvGrpSpPr>
          <p:grpSpPr>
            <a:xfrm>
              <a:off x="2936142" y="3727376"/>
              <a:ext cx="389105" cy="900310"/>
              <a:chOff x="2936916" y="3727479"/>
              <a:chExt cx="389208" cy="900550"/>
            </a:xfrm>
            <a:solidFill>
              <a:srgbClr val="00144A"/>
            </a:solidFill>
          </p:grpSpPr>
          <p:sp>
            <p:nvSpPr>
              <p:cNvPr id="1580" name="Freeform 233">
                <a:extLst>
                  <a:ext uri="{FF2B5EF4-FFF2-40B4-BE49-F238E27FC236}">
                    <a16:creationId xmlns:a16="http://schemas.microsoft.com/office/drawing/2014/main" id="{63A67F3A-045C-D711-367E-3441AA590B6B}"/>
                  </a:ext>
                </a:extLst>
              </p:cNvPr>
              <p:cNvSpPr/>
              <p:nvPr/>
            </p:nvSpPr>
            <p:spPr>
              <a:xfrm>
                <a:off x="2936916" y="4552753"/>
                <a:ext cx="95972" cy="75276"/>
              </a:xfrm>
              <a:custGeom>
                <a:avLst/>
                <a:gdLst>
                  <a:gd name="connsiteX0" fmla="*/ 0 w 95972"/>
                  <a:gd name="connsiteY0" fmla="*/ 56986 h 75276"/>
                  <a:gd name="connsiteX1" fmla="*/ 11149 w 95972"/>
                  <a:gd name="connsiteY1" fmla="*/ 0 h 75276"/>
                  <a:gd name="connsiteX2" fmla="*/ 22809 w 95972"/>
                  <a:gd name="connsiteY2" fmla="*/ 2259 h 75276"/>
                  <a:gd name="connsiteX3" fmla="*/ 14137 w 95972"/>
                  <a:gd name="connsiteY3" fmla="*/ 46565 h 75276"/>
                  <a:gd name="connsiteX4" fmla="*/ 44452 w 95972"/>
                  <a:gd name="connsiteY4" fmla="*/ 52541 h 75276"/>
                  <a:gd name="connsiteX5" fmla="*/ 52832 w 95972"/>
                  <a:gd name="connsiteY5" fmla="*/ 9838 h 75276"/>
                  <a:gd name="connsiteX6" fmla="*/ 64273 w 95972"/>
                  <a:gd name="connsiteY6" fmla="*/ 12097 h 75276"/>
                  <a:gd name="connsiteX7" fmla="*/ 55893 w 95972"/>
                  <a:gd name="connsiteY7" fmla="*/ 54800 h 75276"/>
                  <a:gd name="connsiteX8" fmla="*/ 95972 w 95972"/>
                  <a:gd name="connsiteY8" fmla="*/ 62670 h 75276"/>
                  <a:gd name="connsiteX9" fmla="*/ 93495 w 95972"/>
                  <a:gd name="connsiteY9" fmla="*/ 75277 h 75276"/>
                  <a:gd name="connsiteX10" fmla="*/ 0 w 95972"/>
                  <a:gd name="connsiteY10" fmla="*/ 56913 h 7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972" h="75276">
                    <a:moveTo>
                      <a:pt x="0" y="56986"/>
                    </a:moveTo>
                    <a:lnTo>
                      <a:pt x="11149" y="0"/>
                    </a:lnTo>
                    <a:lnTo>
                      <a:pt x="22809" y="2259"/>
                    </a:lnTo>
                    <a:lnTo>
                      <a:pt x="14137" y="46565"/>
                    </a:lnTo>
                    <a:lnTo>
                      <a:pt x="44452" y="52541"/>
                    </a:lnTo>
                    <a:lnTo>
                      <a:pt x="52832" y="9838"/>
                    </a:lnTo>
                    <a:lnTo>
                      <a:pt x="64273" y="12097"/>
                    </a:lnTo>
                    <a:lnTo>
                      <a:pt x="55893" y="54800"/>
                    </a:lnTo>
                    <a:lnTo>
                      <a:pt x="95972" y="62670"/>
                    </a:lnTo>
                    <a:lnTo>
                      <a:pt x="93495" y="75277"/>
                    </a:lnTo>
                    <a:lnTo>
                      <a:pt x="0" y="56913"/>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81" name="Freeform 234">
                <a:extLst>
                  <a:ext uri="{FF2B5EF4-FFF2-40B4-BE49-F238E27FC236}">
                    <a16:creationId xmlns:a16="http://schemas.microsoft.com/office/drawing/2014/main" id="{2A6341B7-DED2-34A7-3513-CE0938CBA4D6}"/>
                  </a:ext>
                </a:extLst>
              </p:cNvPr>
              <p:cNvSpPr/>
              <p:nvPr/>
            </p:nvSpPr>
            <p:spPr>
              <a:xfrm>
                <a:off x="2945591" y="4520693"/>
                <a:ext cx="102162" cy="34100"/>
              </a:xfrm>
              <a:custGeom>
                <a:avLst/>
                <a:gdLst>
                  <a:gd name="connsiteX0" fmla="*/ 215 w 102162"/>
                  <a:gd name="connsiteY0" fmla="*/ 6482 h 34100"/>
                  <a:gd name="connsiteX1" fmla="*/ 9907 w 102162"/>
                  <a:gd name="connsiteY1" fmla="*/ 215 h 34100"/>
                  <a:gd name="connsiteX2" fmla="*/ 16174 w 102162"/>
                  <a:gd name="connsiteY2" fmla="*/ 9907 h 34100"/>
                  <a:gd name="connsiteX3" fmla="*/ 6482 w 102162"/>
                  <a:gd name="connsiteY3" fmla="*/ 16101 h 34100"/>
                  <a:gd name="connsiteX4" fmla="*/ 215 w 102162"/>
                  <a:gd name="connsiteY4" fmla="*/ 6482 h 34100"/>
                  <a:gd name="connsiteX5" fmla="*/ 28198 w 102162"/>
                  <a:gd name="connsiteY5" fmla="*/ 18724 h 34100"/>
                  <a:gd name="connsiteX6" fmla="*/ 30748 w 102162"/>
                  <a:gd name="connsiteY6" fmla="*/ 6846 h 34100"/>
                  <a:gd name="connsiteX7" fmla="*/ 102163 w 102162"/>
                  <a:gd name="connsiteY7" fmla="*/ 22222 h 34100"/>
                  <a:gd name="connsiteX8" fmla="*/ 99612 w 102162"/>
                  <a:gd name="connsiteY8" fmla="*/ 34100 h 34100"/>
                  <a:gd name="connsiteX9" fmla="*/ 28198 w 102162"/>
                  <a:gd name="connsiteY9" fmla="*/ 18724 h 3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162" h="34100">
                    <a:moveTo>
                      <a:pt x="215" y="6482"/>
                    </a:moveTo>
                    <a:cubicBezTo>
                      <a:pt x="1235" y="1891"/>
                      <a:pt x="5316" y="-805"/>
                      <a:pt x="9907" y="215"/>
                    </a:cubicBezTo>
                    <a:cubicBezTo>
                      <a:pt x="14498" y="1235"/>
                      <a:pt x="17194" y="5316"/>
                      <a:pt x="16174" y="9907"/>
                    </a:cubicBezTo>
                    <a:cubicBezTo>
                      <a:pt x="15227" y="14425"/>
                      <a:pt x="11073" y="17121"/>
                      <a:pt x="6482" y="16101"/>
                    </a:cubicBezTo>
                    <a:cubicBezTo>
                      <a:pt x="1891" y="15081"/>
                      <a:pt x="-805" y="11000"/>
                      <a:pt x="215" y="6482"/>
                    </a:cubicBezTo>
                    <a:close/>
                    <a:moveTo>
                      <a:pt x="28198" y="18724"/>
                    </a:moveTo>
                    <a:lnTo>
                      <a:pt x="30748" y="6846"/>
                    </a:lnTo>
                    <a:lnTo>
                      <a:pt x="102163" y="22222"/>
                    </a:lnTo>
                    <a:lnTo>
                      <a:pt x="99612" y="34100"/>
                    </a:lnTo>
                    <a:lnTo>
                      <a:pt x="28198" y="18724"/>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82" name="Freeform 235">
                <a:extLst>
                  <a:ext uri="{FF2B5EF4-FFF2-40B4-BE49-F238E27FC236}">
                    <a16:creationId xmlns:a16="http://schemas.microsoft.com/office/drawing/2014/main" id="{ED99ED42-44A1-5F65-F4AF-5CE9BE29D64C}"/>
                  </a:ext>
                </a:extLst>
              </p:cNvPr>
              <p:cNvSpPr/>
              <p:nvPr/>
            </p:nvSpPr>
            <p:spPr>
              <a:xfrm>
                <a:off x="2980857" y="4453071"/>
                <a:ext cx="84531" cy="69149"/>
              </a:xfrm>
              <a:custGeom>
                <a:avLst/>
                <a:gdLst>
                  <a:gd name="connsiteX0" fmla="*/ 146 w 84531"/>
                  <a:gd name="connsiteY0" fmla="*/ 52534 h 69149"/>
                  <a:gd name="connsiteX1" fmla="*/ 2769 w 84531"/>
                  <a:gd name="connsiteY1" fmla="*/ 41239 h 69149"/>
                  <a:gd name="connsiteX2" fmla="*/ 17562 w 84531"/>
                  <a:gd name="connsiteY2" fmla="*/ 44665 h 69149"/>
                  <a:gd name="connsiteX3" fmla="*/ 17562 w 84531"/>
                  <a:gd name="connsiteY3" fmla="*/ 44373 h 69149"/>
                  <a:gd name="connsiteX4" fmla="*/ 6850 w 84531"/>
                  <a:gd name="connsiteY4" fmla="*/ 17483 h 69149"/>
                  <a:gd name="connsiteX5" fmla="*/ 37092 w 84531"/>
                  <a:gd name="connsiteY5" fmla="*/ 1087 h 69149"/>
                  <a:gd name="connsiteX6" fmla="*/ 84531 w 84531"/>
                  <a:gd name="connsiteY6" fmla="*/ 12163 h 69149"/>
                  <a:gd name="connsiteX7" fmla="*/ 81762 w 84531"/>
                  <a:gd name="connsiteY7" fmla="*/ 24042 h 69149"/>
                  <a:gd name="connsiteX8" fmla="*/ 36582 w 84531"/>
                  <a:gd name="connsiteY8" fmla="*/ 13548 h 69149"/>
                  <a:gd name="connsiteX9" fmla="*/ 16323 w 84531"/>
                  <a:gd name="connsiteY9" fmla="*/ 24333 h 69149"/>
                  <a:gd name="connsiteX10" fmla="*/ 32719 w 84531"/>
                  <a:gd name="connsiteY10" fmla="*/ 47652 h 69149"/>
                  <a:gd name="connsiteX11" fmla="*/ 73965 w 84531"/>
                  <a:gd name="connsiteY11" fmla="*/ 57271 h 69149"/>
                  <a:gd name="connsiteX12" fmla="*/ 71196 w 84531"/>
                  <a:gd name="connsiteY12" fmla="*/ 69149 h 69149"/>
                  <a:gd name="connsiteX13" fmla="*/ 0 w 84531"/>
                  <a:gd name="connsiteY13" fmla="*/ 52534 h 69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531" h="69149">
                    <a:moveTo>
                      <a:pt x="146" y="52534"/>
                    </a:moveTo>
                    <a:lnTo>
                      <a:pt x="2769" y="41239"/>
                    </a:lnTo>
                    <a:lnTo>
                      <a:pt x="17562" y="44665"/>
                    </a:lnTo>
                    <a:lnTo>
                      <a:pt x="17562" y="44373"/>
                    </a:lnTo>
                    <a:cubicBezTo>
                      <a:pt x="10858" y="39782"/>
                      <a:pt x="3498" y="31766"/>
                      <a:pt x="6850" y="17483"/>
                    </a:cubicBezTo>
                    <a:cubicBezTo>
                      <a:pt x="10348" y="2398"/>
                      <a:pt x="22153" y="-2411"/>
                      <a:pt x="37092" y="1087"/>
                    </a:cubicBezTo>
                    <a:lnTo>
                      <a:pt x="84531" y="12163"/>
                    </a:lnTo>
                    <a:lnTo>
                      <a:pt x="81762" y="24042"/>
                    </a:lnTo>
                    <a:lnTo>
                      <a:pt x="36582" y="13548"/>
                    </a:lnTo>
                    <a:cubicBezTo>
                      <a:pt x="26161" y="11143"/>
                      <a:pt x="18874" y="13402"/>
                      <a:pt x="16323" y="24333"/>
                    </a:cubicBezTo>
                    <a:cubicBezTo>
                      <a:pt x="13700" y="35556"/>
                      <a:pt x="19457" y="44592"/>
                      <a:pt x="32719" y="47652"/>
                    </a:cubicBezTo>
                    <a:lnTo>
                      <a:pt x="73965" y="57271"/>
                    </a:lnTo>
                    <a:lnTo>
                      <a:pt x="71196" y="69149"/>
                    </a:lnTo>
                    <a:lnTo>
                      <a:pt x="0" y="52534"/>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83" name="Freeform 236">
                <a:extLst>
                  <a:ext uri="{FF2B5EF4-FFF2-40B4-BE49-F238E27FC236}">
                    <a16:creationId xmlns:a16="http://schemas.microsoft.com/office/drawing/2014/main" id="{A25E5C89-AB1C-69E5-1A4C-77D142F2CE0C}"/>
                  </a:ext>
                </a:extLst>
              </p:cNvPr>
              <p:cNvSpPr/>
              <p:nvPr/>
            </p:nvSpPr>
            <p:spPr>
              <a:xfrm>
                <a:off x="3004176" y="4378947"/>
                <a:ext cx="80086" cy="65713"/>
              </a:xfrm>
              <a:custGeom>
                <a:avLst/>
                <a:gdLst>
                  <a:gd name="connsiteX0" fmla="*/ 46055 w 80086"/>
                  <a:gd name="connsiteY0" fmla="*/ 64862 h 65713"/>
                  <a:gd name="connsiteX1" fmla="*/ 31699 w 80086"/>
                  <a:gd name="connsiteY1" fmla="*/ 26751 h 65713"/>
                  <a:gd name="connsiteX2" fmla="*/ 34979 w 80086"/>
                  <a:gd name="connsiteY2" fmla="*/ 14216 h 65713"/>
                  <a:gd name="connsiteX3" fmla="*/ 30169 w 80086"/>
                  <a:gd name="connsiteY3" fmla="*/ 12978 h 65713"/>
                  <a:gd name="connsiteX4" fmla="*/ 11222 w 80086"/>
                  <a:gd name="connsiteY4" fmla="*/ 23325 h 65713"/>
                  <a:gd name="connsiteX5" fmla="*/ 16323 w 80086"/>
                  <a:gd name="connsiteY5" fmla="*/ 45989 h 65713"/>
                  <a:gd name="connsiteX6" fmla="*/ 6777 w 80086"/>
                  <a:gd name="connsiteY6" fmla="*/ 51600 h 65713"/>
                  <a:gd name="connsiteX7" fmla="*/ 1458 w 80086"/>
                  <a:gd name="connsiteY7" fmla="*/ 19901 h 65713"/>
                  <a:gd name="connsiteX8" fmla="*/ 33230 w 80086"/>
                  <a:gd name="connsiteY8" fmla="*/ 1172 h 65713"/>
                  <a:gd name="connsiteX9" fmla="*/ 80086 w 80086"/>
                  <a:gd name="connsiteY9" fmla="*/ 13342 h 65713"/>
                  <a:gd name="connsiteX10" fmla="*/ 77171 w 80086"/>
                  <a:gd name="connsiteY10" fmla="*/ 24564 h 65713"/>
                  <a:gd name="connsiteX11" fmla="*/ 64054 w 80086"/>
                  <a:gd name="connsiteY11" fmla="*/ 21139 h 65713"/>
                  <a:gd name="connsiteX12" fmla="*/ 64054 w 80086"/>
                  <a:gd name="connsiteY12" fmla="*/ 21431 h 65713"/>
                  <a:gd name="connsiteX13" fmla="*/ 72362 w 80086"/>
                  <a:gd name="connsiteY13" fmla="*/ 48612 h 65713"/>
                  <a:gd name="connsiteX14" fmla="*/ 46128 w 80086"/>
                  <a:gd name="connsiteY14" fmla="*/ 64862 h 65713"/>
                  <a:gd name="connsiteX15" fmla="*/ 63253 w 80086"/>
                  <a:gd name="connsiteY15" fmla="*/ 42855 h 65713"/>
                  <a:gd name="connsiteX16" fmla="*/ 50646 w 80086"/>
                  <a:gd name="connsiteY16" fmla="*/ 18297 h 65713"/>
                  <a:gd name="connsiteX17" fmla="*/ 43796 w 80086"/>
                  <a:gd name="connsiteY17" fmla="*/ 16475 h 65713"/>
                  <a:gd name="connsiteX18" fmla="*/ 40954 w 80086"/>
                  <a:gd name="connsiteY18" fmla="*/ 27479 h 65713"/>
                  <a:gd name="connsiteX19" fmla="*/ 48970 w 80086"/>
                  <a:gd name="connsiteY19" fmla="*/ 52620 h 65713"/>
                  <a:gd name="connsiteX20" fmla="*/ 63253 w 80086"/>
                  <a:gd name="connsiteY20" fmla="*/ 42855 h 65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0086" h="65713">
                    <a:moveTo>
                      <a:pt x="46055" y="64862"/>
                    </a:moveTo>
                    <a:cubicBezTo>
                      <a:pt x="29586" y="60563"/>
                      <a:pt x="26963" y="44896"/>
                      <a:pt x="31699" y="26751"/>
                    </a:cubicBezTo>
                    <a:lnTo>
                      <a:pt x="34979" y="14216"/>
                    </a:lnTo>
                    <a:lnTo>
                      <a:pt x="30169" y="12978"/>
                    </a:lnTo>
                    <a:cubicBezTo>
                      <a:pt x="20404" y="10427"/>
                      <a:pt x="13773" y="13561"/>
                      <a:pt x="11222" y="23325"/>
                    </a:cubicBezTo>
                    <a:cubicBezTo>
                      <a:pt x="8891" y="32434"/>
                      <a:pt x="11222" y="39649"/>
                      <a:pt x="16323" y="45989"/>
                    </a:cubicBezTo>
                    <a:lnTo>
                      <a:pt x="6777" y="51600"/>
                    </a:lnTo>
                    <a:cubicBezTo>
                      <a:pt x="1530" y="44312"/>
                      <a:pt x="-2186" y="34038"/>
                      <a:pt x="1458" y="19901"/>
                    </a:cubicBezTo>
                    <a:cubicBezTo>
                      <a:pt x="5830" y="3140"/>
                      <a:pt x="18218" y="-2763"/>
                      <a:pt x="33230" y="1172"/>
                    </a:cubicBezTo>
                    <a:lnTo>
                      <a:pt x="80086" y="13342"/>
                    </a:lnTo>
                    <a:lnTo>
                      <a:pt x="77171" y="24564"/>
                    </a:lnTo>
                    <a:lnTo>
                      <a:pt x="64054" y="21139"/>
                    </a:lnTo>
                    <a:lnTo>
                      <a:pt x="64054" y="21431"/>
                    </a:lnTo>
                    <a:cubicBezTo>
                      <a:pt x="72799" y="28791"/>
                      <a:pt x="75350" y="37098"/>
                      <a:pt x="72362" y="48612"/>
                    </a:cubicBezTo>
                    <a:cubicBezTo>
                      <a:pt x="69083" y="61073"/>
                      <a:pt x="59391" y="68288"/>
                      <a:pt x="46128" y="64862"/>
                    </a:cubicBezTo>
                    <a:close/>
                    <a:moveTo>
                      <a:pt x="63253" y="42855"/>
                    </a:moveTo>
                    <a:cubicBezTo>
                      <a:pt x="66605" y="29811"/>
                      <a:pt x="59464" y="20556"/>
                      <a:pt x="50646" y="18297"/>
                    </a:cubicBezTo>
                    <a:lnTo>
                      <a:pt x="43796" y="16475"/>
                    </a:lnTo>
                    <a:lnTo>
                      <a:pt x="40954" y="27479"/>
                    </a:lnTo>
                    <a:cubicBezTo>
                      <a:pt x="38039" y="38629"/>
                      <a:pt x="37748" y="49705"/>
                      <a:pt x="48970" y="52620"/>
                    </a:cubicBezTo>
                    <a:cubicBezTo>
                      <a:pt x="55674" y="54369"/>
                      <a:pt x="61212" y="50798"/>
                      <a:pt x="63253" y="4285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84" name="Freeform 237">
                <a:extLst>
                  <a:ext uri="{FF2B5EF4-FFF2-40B4-BE49-F238E27FC236}">
                    <a16:creationId xmlns:a16="http://schemas.microsoft.com/office/drawing/2014/main" id="{64054536-55BA-808B-800D-26B49E88AD7B}"/>
                  </a:ext>
                </a:extLst>
              </p:cNvPr>
              <p:cNvSpPr/>
              <p:nvPr/>
            </p:nvSpPr>
            <p:spPr>
              <a:xfrm>
                <a:off x="3019188" y="4301364"/>
                <a:ext cx="86426" cy="71249"/>
              </a:xfrm>
              <a:custGeom>
                <a:avLst/>
                <a:gdLst>
                  <a:gd name="connsiteX0" fmla="*/ 0 w 86426"/>
                  <a:gd name="connsiteY0" fmla="*/ 51210 h 71249"/>
                  <a:gd name="connsiteX1" fmla="*/ 3206 w 86426"/>
                  <a:gd name="connsiteY1" fmla="*/ 39988 h 71249"/>
                  <a:gd name="connsiteX2" fmla="*/ 17854 w 86426"/>
                  <a:gd name="connsiteY2" fmla="*/ 44141 h 71249"/>
                  <a:gd name="connsiteX3" fmla="*/ 17854 w 86426"/>
                  <a:gd name="connsiteY3" fmla="*/ 43850 h 71249"/>
                  <a:gd name="connsiteX4" fmla="*/ 8453 w 86426"/>
                  <a:gd name="connsiteY4" fmla="*/ 16450 h 71249"/>
                  <a:gd name="connsiteX5" fmla="*/ 39497 w 86426"/>
                  <a:gd name="connsiteY5" fmla="*/ 1511 h 71249"/>
                  <a:gd name="connsiteX6" fmla="*/ 86426 w 86426"/>
                  <a:gd name="connsiteY6" fmla="*/ 14920 h 71249"/>
                  <a:gd name="connsiteX7" fmla="*/ 83074 w 86426"/>
                  <a:gd name="connsiteY7" fmla="*/ 26725 h 71249"/>
                  <a:gd name="connsiteX8" fmla="*/ 38476 w 86426"/>
                  <a:gd name="connsiteY8" fmla="*/ 13972 h 71249"/>
                  <a:gd name="connsiteX9" fmla="*/ 17708 w 86426"/>
                  <a:gd name="connsiteY9" fmla="*/ 23737 h 71249"/>
                  <a:gd name="connsiteX10" fmla="*/ 33011 w 86426"/>
                  <a:gd name="connsiteY10" fmla="*/ 47858 h 71249"/>
                  <a:gd name="connsiteX11" fmla="*/ 73819 w 86426"/>
                  <a:gd name="connsiteY11" fmla="*/ 59517 h 71249"/>
                  <a:gd name="connsiteX12" fmla="*/ 70467 w 86426"/>
                  <a:gd name="connsiteY12" fmla="*/ 71249 h 71249"/>
                  <a:gd name="connsiteX13" fmla="*/ 146 w 86426"/>
                  <a:gd name="connsiteY13" fmla="*/ 51210 h 7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426" h="71249">
                    <a:moveTo>
                      <a:pt x="0" y="51210"/>
                    </a:moveTo>
                    <a:lnTo>
                      <a:pt x="3206" y="39988"/>
                    </a:lnTo>
                    <a:lnTo>
                      <a:pt x="17854" y="44141"/>
                    </a:lnTo>
                    <a:lnTo>
                      <a:pt x="17854" y="43850"/>
                    </a:lnTo>
                    <a:cubicBezTo>
                      <a:pt x="11368" y="38967"/>
                      <a:pt x="4445" y="30587"/>
                      <a:pt x="8453" y="16450"/>
                    </a:cubicBezTo>
                    <a:cubicBezTo>
                      <a:pt x="12680" y="1584"/>
                      <a:pt x="24777" y="-2642"/>
                      <a:pt x="39497" y="1511"/>
                    </a:cubicBezTo>
                    <a:lnTo>
                      <a:pt x="86426" y="14920"/>
                    </a:lnTo>
                    <a:lnTo>
                      <a:pt x="83074" y="26725"/>
                    </a:lnTo>
                    <a:lnTo>
                      <a:pt x="38476" y="13972"/>
                    </a:lnTo>
                    <a:cubicBezTo>
                      <a:pt x="28201" y="11058"/>
                      <a:pt x="20769" y="12952"/>
                      <a:pt x="17708" y="23737"/>
                    </a:cubicBezTo>
                    <a:cubicBezTo>
                      <a:pt x="14574" y="34813"/>
                      <a:pt x="19821" y="44141"/>
                      <a:pt x="33011" y="47858"/>
                    </a:cubicBezTo>
                    <a:lnTo>
                      <a:pt x="73819" y="59517"/>
                    </a:lnTo>
                    <a:lnTo>
                      <a:pt x="70467" y="71249"/>
                    </a:lnTo>
                    <a:lnTo>
                      <a:pt x="146" y="5121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85" name="Freeform 238">
                <a:extLst>
                  <a:ext uri="{FF2B5EF4-FFF2-40B4-BE49-F238E27FC236}">
                    <a16:creationId xmlns:a16="http://schemas.microsoft.com/office/drawing/2014/main" id="{19C68B88-DCDD-E428-7048-E258349D89D2}"/>
                  </a:ext>
                </a:extLst>
              </p:cNvPr>
              <p:cNvSpPr/>
              <p:nvPr/>
            </p:nvSpPr>
            <p:spPr>
              <a:xfrm>
                <a:off x="3047802" y="4222061"/>
                <a:ext cx="76016" cy="70272"/>
              </a:xfrm>
              <a:custGeom>
                <a:avLst/>
                <a:gdLst>
                  <a:gd name="connsiteX0" fmla="*/ 27570 w 76016"/>
                  <a:gd name="connsiteY0" fmla="*/ 67917 h 70272"/>
                  <a:gd name="connsiteX1" fmla="*/ 1847 w 76016"/>
                  <a:gd name="connsiteY1" fmla="*/ 23100 h 70272"/>
                  <a:gd name="connsiteX2" fmla="*/ 23635 w 76016"/>
                  <a:gd name="connsiteY2" fmla="*/ 0 h 70272"/>
                  <a:gd name="connsiteX3" fmla="*/ 27643 w 76016"/>
                  <a:gd name="connsiteY3" fmla="*/ 10275 h 70272"/>
                  <a:gd name="connsiteX4" fmla="*/ 11830 w 76016"/>
                  <a:gd name="connsiteY4" fmla="*/ 25942 h 70272"/>
                  <a:gd name="connsiteX5" fmla="*/ 31287 w 76016"/>
                  <a:gd name="connsiteY5" fmla="*/ 55820 h 70272"/>
                  <a:gd name="connsiteX6" fmla="*/ 64371 w 76016"/>
                  <a:gd name="connsiteY6" fmla="*/ 42339 h 70272"/>
                  <a:gd name="connsiteX7" fmla="*/ 60290 w 76016"/>
                  <a:gd name="connsiteY7" fmla="*/ 20477 h 70272"/>
                  <a:gd name="connsiteX8" fmla="*/ 69399 w 76016"/>
                  <a:gd name="connsiteY8" fmla="*/ 14356 h 70272"/>
                  <a:gd name="connsiteX9" fmla="*/ 74136 w 76016"/>
                  <a:gd name="connsiteY9" fmla="*/ 45691 h 70272"/>
                  <a:gd name="connsiteX10" fmla="*/ 27498 w 76016"/>
                  <a:gd name="connsiteY10" fmla="*/ 67917 h 7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016" h="70272">
                    <a:moveTo>
                      <a:pt x="27570" y="67917"/>
                    </a:moveTo>
                    <a:cubicBezTo>
                      <a:pt x="4106" y="60629"/>
                      <a:pt x="-4056" y="42120"/>
                      <a:pt x="1847" y="23100"/>
                    </a:cubicBezTo>
                    <a:cubicBezTo>
                      <a:pt x="5709" y="10639"/>
                      <a:pt x="13943" y="2988"/>
                      <a:pt x="23635" y="0"/>
                    </a:cubicBezTo>
                    <a:lnTo>
                      <a:pt x="27643" y="10275"/>
                    </a:lnTo>
                    <a:cubicBezTo>
                      <a:pt x="20137" y="12607"/>
                      <a:pt x="14526" y="17344"/>
                      <a:pt x="11830" y="25942"/>
                    </a:cubicBezTo>
                    <a:cubicBezTo>
                      <a:pt x="7895" y="38622"/>
                      <a:pt x="13871" y="50354"/>
                      <a:pt x="31287" y="55820"/>
                    </a:cubicBezTo>
                    <a:cubicBezTo>
                      <a:pt x="48776" y="61285"/>
                      <a:pt x="60436" y="55091"/>
                      <a:pt x="64371" y="42339"/>
                    </a:cubicBezTo>
                    <a:cubicBezTo>
                      <a:pt x="67067" y="33740"/>
                      <a:pt x="65172" y="26671"/>
                      <a:pt x="60290" y="20477"/>
                    </a:cubicBezTo>
                    <a:lnTo>
                      <a:pt x="69399" y="14356"/>
                    </a:lnTo>
                    <a:cubicBezTo>
                      <a:pt x="75666" y="22299"/>
                      <a:pt x="77998" y="33230"/>
                      <a:pt x="74136" y="45691"/>
                    </a:cubicBezTo>
                    <a:cubicBezTo>
                      <a:pt x="68233" y="64710"/>
                      <a:pt x="51035" y="75277"/>
                      <a:pt x="27498" y="67917"/>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86" name="Freeform 239">
                <a:extLst>
                  <a:ext uri="{FF2B5EF4-FFF2-40B4-BE49-F238E27FC236}">
                    <a16:creationId xmlns:a16="http://schemas.microsoft.com/office/drawing/2014/main" id="{701F7E37-0734-5066-58A5-E2FF0164BA98}"/>
                  </a:ext>
                </a:extLst>
              </p:cNvPr>
              <p:cNvSpPr/>
              <p:nvPr/>
            </p:nvSpPr>
            <p:spPr>
              <a:xfrm>
                <a:off x="3070335" y="4153882"/>
                <a:ext cx="77084" cy="69774"/>
              </a:xfrm>
              <a:custGeom>
                <a:avLst/>
                <a:gdLst>
                  <a:gd name="connsiteX0" fmla="*/ 26680 w 77084"/>
                  <a:gd name="connsiteY0" fmla="*/ 67086 h 69774"/>
                  <a:gd name="connsiteX1" fmla="*/ 2122 w 77084"/>
                  <a:gd name="connsiteY1" fmla="*/ 21323 h 69774"/>
                  <a:gd name="connsiteX2" fmla="*/ 45772 w 77084"/>
                  <a:gd name="connsiteY2" fmla="*/ 2449 h 69774"/>
                  <a:gd name="connsiteX3" fmla="*/ 51092 w 77084"/>
                  <a:gd name="connsiteY3" fmla="*/ 4489 h 69774"/>
                  <a:gd name="connsiteX4" fmla="*/ 33676 w 77084"/>
                  <a:gd name="connsiteY4" fmla="*/ 55937 h 69774"/>
                  <a:gd name="connsiteX5" fmla="*/ 64646 w 77084"/>
                  <a:gd name="connsiteY5" fmla="*/ 41071 h 69774"/>
                  <a:gd name="connsiteX6" fmla="*/ 62897 w 77084"/>
                  <a:gd name="connsiteY6" fmla="*/ 18991 h 69774"/>
                  <a:gd name="connsiteX7" fmla="*/ 72516 w 77084"/>
                  <a:gd name="connsiteY7" fmla="*/ 14181 h 69774"/>
                  <a:gd name="connsiteX8" fmla="*/ 74411 w 77084"/>
                  <a:gd name="connsiteY8" fmla="*/ 44350 h 69774"/>
                  <a:gd name="connsiteX9" fmla="*/ 26680 w 77084"/>
                  <a:gd name="connsiteY9" fmla="*/ 67013 h 69774"/>
                  <a:gd name="connsiteX10" fmla="*/ 38267 w 77084"/>
                  <a:gd name="connsiteY10" fmla="*/ 13015 h 69774"/>
                  <a:gd name="connsiteX11" fmla="*/ 11814 w 77084"/>
                  <a:gd name="connsiteY11" fmla="*/ 25185 h 69774"/>
                  <a:gd name="connsiteX12" fmla="*/ 24858 w 77084"/>
                  <a:gd name="connsiteY12" fmla="*/ 52584 h 69774"/>
                  <a:gd name="connsiteX13" fmla="*/ 38267 w 77084"/>
                  <a:gd name="connsiteY13" fmla="*/ 13015 h 6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084" h="69774">
                    <a:moveTo>
                      <a:pt x="26680" y="67086"/>
                    </a:moveTo>
                    <a:cubicBezTo>
                      <a:pt x="2559" y="58924"/>
                      <a:pt x="-3926" y="39249"/>
                      <a:pt x="2122" y="21323"/>
                    </a:cubicBezTo>
                    <a:cubicBezTo>
                      <a:pt x="9701" y="-1122"/>
                      <a:pt x="30324" y="-2725"/>
                      <a:pt x="45772" y="2449"/>
                    </a:cubicBezTo>
                    <a:cubicBezTo>
                      <a:pt x="47594" y="3105"/>
                      <a:pt x="49489" y="3760"/>
                      <a:pt x="51092" y="4489"/>
                    </a:cubicBezTo>
                    <a:lnTo>
                      <a:pt x="33676" y="55937"/>
                    </a:lnTo>
                    <a:cubicBezTo>
                      <a:pt x="48979" y="60163"/>
                      <a:pt x="59764" y="55354"/>
                      <a:pt x="64646" y="41071"/>
                    </a:cubicBezTo>
                    <a:cubicBezTo>
                      <a:pt x="67488" y="32618"/>
                      <a:pt x="67051" y="26059"/>
                      <a:pt x="62897" y="18991"/>
                    </a:cubicBezTo>
                    <a:lnTo>
                      <a:pt x="72516" y="14181"/>
                    </a:lnTo>
                    <a:cubicBezTo>
                      <a:pt x="77836" y="23582"/>
                      <a:pt x="78565" y="32253"/>
                      <a:pt x="74411" y="44350"/>
                    </a:cubicBezTo>
                    <a:cubicBezTo>
                      <a:pt x="67343" y="65264"/>
                      <a:pt x="50072" y="74956"/>
                      <a:pt x="26680" y="67013"/>
                    </a:cubicBezTo>
                    <a:close/>
                    <a:moveTo>
                      <a:pt x="38267" y="13015"/>
                    </a:moveTo>
                    <a:cubicBezTo>
                      <a:pt x="24275" y="9663"/>
                      <a:pt x="15385" y="14473"/>
                      <a:pt x="11814" y="25185"/>
                    </a:cubicBezTo>
                    <a:cubicBezTo>
                      <a:pt x="8244" y="35824"/>
                      <a:pt x="12033" y="46172"/>
                      <a:pt x="24858" y="52584"/>
                    </a:cubicBezTo>
                    <a:lnTo>
                      <a:pt x="38267" y="1301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87" name="Freeform 240">
                <a:extLst>
                  <a:ext uri="{FF2B5EF4-FFF2-40B4-BE49-F238E27FC236}">
                    <a16:creationId xmlns:a16="http://schemas.microsoft.com/office/drawing/2014/main" id="{0F19192A-C6D6-8F0E-CE33-D788D3AF42E8}"/>
                  </a:ext>
                </a:extLst>
              </p:cNvPr>
              <p:cNvSpPr/>
              <p:nvPr/>
            </p:nvSpPr>
            <p:spPr>
              <a:xfrm>
                <a:off x="3108298" y="4050524"/>
                <a:ext cx="81701" cy="68586"/>
              </a:xfrm>
              <a:custGeom>
                <a:avLst/>
                <a:gdLst>
                  <a:gd name="connsiteX0" fmla="*/ 42351 w 81701"/>
                  <a:gd name="connsiteY0" fmla="*/ 66892 h 68586"/>
                  <a:gd name="connsiteX1" fmla="*/ 32222 w 81701"/>
                  <a:gd name="connsiteY1" fmla="*/ 27469 h 68586"/>
                  <a:gd name="connsiteX2" fmla="*/ 36813 w 81701"/>
                  <a:gd name="connsiteY2" fmla="*/ 15372 h 68586"/>
                  <a:gd name="connsiteX3" fmla="*/ 32149 w 81701"/>
                  <a:gd name="connsiteY3" fmla="*/ 13623 h 68586"/>
                  <a:gd name="connsiteX4" fmla="*/ 12182 w 81701"/>
                  <a:gd name="connsiteY4" fmla="*/ 21858 h 68586"/>
                  <a:gd name="connsiteX5" fmla="*/ 14805 w 81701"/>
                  <a:gd name="connsiteY5" fmla="*/ 44958 h 68586"/>
                  <a:gd name="connsiteX6" fmla="*/ 4676 w 81701"/>
                  <a:gd name="connsiteY6" fmla="*/ 49476 h 68586"/>
                  <a:gd name="connsiteX7" fmla="*/ 2854 w 81701"/>
                  <a:gd name="connsiteY7" fmla="*/ 17412 h 68586"/>
                  <a:gd name="connsiteX8" fmla="*/ 36448 w 81701"/>
                  <a:gd name="connsiteY8" fmla="*/ 2255 h 68586"/>
                  <a:gd name="connsiteX9" fmla="*/ 81702 w 81701"/>
                  <a:gd name="connsiteY9" fmla="*/ 19453 h 68586"/>
                  <a:gd name="connsiteX10" fmla="*/ 77548 w 81701"/>
                  <a:gd name="connsiteY10" fmla="*/ 30311 h 68586"/>
                  <a:gd name="connsiteX11" fmla="*/ 64868 w 81701"/>
                  <a:gd name="connsiteY11" fmla="*/ 25501 h 68586"/>
                  <a:gd name="connsiteX12" fmla="*/ 64868 w 81701"/>
                  <a:gd name="connsiteY12" fmla="*/ 25720 h 68586"/>
                  <a:gd name="connsiteX13" fmla="*/ 70115 w 81701"/>
                  <a:gd name="connsiteY13" fmla="*/ 53630 h 68586"/>
                  <a:gd name="connsiteX14" fmla="*/ 42278 w 81701"/>
                  <a:gd name="connsiteY14" fmla="*/ 66892 h 68586"/>
                  <a:gd name="connsiteX15" fmla="*/ 61881 w 81701"/>
                  <a:gd name="connsiteY15" fmla="*/ 46926 h 68586"/>
                  <a:gd name="connsiteX16" fmla="*/ 52043 w 81701"/>
                  <a:gd name="connsiteY16" fmla="*/ 21129 h 68586"/>
                  <a:gd name="connsiteX17" fmla="*/ 45412 w 81701"/>
                  <a:gd name="connsiteY17" fmla="*/ 18578 h 68586"/>
                  <a:gd name="connsiteX18" fmla="*/ 41404 w 81701"/>
                  <a:gd name="connsiteY18" fmla="*/ 29217 h 68586"/>
                  <a:gd name="connsiteX19" fmla="*/ 46650 w 81701"/>
                  <a:gd name="connsiteY19" fmla="*/ 55087 h 68586"/>
                  <a:gd name="connsiteX20" fmla="*/ 61881 w 81701"/>
                  <a:gd name="connsiteY20" fmla="*/ 46926 h 68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701" h="68586">
                    <a:moveTo>
                      <a:pt x="42351" y="66892"/>
                    </a:moveTo>
                    <a:cubicBezTo>
                      <a:pt x="26465" y="60844"/>
                      <a:pt x="25517" y="44958"/>
                      <a:pt x="32222" y="27469"/>
                    </a:cubicBezTo>
                    <a:lnTo>
                      <a:pt x="36813" y="15372"/>
                    </a:lnTo>
                    <a:lnTo>
                      <a:pt x="32149" y="13623"/>
                    </a:lnTo>
                    <a:cubicBezTo>
                      <a:pt x="22748" y="10053"/>
                      <a:pt x="15753" y="12457"/>
                      <a:pt x="12182" y="21858"/>
                    </a:cubicBezTo>
                    <a:cubicBezTo>
                      <a:pt x="8830" y="30602"/>
                      <a:pt x="10433" y="38108"/>
                      <a:pt x="14805" y="44958"/>
                    </a:cubicBezTo>
                    <a:lnTo>
                      <a:pt x="4676" y="49476"/>
                    </a:lnTo>
                    <a:cubicBezTo>
                      <a:pt x="304" y="41679"/>
                      <a:pt x="-2320" y="31039"/>
                      <a:pt x="2854" y="17412"/>
                    </a:cubicBezTo>
                    <a:cubicBezTo>
                      <a:pt x="8976" y="1235"/>
                      <a:pt x="22020" y="-3283"/>
                      <a:pt x="36448" y="2255"/>
                    </a:cubicBezTo>
                    <a:lnTo>
                      <a:pt x="81702" y="19453"/>
                    </a:lnTo>
                    <a:lnTo>
                      <a:pt x="77548" y="30311"/>
                    </a:lnTo>
                    <a:lnTo>
                      <a:pt x="64868" y="25501"/>
                    </a:lnTo>
                    <a:lnTo>
                      <a:pt x="64868" y="25720"/>
                    </a:lnTo>
                    <a:cubicBezTo>
                      <a:pt x="72739" y="33954"/>
                      <a:pt x="74342" y="42553"/>
                      <a:pt x="70115" y="53630"/>
                    </a:cubicBezTo>
                    <a:cubicBezTo>
                      <a:pt x="65524" y="65726"/>
                      <a:pt x="55104" y="71775"/>
                      <a:pt x="42278" y="66892"/>
                    </a:cubicBezTo>
                    <a:close/>
                    <a:moveTo>
                      <a:pt x="61881" y="46926"/>
                    </a:moveTo>
                    <a:cubicBezTo>
                      <a:pt x="66690" y="34391"/>
                      <a:pt x="60569" y="24408"/>
                      <a:pt x="52043" y="21129"/>
                    </a:cubicBezTo>
                    <a:lnTo>
                      <a:pt x="45412" y="18578"/>
                    </a:lnTo>
                    <a:lnTo>
                      <a:pt x="41404" y="29217"/>
                    </a:lnTo>
                    <a:cubicBezTo>
                      <a:pt x="37323" y="39930"/>
                      <a:pt x="35792" y="50934"/>
                      <a:pt x="46650" y="55087"/>
                    </a:cubicBezTo>
                    <a:cubicBezTo>
                      <a:pt x="53063" y="57565"/>
                      <a:pt x="58966" y="54577"/>
                      <a:pt x="61881" y="46926"/>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88" name="Freeform 241">
                <a:extLst>
                  <a:ext uri="{FF2B5EF4-FFF2-40B4-BE49-F238E27FC236}">
                    <a16:creationId xmlns:a16="http://schemas.microsoft.com/office/drawing/2014/main" id="{234A669E-249E-3EF8-43D0-AA07A72E7648}"/>
                  </a:ext>
                </a:extLst>
              </p:cNvPr>
              <p:cNvSpPr/>
              <p:nvPr/>
            </p:nvSpPr>
            <p:spPr>
              <a:xfrm>
                <a:off x="3135487" y="3963439"/>
                <a:ext cx="105021" cy="98870"/>
              </a:xfrm>
              <a:custGeom>
                <a:avLst/>
                <a:gdLst>
                  <a:gd name="connsiteX0" fmla="*/ 70545 w 105021"/>
                  <a:gd name="connsiteY0" fmla="*/ 97648 h 98870"/>
                  <a:gd name="connsiteX1" fmla="*/ 60853 w 105021"/>
                  <a:gd name="connsiteY1" fmla="*/ 79576 h 98870"/>
                  <a:gd name="connsiteX2" fmla="*/ 48392 w 105021"/>
                  <a:gd name="connsiteY2" fmla="*/ 83147 h 98870"/>
                  <a:gd name="connsiteX3" fmla="*/ 40594 w 105021"/>
                  <a:gd name="connsiteY3" fmla="*/ 69009 h 98870"/>
                  <a:gd name="connsiteX4" fmla="*/ 16109 w 105021"/>
                  <a:gd name="connsiteY4" fmla="*/ 71779 h 98870"/>
                  <a:gd name="connsiteX5" fmla="*/ 2774 w 105021"/>
                  <a:gd name="connsiteY5" fmla="*/ 35416 h 98870"/>
                  <a:gd name="connsiteX6" fmla="*/ 12684 w 105021"/>
                  <a:gd name="connsiteY6" fmla="*/ 21424 h 98870"/>
                  <a:gd name="connsiteX7" fmla="*/ 7438 w 105021"/>
                  <a:gd name="connsiteY7" fmla="*/ 2186 h 98870"/>
                  <a:gd name="connsiteX8" fmla="*/ 8312 w 105021"/>
                  <a:gd name="connsiteY8" fmla="*/ 0 h 98870"/>
                  <a:gd name="connsiteX9" fmla="*/ 19680 w 105021"/>
                  <a:gd name="connsiteY9" fmla="*/ 4591 h 98870"/>
                  <a:gd name="connsiteX10" fmla="*/ 18733 w 105021"/>
                  <a:gd name="connsiteY10" fmla="*/ 6923 h 98870"/>
                  <a:gd name="connsiteX11" fmla="*/ 16692 w 105021"/>
                  <a:gd name="connsiteY11" fmla="*/ 18874 h 98870"/>
                  <a:gd name="connsiteX12" fmla="*/ 37534 w 105021"/>
                  <a:gd name="connsiteY12" fmla="*/ 18874 h 98870"/>
                  <a:gd name="connsiteX13" fmla="*/ 50286 w 105021"/>
                  <a:gd name="connsiteY13" fmla="*/ 55164 h 98870"/>
                  <a:gd name="connsiteX14" fmla="*/ 43509 w 105021"/>
                  <a:gd name="connsiteY14" fmla="*/ 66095 h 98870"/>
                  <a:gd name="connsiteX15" fmla="*/ 47153 w 105021"/>
                  <a:gd name="connsiteY15" fmla="*/ 70249 h 98870"/>
                  <a:gd name="connsiteX16" fmla="*/ 61654 w 105021"/>
                  <a:gd name="connsiteY16" fmla="*/ 54799 h 98870"/>
                  <a:gd name="connsiteX17" fmla="*/ 91678 w 105021"/>
                  <a:gd name="connsiteY17" fmla="*/ 32646 h 98870"/>
                  <a:gd name="connsiteX18" fmla="*/ 99766 w 105021"/>
                  <a:gd name="connsiteY18" fmla="*/ 74548 h 98870"/>
                  <a:gd name="connsiteX19" fmla="*/ 70545 w 105021"/>
                  <a:gd name="connsiteY19" fmla="*/ 97648 h 98870"/>
                  <a:gd name="connsiteX20" fmla="*/ 41469 w 105021"/>
                  <a:gd name="connsiteY20" fmla="*/ 51739 h 98870"/>
                  <a:gd name="connsiteX21" fmla="*/ 32943 w 105021"/>
                  <a:gd name="connsiteY21" fmla="*/ 30460 h 98870"/>
                  <a:gd name="connsiteX22" fmla="*/ 11737 w 105021"/>
                  <a:gd name="connsiteY22" fmla="*/ 38913 h 98870"/>
                  <a:gd name="connsiteX23" fmla="*/ 20846 w 105021"/>
                  <a:gd name="connsiteY23" fmla="*/ 60192 h 98870"/>
                  <a:gd name="connsiteX24" fmla="*/ 41469 w 105021"/>
                  <a:gd name="connsiteY24" fmla="*/ 51739 h 98870"/>
                  <a:gd name="connsiteX25" fmla="*/ 91022 w 105021"/>
                  <a:gd name="connsiteY25" fmla="*/ 70467 h 98870"/>
                  <a:gd name="connsiteX26" fmla="*/ 88180 w 105021"/>
                  <a:gd name="connsiteY26" fmla="*/ 45108 h 98870"/>
                  <a:gd name="connsiteX27" fmla="*/ 71055 w 105021"/>
                  <a:gd name="connsiteY27" fmla="*/ 62378 h 98870"/>
                  <a:gd name="connsiteX28" fmla="*/ 63841 w 105021"/>
                  <a:gd name="connsiteY28" fmla="*/ 75786 h 98870"/>
                  <a:gd name="connsiteX29" fmla="*/ 71857 w 105021"/>
                  <a:gd name="connsiteY29" fmla="*/ 85406 h 98870"/>
                  <a:gd name="connsiteX30" fmla="*/ 91022 w 105021"/>
                  <a:gd name="connsiteY30" fmla="*/ 70540 h 9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5021" h="98870">
                    <a:moveTo>
                      <a:pt x="70545" y="97648"/>
                    </a:moveTo>
                    <a:cubicBezTo>
                      <a:pt x="62893" y="94515"/>
                      <a:pt x="60124" y="86790"/>
                      <a:pt x="60853" y="79576"/>
                    </a:cubicBezTo>
                    <a:cubicBezTo>
                      <a:pt x="57355" y="83365"/>
                      <a:pt x="53274" y="85114"/>
                      <a:pt x="48392" y="83147"/>
                    </a:cubicBezTo>
                    <a:cubicBezTo>
                      <a:pt x="43072" y="80961"/>
                      <a:pt x="40303" y="75859"/>
                      <a:pt x="40594" y="69009"/>
                    </a:cubicBezTo>
                    <a:cubicBezTo>
                      <a:pt x="33744" y="74402"/>
                      <a:pt x="25073" y="75422"/>
                      <a:pt x="16109" y="71779"/>
                    </a:cubicBezTo>
                    <a:cubicBezTo>
                      <a:pt x="3065" y="66459"/>
                      <a:pt x="-4368" y="53050"/>
                      <a:pt x="2774" y="35416"/>
                    </a:cubicBezTo>
                    <a:cubicBezTo>
                      <a:pt x="5397" y="29003"/>
                      <a:pt x="8749" y="24412"/>
                      <a:pt x="12684" y="21424"/>
                    </a:cubicBezTo>
                    <a:cubicBezTo>
                      <a:pt x="6928" y="15740"/>
                      <a:pt x="4231" y="10129"/>
                      <a:pt x="7438" y="2186"/>
                    </a:cubicBezTo>
                    <a:lnTo>
                      <a:pt x="8312" y="0"/>
                    </a:lnTo>
                    <a:lnTo>
                      <a:pt x="19680" y="4591"/>
                    </a:lnTo>
                    <a:lnTo>
                      <a:pt x="18733" y="6923"/>
                    </a:lnTo>
                    <a:cubicBezTo>
                      <a:pt x="16328" y="12898"/>
                      <a:pt x="16037" y="16032"/>
                      <a:pt x="16692" y="18874"/>
                    </a:cubicBezTo>
                    <a:cubicBezTo>
                      <a:pt x="23178" y="15740"/>
                      <a:pt x="30538" y="16032"/>
                      <a:pt x="37534" y="18874"/>
                    </a:cubicBezTo>
                    <a:cubicBezTo>
                      <a:pt x="50214" y="24048"/>
                      <a:pt x="57428" y="37675"/>
                      <a:pt x="50286" y="55164"/>
                    </a:cubicBezTo>
                    <a:cubicBezTo>
                      <a:pt x="48465" y="59609"/>
                      <a:pt x="46206" y="63253"/>
                      <a:pt x="43509" y="66095"/>
                    </a:cubicBezTo>
                    <a:cubicBezTo>
                      <a:pt x="44019" y="67990"/>
                      <a:pt x="45040" y="69447"/>
                      <a:pt x="47153" y="70249"/>
                    </a:cubicBezTo>
                    <a:cubicBezTo>
                      <a:pt x="52691" y="72508"/>
                      <a:pt x="56116" y="66605"/>
                      <a:pt x="61654" y="54799"/>
                    </a:cubicBezTo>
                    <a:cubicBezTo>
                      <a:pt x="68504" y="40152"/>
                      <a:pt x="75792" y="26161"/>
                      <a:pt x="91678" y="32646"/>
                    </a:cubicBezTo>
                    <a:cubicBezTo>
                      <a:pt x="106689" y="38768"/>
                      <a:pt x="108511" y="52978"/>
                      <a:pt x="99766" y="74548"/>
                    </a:cubicBezTo>
                    <a:cubicBezTo>
                      <a:pt x="90730" y="96847"/>
                      <a:pt x="80164" y="101510"/>
                      <a:pt x="70545" y="97648"/>
                    </a:cubicBezTo>
                    <a:close/>
                    <a:moveTo>
                      <a:pt x="41469" y="51739"/>
                    </a:moveTo>
                    <a:cubicBezTo>
                      <a:pt x="45258" y="42339"/>
                      <a:pt x="41615" y="33958"/>
                      <a:pt x="32943" y="30460"/>
                    </a:cubicBezTo>
                    <a:cubicBezTo>
                      <a:pt x="23615" y="26671"/>
                      <a:pt x="15454" y="29732"/>
                      <a:pt x="11737" y="38913"/>
                    </a:cubicBezTo>
                    <a:cubicBezTo>
                      <a:pt x="7948" y="48241"/>
                      <a:pt x="11519" y="56403"/>
                      <a:pt x="20846" y="60192"/>
                    </a:cubicBezTo>
                    <a:cubicBezTo>
                      <a:pt x="30902" y="64273"/>
                      <a:pt x="38117" y="60046"/>
                      <a:pt x="41469" y="51739"/>
                    </a:cubicBezTo>
                    <a:close/>
                    <a:moveTo>
                      <a:pt x="91022" y="70467"/>
                    </a:moveTo>
                    <a:cubicBezTo>
                      <a:pt x="96341" y="57423"/>
                      <a:pt x="96924" y="48605"/>
                      <a:pt x="88180" y="45108"/>
                    </a:cubicBezTo>
                    <a:cubicBezTo>
                      <a:pt x="81111" y="42193"/>
                      <a:pt x="77541" y="48168"/>
                      <a:pt x="71055" y="62378"/>
                    </a:cubicBezTo>
                    <a:cubicBezTo>
                      <a:pt x="68796" y="67261"/>
                      <a:pt x="66391" y="71997"/>
                      <a:pt x="63841" y="75786"/>
                    </a:cubicBezTo>
                    <a:cubicBezTo>
                      <a:pt x="64788" y="79867"/>
                      <a:pt x="67193" y="83511"/>
                      <a:pt x="71857" y="85406"/>
                    </a:cubicBezTo>
                    <a:cubicBezTo>
                      <a:pt x="79945" y="88685"/>
                      <a:pt x="85338" y="84604"/>
                      <a:pt x="91022" y="7054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89" name="Freeform 242">
                <a:extLst>
                  <a:ext uri="{FF2B5EF4-FFF2-40B4-BE49-F238E27FC236}">
                    <a16:creationId xmlns:a16="http://schemas.microsoft.com/office/drawing/2014/main" id="{C2509075-563E-3C8E-C1C9-EF0937BEF7F6}"/>
                  </a:ext>
                </a:extLst>
              </p:cNvPr>
              <p:cNvSpPr/>
              <p:nvPr/>
            </p:nvSpPr>
            <p:spPr>
              <a:xfrm>
                <a:off x="3165377" y="3907613"/>
                <a:ext cx="77276" cy="70685"/>
              </a:xfrm>
              <a:custGeom>
                <a:avLst/>
                <a:gdLst>
                  <a:gd name="connsiteX0" fmla="*/ 23967 w 77276"/>
                  <a:gd name="connsiteY0" fmla="*/ 66537 h 70685"/>
                  <a:gd name="connsiteX1" fmla="*/ 3272 w 77276"/>
                  <a:gd name="connsiteY1" fmla="*/ 18952 h 70685"/>
                  <a:gd name="connsiteX2" fmla="*/ 48306 w 77276"/>
                  <a:gd name="connsiteY2" fmla="*/ 3795 h 70685"/>
                  <a:gd name="connsiteX3" fmla="*/ 53407 w 77276"/>
                  <a:gd name="connsiteY3" fmla="*/ 6200 h 70685"/>
                  <a:gd name="connsiteX4" fmla="*/ 31837 w 77276"/>
                  <a:gd name="connsiteY4" fmla="*/ 56044 h 70685"/>
                  <a:gd name="connsiteX5" fmla="*/ 63901 w 77276"/>
                  <a:gd name="connsiteY5" fmla="*/ 43801 h 70685"/>
                  <a:gd name="connsiteX6" fmla="*/ 63974 w 77276"/>
                  <a:gd name="connsiteY6" fmla="*/ 21649 h 70685"/>
                  <a:gd name="connsiteX7" fmla="*/ 73957 w 77276"/>
                  <a:gd name="connsiteY7" fmla="*/ 17641 h 70685"/>
                  <a:gd name="connsiteX8" fmla="*/ 73374 w 77276"/>
                  <a:gd name="connsiteY8" fmla="*/ 47882 h 70685"/>
                  <a:gd name="connsiteX9" fmla="*/ 23894 w 77276"/>
                  <a:gd name="connsiteY9" fmla="*/ 66537 h 70685"/>
                  <a:gd name="connsiteX10" fmla="*/ 39999 w 77276"/>
                  <a:gd name="connsiteY10" fmla="*/ 13632 h 70685"/>
                  <a:gd name="connsiteX11" fmla="*/ 12599 w 77276"/>
                  <a:gd name="connsiteY11" fmla="*/ 23543 h 70685"/>
                  <a:gd name="connsiteX12" fmla="*/ 23384 w 77276"/>
                  <a:gd name="connsiteY12" fmla="*/ 51963 h 70685"/>
                  <a:gd name="connsiteX13" fmla="*/ 39999 w 77276"/>
                  <a:gd name="connsiteY13" fmla="*/ 13632 h 7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276" h="70685">
                    <a:moveTo>
                      <a:pt x="23967" y="66537"/>
                    </a:moveTo>
                    <a:cubicBezTo>
                      <a:pt x="575" y="56409"/>
                      <a:pt x="-4234" y="36223"/>
                      <a:pt x="3272" y="18952"/>
                    </a:cubicBezTo>
                    <a:cubicBezTo>
                      <a:pt x="12672" y="-2764"/>
                      <a:pt x="33368" y="-2691"/>
                      <a:pt x="48306" y="3795"/>
                    </a:cubicBezTo>
                    <a:cubicBezTo>
                      <a:pt x="50128" y="4596"/>
                      <a:pt x="51877" y="5398"/>
                      <a:pt x="53407" y="6200"/>
                    </a:cubicBezTo>
                    <a:lnTo>
                      <a:pt x="31837" y="56044"/>
                    </a:lnTo>
                    <a:cubicBezTo>
                      <a:pt x="46703" y="61509"/>
                      <a:pt x="57925" y="57647"/>
                      <a:pt x="63901" y="43801"/>
                    </a:cubicBezTo>
                    <a:cubicBezTo>
                      <a:pt x="67472" y="35640"/>
                      <a:pt x="67544" y="29009"/>
                      <a:pt x="63974" y="21649"/>
                    </a:cubicBezTo>
                    <a:lnTo>
                      <a:pt x="73957" y="17641"/>
                    </a:lnTo>
                    <a:cubicBezTo>
                      <a:pt x="78475" y="27405"/>
                      <a:pt x="78475" y="36150"/>
                      <a:pt x="73374" y="47882"/>
                    </a:cubicBezTo>
                    <a:cubicBezTo>
                      <a:pt x="64557" y="68141"/>
                      <a:pt x="46557" y="76375"/>
                      <a:pt x="23894" y="66537"/>
                    </a:cubicBezTo>
                    <a:close/>
                    <a:moveTo>
                      <a:pt x="39999" y="13632"/>
                    </a:moveTo>
                    <a:cubicBezTo>
                      <a:pt x="26299" y="9114"/>
                      <a:pt x="17117" y="13195"/>
                      <a:pt x="12599" y="23543"/>
                    </a:cubicBezTo>
                    <a:cubicBezTo>
                      <a:pt x="8154" y="33818"/>
                      <a:pt x="11069" y="44530"/>
                      <a:pt x="23384" y="51963"/>
                    </a:cubicBezTo>
                    <a:lnTo>
                      <a:pt x="39999" y="13632"/>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90" name="Freeform 243">
                <a:extLst>
                  <a:ext uri="{FF2B5EF4-FFF2-40B4-BE49-F238E27FC236}">
                    <a16:creationId xmlns:a16="http://schemas.microsoft.com/office/drawing/2014/main" id="{95210D6F-70FD-DDB4-1297-D6E5A77787C8}"/>
                  </a:ext>
                </a:extLst>
              </p:cNvPr>
              <p:cNvSpPr/>
              <p:nvPr/>
            </p:nvSpPr>
            <p:spPr>
              <a:xfrm>
                <a:off x="3190218" y="3835088"/>
                <a:ext cx="90871" cy="76975"/>
              </a:xfrm>
              <a:custGeom>
                <a:avLst/>
                <a:gdLst>
                  <a:gd name="connsiteX0" fmla="*/ 73 w 90871"/>
                  <a:gd name="connsiteY0" fmla="*/ 46150 h 76975"/>
                  <a:gd name="connsiteX1" fmla="*/ 4955 w 90871"/>
                  <a:gd name="connsiteY1" fmla="*/ 35584 h 76975"/>
                  <a:gd name="connsiteX2" fmla="*/ 18728 w 90871"/>
                  <a:gd name="connsiteY2" fmla="*/ 41997 h 76975"/>
                  <a:gd name="connsiteX3" fmla="*/ 18874 w 90871"/>
                  <a:gd name="connsiteY3" fmla="*/ 41778 h 76975"/>
                  <a:gd name="connsiteX4" fmla="*/ 13773 w 90871"/>
                  <a:gd name="connsiteY4" fmla="*/ 13285 h 76975"/>
                  <a:gd name="connsiteX5" fmla="*/ 46711 w 90871"/>
                  <a:gd name="connsiteY5" fmla="*/ 3448 h 76975"/>
                  <a:gd name="connsiteX6" fmla="*/ 90871 w 90871"/>
                  <a:gd name="connsiteY6" fmla="*/ 23998 h 76975"/>
                  <a:gd name="connsiteX7" fmla="*/ 85697 w 90871"/>
                  <a:gd name="connsiteY7" fmla="*/ 35074 h 76975"/>
                  <a:gd name="connsiteX8" fmla="*/ 43650 w 90871"/>
                  <a:gd name="connsiteY8" fmla="*/ 15544 h 76975"/>
                  <a:gd name="connsiteX9" fmla="*/ 21643 w 90871"/>
                  <a:gd name="connsiteY9" fmla="*/ 21957 h 76975"/>
                  <a:gd name="connsiteX10" fmla="*/ 32938 w 90871"/>
                  <a:gd name="connsiteY10" fmla="*/ 48118 h 76975"/>
                  <a:gd name="connsiteX11" fmla="*/ 71342 w 90871"/>
                  <a:gd name="connsiteY11" fmla="*/ 65972 h 76975"/>
                  <a:gd name="connsiteX12" fmla="*/ 66241 w 90871"/>
                  <a:gd name="connsiteY12" fmla="*/ 76976 h 76975"/>
                  <a:gd name="connsiteX13" fmla="*/ 0 w 90871"/>
                  <a:gd name="connsiteY13" fmla="*/ 46223 h 76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871" h="76975">
                    <a:moveTo>
                      <a:pt x="73" y="46150"/>
                    </a:moveTo>
                    <a:lnTo>
                      <a:pt x="4955" y="35584"/>
                    </a:lnTo>
                    <a:lnTo>
                      <a:pt x="18728" y="41997"/>
                    </a:lnTo>
                    <a:lnTo>
                      <a:pt x="18874" y="41778"/>
                    </a:lnTo>
                    <a:cubicBezTo>
                      <a:pt x="13190" y="35949"/>
                      <a:pt x="7652" y="26548"/>
                      <a:pt x="13773" y="13285"/>
                    </a:cubicBezTo>
                    <a:cubicBezTo>
                      <a:pt x="20258" y="-706"/>
                      <a:pt x="32865" y="-3038"/>
                      <a:pt x="46711" y="3448"/>
                    </a:cubicBezTo>
                    <a:lnTo>
                      <a:pt x="90871" y="23998"/>
                    </a:lnTo>
                    <a:lnTo>
                      <a:pt x="85697" y="35074"/>
                    </a:lnTo>
                    <a:lnTo>
                      <a:pt x="43650" y="15544"/>
                    </a:lnTo>
                    <a:cubicBezTo>
                      <a:pt x="33958" y="11026"/>
                      <a:pt x="26307" y="11755"/>
                      <a:pt x="21643" y="21957"/>
                    </a:cubicBezTo>
                    <a:cubicBezTo>
                      <a:pt x="16833" y="32378"/>
                      <a:pt x="20550" y="42361"/>
                      <a:pt x="32938" y="48118"/>
                    </a:cubicBezTo>
                    <a:lnTo>
                      <a:pt x="71342" y="65972"/>
                    </a:lnTo>
                    <a:lnTo>
                      <a:pt x="66241" y="76976"/>
                    </a:lnTo>
                    <a:lnTo>
                      <a:pt x="0" y="46223"/>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91" name="Freeform 244">
                <a:extLst>
                  <a:ext uri="{FF2B5EF4-FFF2-40B4-BE49-F238E27FC236}">
                    <a16:creationId xmlns:a16="http://schemas.microsoft.com/office/drawing/2014/main" id="{C1B9AF7F-2288-637C-6F6C-E231BBB41F93}"/>
                  </a:ext>
                </a:extLst>
              </p:cNvPr>
              <p:cNvSpPr/>
              <p:nvPr/>
            </p:nvSpPr>
            <p:spPr>
              <a:xfrm>
                <a:off x="3213974" y="3781623"/>
                <a:ext cx="89413" cy="53349"/>
              </a:xfrm>
              <a:custGeom>
                <a:avLst/>
                <a:gdLst>
                  <a:gd name="connsiteX0" fmla="*/ 62670 w 89413"/>
                  <a:gd name="connsiteY0" fmla="*/ 50792 h 53349"/>
                  <a:gd name="connsiteX1" fmla="*/ 20331 w 89413"/>
                  <a:gd name="connsiteY1" fmla="*/ 30096 h 53349"/>
                  <a:gd name="connsiteX2" fmla="*/ 15595 w 89413"/>
                  <a:gd name="connsiteY2" fmla="*/ 39788 h 53349"/>
                  <a:gd name="connsiteX3" fmla="*/ 9911 w 89413"/>
                  <a:gd name="connsiteY3" fmla="*/ 37019 h 53349"/>
                  <a:gd name="connsiteX4" fmla="*/ 0 w 89413"/>
                  <a:gd name="connsiteY4" fmla="*/ 8162 h 53349"/>
                  <a:gd name="connsiteX5" fmla="*/ 656 w 89413"/>
                  <a:gd name="connsiteY5" fmla="*/ 6923 h 53349"/>
                  <a:gd name="connsiteX6" fmla="*/ 16542 w 89413"/>
                  <a:gd name="connsiteY6" fmla="*/ 14720 h 53349"/>
                  <a:gd name="connsiteX7" fmla="*/ 23756 w 89413"/>
                  <a:gd name="connsiteY7" fmla="*/ 0 h 53349"/>
                  <a:gd name="connsiteX8" fmla="*/ 32938 w 89413"/>
                  <a:gd name="connsiteY8" fmla="*/ 4518 h 53349"/>
                  <a:gd name="connsiteX9" fmla="*/ 25724 w 89413"/>
                  <a:gd name="connsiteY9" fmla="*/ 19238 h 53349"/>
                  <a:gd name="connsiteX10" fmla="*/ 65803 w 89413"/>
                  <a:gd name="connsiteY10" fmla="*/ 38841 h 53349"/>
                  <a:gd name="connsiteX11" fmla="*/ 76807 w 89413"/>
                  <a:gd name="connsiteY11" fmla="*/ 35270 h 53349"/>
                  <a:gd name="connsiteX12" fmla="*/ 79430 w 89413"/>
                  <a:gd name="connsiteY12" fmla="*/ 27327 h 53349"/>
                  <a:gd name="connsiteX13" fmla="*/ 89414 w 89413"/>
                  <a:gd name="connsiteY13" fmla="*/ 32209 h 53349"/>
                  <a:gd name="connsiteX14" fmla="*/ 85916 w 89413"/>
                  <a:gd name="connsiteY14" fmla="*/ 41756 h 53349"/>
                  <a:gd name="connsiteX15" fmla="*/ 62743 w 89413"/>
                  <a:gd name="connsiteY15" fmla="*/ 50865 h 5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413" h="53349">
                    <a:moveTo>
                      <a:pt x="62670" y="50792"/>
                    </a:moveTo>
                    <a:lnTo>
                      <a:pt x="20331" y="30096"/>
                    </a:lnTo>
                    <a:lnTo>
                      <a:pt x="15595" y="39788"/>
                    </a:lnTo>
                    <a:lnTo>
                      <a:pt x="9911" y="37019"/>
                    </a:lnTo>
                    <a:lnTo>
                      <a:pt x="0" y="8162"/>
                    </a:lnTo>
                    <a:lnTo>
                      <a:pt x="656" y="6923"/>
                    </a:lnTo>
                    <a:lnTo>
                      <a:pt x="16542" y="14720"/>
                    </a:lnTo>
                    <a:lnTo>
                      <a:pt x="23756" y="0"/>
                    </a:lnTo>
                    <a:lnTo>
                      <a:pt x="32938" y="4518"/>
                    </a:lnTo>
                    <a:lnTo>
                      <a:pt x="25724" y="19238"/>
                    </a:lnTo>
                    <a:lnTo>
                      <a:pt x="65803" y="38841"/>
                    </a:lnTo>
                    <a:cubicBezTo>
                      <a:pt x="71633" y="41683"/>
                      <a:pt x="74184" y="40590"/>
                      <a:pt x="76807" y="35270"/>
                    </a:cubicBezTo>
                    <a:cubicBezTo>
                      <a:pt x="78046" y="32647"/>
                      <a:pt x="78920" y="29805"/>
                      <a:pt x="79430" y="27327"/>
                    </a:cubicBezTo>
                    <a:lnTo>
                      <a:pt x="89414" y="32209"/>
                    </a:lnTo>
                    <a:cubicBezTo>
                      <a:pt x="88831" y="34906"/>
                      <a:pt x="87519" y="38549"/>
                      <a:pt x="85916" y="41756"/>
                    </a:cubicBezTo>
                    <a:cubicBezTo>
                      <a:pt x="80305" y="53196"/>
                      <a:pt x="73309" y="56038"/>
                      <a:pt x="62743" y="5086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92" name="Freeform 245">
                <a:extLst>
                  <a:ext uri="{FF2B5EF4-FFF2-40B4-BE49-F238E27FC236}">
                    <a16:creationId xmlns:a16="http://schemas.microsoft.com/office/drawing/2014/main" id="{FECE90C7-7178-1402-5F5A-CC35193F4D8E}"/>
                  </a:ext>
                </a:extLst>
              </p:cNvPr>
              <p:cNvSpPr/>
              <p:nvPr/>
            </p:nvSpPr>
            <p:spPr>
              <a:xfrm>
                <a:off x="3250008" y="3727479"/>
                <a:ext cx="76116" cy="73673"/>
              </a:xfrm>
              <a:custGeom>
                <a:avLst/>
                <a:gdLst>
                  <a:gd name="connsiteX0" fmla="*/ 48206 w 76116"/>
                  <a:gd name="connsiteY0" fmla="*/ 73601 h 73673"/>
                  <a:gd name="connsiteX1" fmla="*/ 44854 w 76116"/>
                  <a:gd name="connsiteY1" fmla="*/ 63107 h 73673"/>
                  <a:gd name="connsiteX2" fmla="*/ 62780 w 76116"/>
                  <a:gd name="connsiteY2" fmla="*/ 48314 h 73673"/>
                  <a:gd name="connsiteX3" fmla="*/ 60521 w 76116"/>
                  <a:gd name="connsiteY3" fmla="*/ 29513 h 73673"/>
                  <a:gd name="connsiteX4" fmla="*/ 39971 w 76116"/>
                  <a:gd name="connsiteY4" fmla="*/ 39715 h 73673"/>
                  <a:gd name="connsiteX5" fmla="*/ 10531 w 76116"/>
                  <a:gd name="connsiteY5" fmla="*/ 50646 h 73673"/>
                  <a:gd name="connsiteX6" fmla="*/ 4191 w 76116"/>
                  <a:gd name="connsiteY6" fmla="*/ 18437 h 73673"/>
                  <a:gd name="connsiteX7" fmla="*/ 24523 w 76116"/>
                  <a:gd name="connsiteY7" fmla="*/ 0 h 73673"/>
                  <a:gd name="connsiteX8" fmla="*/ 27875 w 76116"/>
                  <a:gd name="connsiteY8" fmla="*/ 10494 h 73673"/>
                  <a:gd name="connsiteX9" fmla="*/ 13300 w 76116"/>
                  <a:gd name="connsiteY9" fmla="*/ 23173 h 73673"/>
                  <a:gd name="connsiteX10" fmla="*/ 15414 w 76116"/>
                  <a:gd name="connsiteY10" fmla="*/ 39934 h 73673"/>
                  <a:gd name="connsiteX11" fmla="*/ 34579 w 76116"/>
                  <a:gd name="connsiteY11" fmla="*/ 28857 h 73673"/>
                  <a:gd name="connsiteX12" fmla="*/ 65112 w 76116"/>
                  <a:gd name="connsiteY12" fmla="*/ 18509 h 73673"/>
                  <a:gd name="connsiteX13" fmla="*/ 71743 w 76116"/>
                  <a:gd name="connsiteY13" fmla="*/ 52905 h 73673"/>
                  <a:gd name="connsiteX14" fmla="*/ 48206 w 76116"/>
                  <a:gd name="connsiteY14" fmla="*/ 73673 h 7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116" h="73673">
                    <a:moveTo>
                      <a:pt x="48206" y="73601"/>
                    </a:moveTo>
                    <a:lnTo>
                      <a:pt x="44854" y="63107"/>
                    </a:lnTo>
                    <a:cubicBezTo>
                      <a:pt x="54182" y="60484"/>
                      <a:pt x="58991" y="55601"/>
                      <a:pt x="62780" y="48314"/>
                    </a:cubicBezTo>
                    <a:cubicBezTo>
                      <a:pt x="66351" y="41246"/>
                      <a:pt x="67663" y="33230"/>
                      <a:pt x="60521" y="29513"/>
                    </a:cubicBezTo>
                    <a:cubicBezTo>
                      <a:pt x="53016" y="25651"/>
                      <a:pt x="47623" y="31335"/>
                      <a:pt x="39971" y="39715"/>
                    </a:cubicBezTo>
                    <a:cubicBezTo>
                      <a:pt x="32247" y="48095"/>
                      <a:pt x="22992" y="56986"/>
                      <a:pt x="10531" y="50646"/>
                    </a:cubicBezTo>
                    <a:cubicBezTo>
                      <a:pt x="-1274" y="44598"/>
                      <a:pt x="-2804" y="32137"/>
                      <a:pt x="4191" y="18437"/>
                    </a:cubicBezTo>
                    <a:cubicBezTo>
                      <a:pt x="8636" y="9692"/>
                      <a:pt x="15924" y="2623"/>
                      <a:pt x="24523" y="0"/>
                    </a:cubicBezTo>
                    <a:lnTo>
                      <a:pt x="27875" y="10494"/>
                    </a:lnTo>
                    <a:cubicBezTo>
                      <a:pt x="20587" y="12825"/>
                      <a:pt x="16142" y="17708"/>
                      <a:pt x="13300" y="23173"/>
                    </a:cubicBezTo>
                    <a:cubicBezTo>
                      <a:pt x="9511" y="30606"/>
                      <a:pt x="9511" y="36946"/>
                      <a:pt x="15414" y="39934"/>
                    </a:cubicBezTo>
                    <a:cubicBezTo>
                      <a:pt x="21462" y="42994"/>
                      <a:pt x="26927" y="37237"/>
                      <a:pt x="34579" y="28857"/>
                    </a:cubicBezTo>
                    <a:cubicBezTo>
                      <a:pt x="41866" y="20987"/>
                      <a:pt x="51048" y="11295"/>
                      <a:pt x="65112" y="18509"/>
                    </a:cubicBezTo>
                    <a:cubicBezTo>
                      <a:pt x="77355" y="24776"/>
                      <a:pt x="79104" y="38476"/>
                      <a:pt x="71743" y="52905"/>
                    </a:cubicBezTo>
                    <a:cubicBezTo>
                      <a:pt x="66715" y="62743"/>
                      <a:pt x="59355" y="70613"/>
                      <a:pt x="48206" y="73673"/>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sp>
          <p:nvSpPr>
            <p:cNvPr id="1593" name="Freeform 246">
              <a:extLst>
                <a:ext uri="{FF2B5EF4-FFF2-40B4-BE49-F238E27FC236}">
                  <a16:creationId xmlns:a16="http://schemas.microsoft.com/office/drawing/2014/main" id="{2399E566-CCD6-F40A-98CD-77A3C88AA45D}"/>
                </a:ext>
              </a:extLst>
            </p:cNvPr>
            <p:cNvSpPr/>
            <p:nvPr/>
          </p:nvSpPr>
          <p:spPr>
            <a:xfrm>
              <a:off x="3497629" y="2580989"/>
              <a:ext cx="5264642" cy="2632320"/>
            </a:xfrm>
            <a:custGeom>
              <a:avLst/>
              <a:gdLst>
                <a:gd name="connsiteX0" fmla="*/ 0 w 5266013"/>
                <a:gd name="connsiteY0" fmla="*/ 2633007 h 2633006"/>
                <a:gd name="connsiteX1" fmla="*/ 2633007 w 5266013"/>
                <a:gd name="connsiteY1" fmla="*/ 0 h 2633006"/>
                <a:gd name="connsiteX2" fmla="*/ 5266013 w 5266013"/>
                <a:gd name="connsiteY2" fmla="*/ 2633007 h 2633006"/>
              </a:gdLst>
              <a:ahLst/>
              <a:cxnLst>
                <a:cxn ang="0">
                  <a:pos x="connsiteX0" y="connsiteY0"/>
                </a:cxn>
                <a:cxn ang="0">
                  <a:pos x="connsiteX1" y="connsiteY1"/>
                </a:cxn>
                <a:cxn ang="0">
                  <a:pos x="connsiteX2" y="connsiteY2"/>
                </a:cxn>
              </a:cxnLst>
              <a:rect l="l" t="t" r="r" b="b"/>
              <a:pathLst>
                <a:path w="5266013" h="2633006">
                  <a:moveTo>
                    <a:pt x="0" y="2633007"/>
                  </a:moveTo>
                  <a:cubicBezTo>
                    <a:pt x="0" y="1178848"/>
                    <a:pt x="1178848" y="0"/>
                    <a:pt x="2633007" y="0"/>
                  </a:cubicBezTo>
                  <a:cubicBezTo>
                    <a:pt x="4087165" y="0"/>
                    <a:pt x="5266013" y="1178848"/>
                    <a:pt x="5266013" y="2633007"/>
                  </a:cubicBezTo>
                </a:path>
              </a:pathLst>
            </a:custGeom>
            <a:solidFill>
              <a:srgbClr val="A6E0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nvGrpSpPr>
            <p:cNvPr id="1594" name="Graphic 2">
              <a:extLst>
                <a:ext uri="{FF2B5EF4-FFF2-40B4-BE49-F238E27FC236}">
                  <a16:creationId xmlns:a16="http://schemas.microsoft.com/office/drawing/2014/main" id="{CDD0471B-7034-91A0-CA27-8AD652B7330B}"/>
                </a:ext>
              </a:extLst>
            </p:cNvPr>
            <p:cNvGrpSpPr/>
            <p:nvPr/>
          </p:nvGrpSpPr>
          <p:grpSpPr>
            <a:xfrm>
              <a:off x="5558737" y="4028444"/>
              <a:ext cx="1147126" cy="285711"/>
              <a:chOff x="5560173" y="4028586"/>
              <a:chExt cx="1147422" cy="285784"/>
            </a:xfrm>
            <a:solidFill>
              <a:srgbClr val="00144A"/>
            </a:solidFill>
          </p:grpSpPr>
          <p:sp>
            <p:nvSpPr>
              <p:cNvPr id="1595" name="Freeform 248">
                <a:extLst>
                  <a:ext uri="{FF2B5EF4-FFF2-40B4-BE49-F238E27FC236}">
                    <a16:creationId xmlns:a16="http://schemas.microsoft.com/office/drawing/2014/main" id="{BF5D4D80-D68C-7396-101F-56CD376808AC}"/>
                  </a:ext>
                </a:extLst>
              </p:cNvPr>
              <p:cNvSpPr/>
              <p:nvPr/>
            </p:nvSpPr>
            <p:spPr>
              <a:xfrm>
                <a:off x="5560173" y="4143116"/>
                <a:ext cx="166496" cy="171254"/>
              </a:xfrm>
              <a:custGeom>
                <a:avLst/>
                <a:gdLst>
                  <a:gd name="connsiteX0" fmla="*/ 11279 w 166496"/>
                  <a:gd name="connsiteY0" fmla="*/ 121721 h 171254"/>
                  <a:gd name="connsiteX1" fmla="*/ 46914 w 166496"/>
                  <a:gd name="connsiteY1" fmla="*/ 9935 h 171254"/>
                  <a:gd name="connsiteX2" fmla="*/ 115413 w 166496"/>
                  <a:gd name="connsiteY2" fmla="*/ 6073 h 171254"/>
                  <a:gd name="connsiteX3" fmla="*/ 106450 w 166496"/>
                  <a:gd name="connsiteY3" fmla="*/ 33765 h 171254"/>
                  <a:gd name="connsiteX4" fmla="*/ 59302 w 166496"/>
                  <a:gd name="connsiteY4" fmla="*/ 34421 h 171254"/>
                  <a:gd name="connsiteX5" fmla="*/ 39408 w 166496"/>
                  <a:gd name="connsiteY5" fmla="*/ 107803 h 171254"/>
                  <a:gd name="connsiteX6" fmla="*/ 109875 w 166496"/>
                  <a:gd name="connsiteY6" fmla="*/ 136441 h 171254"/>
                  <a:gd name="connsiteX7" fmla="*/ 138951 w 166496"/>
                  <a:gd name="connsiteY7" fmla="*/ 99276 h 171254"/>
                  <a:gd name="connsiteX8" fmla="*/ 166496 w 166496"/>
                  <a:gd name="connsiteY8" fmla="*/ 108895 h 171254"/>
                  <a:gd name="connsiteX9" fmla="*/ 121972 w 166496"/>
                  <a:gd name="connsiteY9" fmla="*/ 160999 h 171254"/>
                  <a:gd name="connsiteX10" fmla="*/ 11352 w 166496"/>
                  <a:gd name="connsiteY10" fmla="*/ 121721 h 17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6496" h="171254">
                    <a:moveTo>
                      <a:pt x="11279" y="121721"/>
                    </a:moveTo>
                    <a:cubicBezTo>
                      <a:pt x="-14226" y="70346"/>
                      <a:pt x="6033" y="30194"/>
                      <a:pt x="46914" y="9935"/>
                    </a:cubicBezTo>
                    <a:cubicBezTo>
                      <a:pt x="71763" y="-2380"/>
                      <a:pt x="94718" y="-2744"/>
                      <a:pt x="115413" y="6073"/>
                    </a:cubicBezTo>
                    <a:lnTo>
                      <a:pt x="106450" y="33765"/>
                    </a:lnTo>
                    <a:cubicBezTo>
                      <a:pt x="92750" y="26915"/>
                      <a:pt x="77447" y="25457"/>
                      <a:pt x="59302" y="34421"/>
                    </a:cubicBezTo>
                    <a:cubicBezTo>
                      <a:pt x="30955" y="48485"/>
                      <a:pt x="22939" y="74573"/>
                      <a:pt x="39408" y="107803"/>
                    </a:cubicBezTo>
                    <a:cubicBezTo>
                      <a:pt x="55950" y="141178"/>
                      <a:pt x="81601" y="150505"/>
                      <a:pt x="109875" y="136441"/>
                    </a:cubicBezTo>
                    <a:cubicBezTo>
                      <a:pt x="128020" y="127405"/>
                      <a:pt x="136109" y="114288"/>
                      <a:pt x="138951" y="99276"/>
                    </a:cubicBezTo>
                    <a:lnTo>
                      <a:pt x="166496" y="108895"/>
                    </a:lnTo>
                    <a:cubicBezTo>
                      <a:pt x="161104" y="130539"/>
                      <a:pt x="146748" y="148684"/>
                      <a:pt x="121972" y="160999"/>
                    </a:cubicBezTo>
                    <a:cubicBezTo>
                      <a:pt x="81091" y="181257"/>
                      <a:pt x="36930" y="173168"/>
                      <a:pt x="11352" y="12172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96" name="Freeform 249">
                <a:extLst>
                  <a:ext uri="{FF2B5EF4-FFF2-40B4-BE49-F238E27FC236}">
                    <a16:creationId xmlns:a16="http://schemas.microsoft.com/office/drawing/2014/main" id="{44FCFAB2-F504-DE88-E1F4-B4B151315DA1}"/>
                  </a:ext>
                </a:extLst>
              </p:cNvPr>
              <p:cNvSpPr/>
              <p:nvPr/>
            </p:nvSpPr>
            <p:spPr>
              <a:xfrm>
                <a:off x="5688995" y="4099490"/>
                <a:ext cx="106611" cy="166384"/>
              </a:xfrm>
              <a:custGeom>
                <a:avLst/>
                <a:gdLst>
                  <a:gd name="connsiteX0" fmla="*/ 49480 w 106611"/>
                  <a:gd name="connsiteY0" fmla="*/ 143193 h 166384"/>
                  <a:gd name="connsiteX1" fmla="*/ 0 w 106611"/>
                  <a:gd name="connsiteY1" fmla="*/ 10056 h 166384"/>
                  <a:gd name="connsiteX2" fmla="*/ 27109 w 106611"/>
                  <a:gd name="connsiteY2" fmla="*/ 0 h 166384"/>
                  <a:gd name="connsiteX3" fmla="*/ 74767 w 106611"/>
                  <a:gd name="connsiteY3" fmla="*/ 128400 h 166384"/>
                  <a:gd name="connsiteX4" fmla="*/ 89341 w 106611"/>
                  <a:gd name="connsiteY4" fmla="*/ 137218 h 166384"/>
                  <a:gd name="connsiteX5" fmla="*/ 98159 w 106611"/>
                  <a:gd name="connsiteY5" fmla="*/ 132554 h 166384"/>
                  <a:gd name="connsiteX6" fmla="*/ 106612 w 106611"/>
                  <a:gd name="connsiteY6" fmla="*/ 155290 h 166384"/>
                  <a:gd name="connsiteX7" fmla="*/ 91454 w 106611"/>
                  <a:gd name="connsiteY7" fmla="*/ 163160 h 166384"/>
                  <a:gd name="connsiteX8" fmla="*/ 49407 w 106611"/>
                  <a:gd name="connsiteY8" fmla="*/ 143193 h 166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611" h="166384">
                    <a:moveTo>
                      <a:pt x="49480" y="143193"/>
                    </a:moveTo>
                    <a:lnTo>
                      <a:pt x="0" y="10056"/>
                    </a:lnTo>
                    <a:lnTo>
                      <a:pt x="27109" y="0"/>
                    </a:lnTo>
                    <a:lnTo>
                      <a:pt x="74767" y="128400"/>
                    </a:lnTo>
                    <a:cubicBezTo>
                      <a:pt x="78191" y="137655"/>
                      <a:pt x="81544" y="140132"/>
                      <a:pt x="89341" y="137218"/>
                    </a:cubicBezTo>
                    <a:cubicBezTo>
                      <a:pt x="92620" y="135979"/>
                      <a:pt x="95317" y="134376"/>
                      <a:pt x="98159" y="132554"/>
                    </a:cubicBezTo>
                    <a:lnTo>
                      <a:pt x="106612" y="155290"/>
                    </a:lnTo>
                    <a:cubicBezTo>
                      <a:pt x="102750" y="157986"/>
                      <a:pt x="97284" y="160974"/>
                      <a:pt x="91454" y="163160"/>
                    </a:cubicBezTo>
                    <a:cubicBezTo>
                      <a:pt x="69447" y="171322"/>
                      <a:pt x="57059" y="163743"/>
                      <a:pt x="49407" y="143193"/>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97" name="Freeform 250">
                <a:extLst>
                  <a:ext uri="{FF2B5EF4-FFF2-40B4-BE49-F238E27FC236}">
                    <a16:creationId xmlns:a16="http://schemas.microsoft.com/office/drawing/2014/main" id="{3F235426-1883-D1A6-1BA9-19C777AE9156}"/>
                  </a:ext>
                </a:extLst>
              </p:cNvPr>
              <p:cNvSpPr/>
              <p:nvPr/>
            </p:nvSpPr>
            <p:spPr>
              <a:xfrm>
                <a:off x="5783401" y="4107129"/>
                <a:ext cx="128247" cy="132586"/>
              </a:xfrm>
              <a:custGeom>
                <a:avLst/>
                <a:gdLst>
                  <a:gd name="connsiteX0" fmla="*/ 2732 w 128247"/>
                  <a:gd name="connsiteY0" fmla="*/ 82358 h 132586"/>
                  <a:gd name="connsiteX1" fmla="*/ 47403 w 128247"/>
                  <a:gd name="connsiteY1" fmla="*/ 2418 h 132586"/>
                  <a:gd name="connsiteX2" fmla="*/ 125521 w 128247"/>
                  <a:gd name="connsiteY2" fmla="*/ 50295 h 132586"/>
                  <a:gd name="connsiteX3" fmla="*/ 80851 w 128247"/>
                  <a:gd name="connsiteY3" fmla="*/ 130162 h 132586"/>
                  <a:gd name="connsiteX4" fmla="*/ 2732 w 128247"/>
                  <a:gd name="connsiteY4" fmla="*/ 82431 h 132586"/>
                  <a:gd name="connsiteX5" fmla="*/ 74803 w 128247"/>
                  <a:gd name="connsiteY5" fmla="*/ 106989 h 132586"/>
                  <a:gd name="connsiteX6" fmla="*/ 96300 w 128247"/>
                  <a:gd name="connsiteY6" fmla="*/ 57873 h 132586"/>
                  <a:gd name="connsiteX7" fmla="*/ 53451 w 128247"/>
                  <a:gd name="connsiteY7" fmla="*/ 25518 h 132586"/>
                  <a:gd name="connsiteX8" fmla="*/ 31954 w 128247"/>
                  <a:gd name="connsiteY8" fmla="*/ 74634 h 132586"/>
                  <a:gd name="connsiteX9" fmla="*/ 74803 w 128247"/>
                  <a:gd name="connsiteY9" fmla="*/ 106989 h 132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247" h="132586">
                    <a:moveTo>
                      <a:pt x="2732" y="82358"/>
                    </a:moveTo>
                    <a:cubicBezTo>
                      <a:pt x="-7397" y="43518"/>
                      <a:pt x="11331" y="11818"/>
                      <a:pt x="47403" y="2418"/>
                    </a:cubicBezTo>
                    <a:cubicBezTo>
                      <a:pt x="83475" y="-6982"/>
                      <a:pt x="115320" y="11454"/>
                      <a:pt x="125521" y="50295"/>
                    </a:cubicBezTo>
                    <a:cubicBezTo>
                      <a:pt x="135651" y="89136"/>
                      <a:pt x="116850" y="120762"/>
                      <a:pt x="80851" y="130162"/>
                    </a:cubicBezTo>
                    <a:cubicBezTo>
                      <a:pt x="44780" y="139563"/>
                      <a:pt x="12934" y="121199"/>
                      <a:pt x="2732" y="82431"/>
                    </a:cubicBezTo>
                    <a:close/>
                    <a:moveTo>
                      <a:pt x="74803" y="106989"/>
                    </a:moveTo>
                    <a:cubicBezTo>
                      <a:pt x="93530" y="102107"/>
                      <a:pt x="103223" y="84253"/>
                      <a:pt x="96300" y="57873"/>
                    </a:cubicBezTo>
                    <a:cubicBezTo>
                      <a:pt x="89377" y="31348"/>
                      <a:pt x="72179" y="20636"/>
                      <a:pt x="53451" y="25518"/>
                    </a:cubicBezTo>
                    <a:cubicBezTo>
                      <a:pt x="34723" y="30401"/>
                      <a:pt x="24958" y="48109"/>
                      <a:pt x="31954" y="74634"/>
                    </a:cubicBezTo>
                    <a:cubicBezTo>
                      <a:pt x="38877" y="101086"/>
                      <a:pt x="56075" y="111872"/>
                      <a:pt x="74803" y="10698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98" name="Freeform 251">
                <a:extLst>
                  <a:ext uri="{FF2B5EF4-FFF2-40B4-BE49-F238E27FC236}">
                    <a16:creationId xmlns:a16="http://schemas.microsoft.com/office/drawing/2014/main" id="{0920BC15-2AF1-870D-7AF5-0A9E0BB4B68C}"/>
                  </a:ext>
                </a:extLst>
              </p:cNvPr>
              <p:cNvSpPr/>
              <p:nvPr/>
            </p:nvSpPr>
            <p:spPr>
              <a:xfrm>
                <a:off x="5925100" y="4076827"/>
                <a:ext cx="122934" cy="137548"/>
              </a:xfrm>
              <a:custGeom>
                <a:avLst/>
                <a:gdLst>
                  <a:gd name="connsiteX0" fmla="*/ 10421 w 122934"/>
                  <a:gd name="connsiteY0" fmla="*/ 96555 h 137548"/>
                  <a:gd name="connsiteX1" fmla="*/ 0 w 122934"/>
                  <a:gd name="connsiteY1" fmla="*/ 13336 h 137548"/>
                  <a:gd name="connsiteX2" fmla="*/ 28712 w 122934"/>
                  <a:gd name="connsiteY2" fmla="*/ 9765 h 137548"/>
                  <a:gd name="connsiteX3" fmla="*/ 38258 w 122934"/>
                  <a:gd name="connsiteY3" fmla="*/ 86062 h 137548"/>
                  <a:gd name="connsiteX4" fmla="*/ 63908 w 122934"/>
                  <a:gd name="connsiteY4" fmla="*/ 110546 h 137548"/>
                  <a:gd name="connsiteX5" fmla="*/ 87446 w 122934"/>
                  <a:gd name="connsiteY5" fmla="*/ 74184 h 137548"/>
                  <a:gd name="connsiteX6" fmla="*/ 78629 w 122934"/>
                  <a:gd name="connsiteY6" fmla="*/ 3571 h 137548"/>
                  <a:gd name="connsiteX7" fmla="*/ 107122 w 122934"/>
                  <a:gd name="connsiteY7" fmla="*/ 0 h 137548"/>
                  <a:gd name="connsiteX8" fmla="*/ 122935 w 122934"/>
                  <a:gd name="connsiteY8" fmla="*/ 126287 h 137548"/>
                  <a:gd name="connsiteX9" fmla="*/ 95389 w 122934"/>
                  <a:gd name="connsiteY9" fmla="*/ 129712 h 137548"/>
                  <a:gd name="connsiteX10" fmla="*/ 92037 w 122934"/>
                  <a:gd name="connsiteY10" fmla="*/ 103041 h 137548"/>
                  <a:gd name="connsiteX11" fmla="*/ 91454 w 122934"/>
                  <a:gd name="connsiteY11" fmla="*/ 103041 h 137548"/>
                  <a:gd name="connsiteX12" fmla="*/ 54508 w 122934"/>
                  <a:gd name="connsiteY12" fmla="*/ 137145 h 137548"/>
                  <a:gd name="connsiteX13" fmla="*/ 10421 w 122934"/>
                  <a:gd name="connsiteY13" fmla="*/ 96555 h 13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934" h="137548">
                    <a:moveTo>
                      <a:pt x="10421" y="96555"/>
                    </a:moveTo>
                    <a:lnTo>
                      <a:pt x="0" y="13336"/>
                    </a:lnTo>
                    <a:lnTo>
                      <a:pt x="28712" y="9765"/>
                    </a:lnTo>
                    <a:lnTo>
                      <a:pt x="38258" y="86062"/>
                    </a:lnTo>
                    <a:cubicBezTo>
                      <a:pt x="40371" y="102895"/>
                      <a:pt x="47294" y="112587"/>
                      <a:pt x="63908" y="110546"/>
                    </a:cubicBezTo>
                    <a:cubicBezTo>
                      <a:pt x="80961" y="108433"/>
                      <a:pt x="90142" y="95462"/>
                      <a:pt x="87446" y="74184"/>
                    </a:cubicBezTo>
                    <a:lnTo>
                      <a:pt x="78629" y="3571"/>
                    </a:lnTo>
                    <a:lnTo>
                      <a:pt x="107122" y="0"/>
                    </a:lnTo>
                    <a:lnTo>
                      <a:pt x="122935" y="126287"/>
                    </a:lnTo>
                    <a:lnTo>
                      <a:pt x="95389" y="129712"/>
                    </a:lnTo>
                    <a:lnTo>
                      <a:pt x="92037" y="103041"/>
                    </a:lnTo>
                    <a:lnTo>
                      <a:pt x="91454" y="103041"/>
                    </a:lnTo>
                    <a:cubicBezTo>
                      <a:pt x="87592" y="118344"/>
                      <a:pt x="78264" y="134157"/>
                      <a:pt x="54508" y="137145"/>
                    </a:cubicBezTo>
                    <a:cubicBezTo>
                      <a:pt x="28055" y="140424"/>
                      <a:pt x="13772" y="123445"/>
                      <a:pt x="10421" y="9655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599" name="Freeform 252">
                <a:extLst>
                  <a:ext uri="{FF2B5EF4-FFF2-40B4-BE49-F238E27FC236}">
                    <a16:creationId xmlns:a16="http://schemas.microsoft.com/office/drawing/2014/main" id="{46DD128C-1750-A6AC-0146-32CAA349DC29}"/>
                  </a:ext>
                </a:extLst>
              </p:cNvPr>
              <p:cNvSpPr/>
              <p:nvPr/>
            </p:nvSpPr>
            <p:spPr>
              <a:xfrm>
                <a:off x="6066180" y="4028586"/>
                <a:ext cx="126942" cy="175118"/>
              </a:xfrm>
              <a:custGeom>
                <a:avLst/>
                <a:gdLst>
                  <a:gd name="connsiteX0" fmla="*/ 0 w 126942"/>
                  <a:gd name="connsiteY0" fmla="*/ 108360 h 175118"/>
                  <a:gd name="connsiteX1" fmla="*/ 52759 w 126942"/>
                  <a:gd name="connsiteY1" fmla="*/ 43067 h 175118"/>
                  <a:gd name="connsiteX2" fmla="*/ 96409 w 126942"/>
                  <a:gd name="connsiteY2" fmla="*/ 71414 h 175118"/>
                  <a:gd name="connsiteX3" fmla="*/ 96992 w 126942"/>
                  <a:gd name="connsiteY3" fmla="*/ 71414 h 175118"/>
                  <a:gd name="connsiteX4" fmla="*/ 98158 w 126942"/>
                  <a:gd name="connsiteY4" fmla="*/ 0 h 175118"/>
                  <a:gd name="connsiteX5" fmla="*/ 126943 w 126942"/>
                  <a:gd name="connsiteY5" fmla="*/ 437 h 175118"/>
                  <a:gd name="connsiteX6" fmla="*/ 124101 w 126942"/>
                  <a:gd name="connsiteY6" fmla="*/ 173872 h 175118"/>
                  <a:gd name="connsiteX7" fmla="*/ 96336 w 126942"/>
                  <a:gd name="connsiteY7" fmla="*/ 173435 h 175118"/>
                  <a:gd name="connsiteX8" fmla="*/ 96774 w 126942"/>
                  <a:gd name="connsiteY8" fmla="*/ 147274 h 175118"/>
                  <a:gd name="connsiteX9" fmla="*/ 96191 w 126942"/>
                  <a:gd name="connsiteY9" fmla="*/ 147274 h 175118"/>
                  <a:gd name="connsiteX10" fmla="*/ 51812 w 126942"/>
                  <a:gd name="connsiteY10" fmla="*/ 175111 h 175118"/>
                  <a:gd name="connsiteX11" fmla="*/ 73 w 126942"/>
                  <a:gd name="connsiteY11" fmla="*/ 108360 h 175118"/>
                  <a:gd name="connsiteX12" fmla="*/ 62743 w 126942"/>
                  <a:gd name="connsiteY12" fmla="*/ 151500 h 175118"/>
                  <a:gd name="connsiteX13" fmla="*/ 96555 w 126942"/>
                  <a:gd name="connsiteY13" fmla="*/ 109890 h 175118"/>
                  <a:gd name="connsiteX14" fmla="*/ 64127 w 126942"/>
                  <a:gd name="connsiteY14" fmla="*/ 67261 h 175118"/>
                  <a:gd name="connsiteX15" fmla="*/ 30169 w 126942"/>
                  <a:gd name="connsiteY15" fmla="*/ 108871 h 175118"/>
                  <a:gd name="connsiteX16" fmla="*/ 62743 w 126942"/>
                  <a:gd name="connsiteY16" fmla="*/ 151500 h 17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942" h="175118">
                    <a:moveTo>
                      <a:pt x="0" y="108360"/>
                    </a:moveTo>
                    <a:cubicBezTo>
                      <a:pt x="656" y="68718"/>
                      <a:pt x="20550" y="42630"/>
                      <a:pt x="52759" y="43067"/>
                    </a:cubicBezTo>
                    <a:cubicBezTo>
                      <a:pt x="77026" y="43431"/>
                      <a:pt x="90799" y="56913"/>
                      <a:pt x="96409" y="71414"/>
                    </a:cubicBezTo>
                    <a:lnTo>
                      <a:pt x="96992" y="71414"/>
                    </a:lnTo>
                    <a:cubicBezTo>
                      <a:pt x="96992" y="71414"/>
                      <a:pt x="98158" y="0"/>
                      <a:pt x="98158" y="0"/>
                    </a:cubicBezTo>
                    <a:lnTo>
                      <a:pt x="126943" y="437"/>
                    </a:lnTo>
                    <a:lnTo>
                      <a:pt x="124101" y="173872"/>
                    </a:lnTo>
                    <a:lnTo>
                      <a:pt x="96336" y="173435"/>
                    </a:lnTo>
                    <a:lnTo>
                      <a:pt x="96774" y="147274"/>
                    </a:lnTo>
                    <a:lnTo>
                      <a:pt x="96191" y="147274"/>
                    </a:lnTo>
                    <a:cubicBezTo>
                      <a:pt x="89924" y="161848"/>
                      <a:pt x="78046" y="175475"/>
                      <a:pt x="51812" y="175111"/>
                    </a:cubicBezTo>
                    <a:cubicBezTo>
                      <a:pt x="20186" y="174601"/>
                      <a:pt x="-583" y="149314"/>
                      <a:pt x="73" y="108360"/>
                    </a:cubicBezTo>
                    <a:close/>
                    <a:moveTo>
                      <a:pt x="62743" y="151500"/>
                    </a:moveTo>
                    <a:cubicBezTo>
                      <a:pt x="82127" y="151792"/>
                      <a:pt x="96118" y="137217"/>
                      <a:pt x="96555" y="109890"/>
                    </a:cubicBezTo>
                    <a:cubicBezTo>
                      <a:pt x="96992" y="82418"/>
                      <a:pt x="83438" y="67552"/>
                      <a:pt x="64127" y="67261"/>
                    </a:cubicBezTo>
                    <a:cubicBezTo>
                      <a:pt x="44670" y="66969"/>
                      <a:pt x="30679" y="81398"/>
                      <a:pt x="30169" y="108871"/>
                    </a:cubicBezTo>
                    <a:cubicBezTo>
                      <a:pt x="29732" y="136198"/>
                      <a:pt x="43286" y="151209"/>
                      <a:pt x="62743" y="15150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00" name="Freeform 253">
                <a:extLst>
                  <a:ext uri="{FF2B5EF4-FFF2-40B4-BE49-F238E27FC236}">
                    <a16:creationId xmlns:a16="http://schemas.microsoft.com/office/drawing/2014/main" id="{CFAFEC54-0985-816C-CA0A-D2904D69B20D}"/>
                  </a:ext>
                </a:extLst>
              </p:cNvPr>
              <p:cNvSpPr/>
              <p:nvPr/>
            </p:nvSpPr>
            <p:spPr>
              <a:xfrm>
                <a:off x="6267743" y="4049354"/>
                <a:ext cx="138456" cy="182543"/>
              </a:xfrm>
              <a:custGeom>
                <a:avLst/>
                <a:gdLst>
                  <a:gd name="connsiteX0" fmla="*/ 30971 w 138456"/>
                  <a:gd name="connsiteY0" fmla="*/ 73 h 182543"/>
                  <a:gd name="connsiteX1" fmla="*/ 138457 w 138456"/>
                  <a:gd name="connsiteY1" fmla="*/ 20769 h 182543"/>
                  <a:gd name="connsiteX2" fmla="*/ 133428 w 138456"/>
                  <a:gd name="connsiteY2" fmla="*/ 46930 h 182543"/>
                  <a:gd name="connsiteX3" fmla="*/ 55674 w 138456"/>
                  <a:gd name="connsiteY3" fmla="*/ 31918 h 182543"/>
                  <a:gd name="connsiteX4" fmla="*/ 48023 w 138456"/>
                  <a:gd name="connsiteY4" fmla="*/ 71779 h 182543"/>
                  <a:gd name="connsiteX5" fmla="*/ 119073 w 138456"/>
                  <a:gd name="connsiteY5" fmla="*/ 85479 h 182543"/>
                  <a:gd name="connsiteX6" fmla="*/ 114118 w 138456"/>
                  <a:gd name="connsiteY6" fmla="*/ 111057 h 182543"/>
                  <a:gd name="connsiteX7" fmla="*/ 43068 w 138456"/>
                  <a:gd name="connsiteY7" fmla="*/ 97357 h 182543"/>
                  <a:gd name="connsiteX8" fmla="*/ 34760 w 138456"/>
                  <a:gd name="connsiteY8" fmla="*/ 140497 h 182543"/>
                  <a:gd name="connsiteX9" fmla="*/ 117105 w 138456"/>
                  <a:gd name="connsiteY9" fmla="*/ 156383 h 182543"/>
                  <a:gd name="connsiteX10" fmla="*/ 112077 w 138456"/>
                  <a:gd name="connsiteY10" fmla="*/ 182544 h 182543"/>
                  <a:gd name="connsiteX11" fmla="*/ 0 w 138456"/>
                  <a:gd name="connsiteY11" fmla="*/ 160901 h 182543"/>
                  <a:gd name="connsiteX12" fmla="*/ 31043 w 138456"/>
                  <a:gd name="connsiteY12" fmla="*/ 0 h 1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456" h="182543">
                    <a:moveTo>
                      <a:pt x="30971" y="73"/>
                    </a:moveTo>
                    <a:lnTo>
                      <a:pt x="138457" y="20769"/>
                    </a:lnTo>
                    <a:lnTo>
                      <a:pt x="133428" y="46930"/>
                    </a:lnTo>
                    <a:lnTo>
                      <a:pt x="55674" y="31918"/>
                    </a:lnTo>
                    <a:lnTo>
                      <a:pt x="48023" y="71779"/>
                    </a:lnTo>
                    <a:lnTo>
                      <a:pt x="119073" y="85479"/>
                    </a:lnTo>
                    <a:lnTo>
                      <a:pt x="114118" y="111057"/>
                    </a:lnTo>
                    <a:lnTo>
                      <a:pt x="43068" y="97357"/>
                    </a:lnTo>
                    <a:lnTo>
                      <a:pt x="34760" y="140497"/>
                    </a:lnTo>
                    <a:lnTo>
                      <a:pt x="117105" y="156383"/>
                    </a:lnTo>
                    <a:lnTo>
                      <a:pt x="112077" y="182544"/>
                    </a:lnTo>
                    <a:lnTo>
                      <a:pt x="0" y="160901"/>
                    </a:lnTo>
                    <a:lnTo>
                      <a:pt x="31043"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01" name="Freeform 254">
                <a:extLst>
                  <a:ext uri="{FF2B5EF4-FFF2-40B4-BE49-F238E27FC236}">
                    <a16:creationId xmlns:a16="http://schemas.microsoft.com/office/drawing/2014/main" id="{B0E8D8CE-C5B3-8219-9BD6-E5233A0081CA}"/>
                  </a:ext>
                </a:extLst>
              </p:cNvPr>
              <p:cNvSpPr/>
              <p:nvPr/>
            </p:nvSpPr>
            <p:spPr>
              <a:xfrm>
                <a:off x="6396581" y="4081345"/>
                <a:ext cx="160349" cy="198648"/>
              </a:xfrm>
              <a:custGeom>
                <a:avLst/>
                <a:gdLst>
                  <a:gd name="connsiteX0" fmla="*/ 52832 w 160349"/>
                  <a:gd name="connsiteY0" fmla="*/ 0 h 198648"/>
                  <a:gd name="connsiteX1" fmla="*/ 117396 w 160349"/>
                  <a:gd name="connsiteY1" fmla="*/ 22007 h 198648"/>
                  <a:gd name="connsiteX2" fmla="*/ 157039 w 160349"/>
                  <a:gd name="connsiteY2" fmla="*/ 88467 h 198648"/>
                  <a:gd name="connsiteX3" fmla="*/ 107267 w 160349"/>
                  <a:gd name="connsiteY3" fmla="*/ 121914 h 198648"/>
                  <a:gd name="connsiteX4" fmla="*/ 127671 w 160349"/>
                  <a:gd name="connsiteY4" fmla="*/ 198649 h 198648"/>
                  <a:gd name="connsiteX5" fmla="*/ 94369 w 160349"/>
                  <a:gd name="connsiteY5" fmla="*/ 187281 h 198648"/>
                  <a:gd name="connsiteX6" fmla="*/ 77900 w 160349"/>
                  <a:gd name="connsiteY6" fmla="*/ 116959 h 198648"/>
                  <a:gd name="connsiteX7" fmla="*/ 48387 w 160349"/>
                  <a:gd name="connsiteY7" fmla="*/ 106903 h 198648"/>
                  <a:gd name="connsiteX8" fmla="*/ 28639 w 160349"/>
                  <a:gd name="connsiteY8" fmla="*/ 164909 h 198648"/>
                  <a:gd name="connsiteX9" fmla="*/ 0 w 160349"/>
                  <a:gd name="connsiteY9" fmla="*/ 155144 h 198648"/>
                  <a:gd name="connsiteX10" fmla="*/ 52832 w 160349"/>
                  <a:gd name="connsiteY10" fmla="*/ 0 h 198648"/>
                  <a:gd name="connsiteX11" fmla="*/ 89924 w 160349"/>
                  <a:gd name="connsiteY11" fmla="*/ 93495 h 198648"/>
                  <a:gd name="connsiteX12" fmla="*/ 128035 w 160349"/>
                  <a:gd name="connsiteY12" fmla="*/ 79431 h 198648"/>
                  <a:gd name="connsiteX13" fmla="*/ 105445 w 160349"/>
                  <a:gd name="connsiteY13" fmla="*/ 45909 h 198648"/>
                  <a:gd name="connsiteX14" fmla="*/ 73017 w 160349"/>
                  <a:gd name="connsiteY14" fmla="*/ 34833 h 198648"/>
                  <a:gd name="connsiteX15" fmla="*/ 56913 w 160349"/>
                  <a:gd name="connsiteY15" fmla="*/ 82199 h 198648"/>
                  <a:gd name="connsiteX16" fmla="*/ 89997 w 160349"/>
                  <a:gd name="connsiteY16" fmla="*/ 93495 h 198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0349" h="198648">
                    <a:moveTo>
                      <a:pt x="52832" y="0"/>
                    </a:moveTo>
                    <a:lnTo>
                      <a:pt x="117396" y="22007"/>
                    </a:lnTo>
                    <a:cubicBezTo>
                      <a:pt x="154343" y="34614"/>
                      <a:pt x="167095" y="59099"/>
                      <a:pt x="157039" y="88467"/>
                    </a:cubicBezTo>
                    <a:cubicBezTo>
                      <a:pt x="149897" y="109381"/>
                      <a:pt x="131752" y="123591"/>
                      <a:pt x="107267" y="121914"/>
                    </a:cubicBezTo>
                    <a:lnTo>
                      <a:pt x="127671" y="198649"/>
                    </a:lnTo>
                    <a:lnTo>
                      <a:pt x="94369" y="187281"/>
                    </a:lnTo>
                    <a:lnTo>
                      <a:pt x="77900" y="116959"/>
                    </a:lnTo>
                    <a:lnTo>
                      <a:pt x="48387" y="106903"/>
                    </a:lnTo>
                    <a:lnTo>
                      <a:pt x="28639" y="164909"/>
                    </a:lnTo>
                    <a:lnTo>
                      <a:pt x="0" y="155144"/>
                    </a:lnTo>
                    <a:lnTo>
                      <a:pt x="52832" y="0"/>
                    </a:lnTo>
                    <a:close/>
                    <a:moveTo>
                      <a:pt x="89924" y="93495"/>
                    </a:moveTo>
                    <a:cubicBezTo>
                      <a:pt x="110474" y="100490"/>
                      <a:pt x="123299" y="93203"/>
                      <a:pt x="128035" y="79431"/>
                    </a:cubicBezTo>
                    <a:cubicBezTo>
                      <a:pt x="133501" y="63472"/>
                      <a:pt x="124611" y="52468"/>
                      <a:pt x="105445" y="45909"/>
                    </a:cubicBezTo>
                    <a:lnTo>
                      <a:pt x="73017" y="34833"/>
                    </a:lnTo>
                    <a:lnTo>
                      <a:pt x="56913" y="82199"/>
                    </a:lnTo>
                    <a:lnTo>
                      <a:pt x="89997" y="9349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02" name="Freeform 255">
                <a:extLst>
                  <a:ext uri="{FF2B5EF4-FFF2-40B4-BE49-F238E27FC236}">
                    <a16:creationId xmlns:a16="http://schemas.microsoft.com/office/drawing/2014/main" id="{F1A98654-EC72-53D9-91CE-B51900BAEDD8}"/>
                  </a:ext>
                </a:extLst>
              </p:cNvPr>
              <p:cNvSpPr/>
              <p:nvPr/>
            </p:nvSpPr>
            <p:spPr>
              <a:xfrm>
                <a:off x="6537005" y="4140881"/>
                <a:ext cx="170590" cy="159662"/>
              </a:xfrm>
              <a:custGeom>
                <a:avLst/>
                <a:gdLst>
                  <a:gd name="connsiteX0" fmla="*/ 74548 w 170590"/>
                  <a:gd name="connsiteY0" fmla="*/ 0 h 159662"/>
                  <a:gd name="connsiteX1" fmla="*/ 135105 w 170590"/>
                  <a:gd name="connsiteY1" fmla="*/ 30971 h 159662"/>
                  <a:gd name="connsiteX2" fmla="*/ 163743 w 170590"/>
                  <a:gd name="connsiteY2" fmla="*/ 104207 h 159662"/>
                  <a:gd name="connsiteX3" fmla="*/ 88248 w 170590"/>
                  <a:gd name="connsiteY3" fmla="*/ 126068 h 159662"/>
                  <a:gd name="connsiteX4" fmla="*/ 53269 w 170590"/>
                  <a:gd name="connsiteY4" fmla="*/ 108215 h 159662"/>
                  <a:gd name="connsiteX5" fmla="*/ 26963 w 170590"/>
                  <a:gd name="connsiteY5" fmla="*/ 159663 h 159662"/>
                  <a:gd name="connsiteX6" fmla="*/ 0 w 170590"/>
                  <a:gd name="connsiteY6" fmla="*/ 145890 h 159662"/>
                  <a:gd name="connsiteX7" fmla="*/ 74548 w 170590"/>
                  <a:gd name="connsiteY7" fmla="*/ 0 h 159662"/>
                  <a:gd name="connsiteX8" fmla="*/ 96482 w 170590"/>
                  <a:gd name="connsiteY8" fmla="*/ 100782 h 159662"/>
                  <a:gd name="connsiteX9" fmla="*/ 136562 w 170590"/>
                  <a:gd name="connsiteY9" fmla="*/ 90726 h 159662"/>
                  <a:gd name="connsiteX10" fmla="*/ 119874 w 170590"/>
                  <a:gd name="connsiteY10" fmla="*/ 53051 h 159662"/>
                  <a:gd name="connsiteX11" fmla="*/ 89487 w 170590"/>
                  <a:gd name="connsiteY11" fmla="*/ 37529 h 159662"/>
                  <a:gd name="connsiteX12" fmla="*/ 65293 w 170590"/>
                  <a:gd name="connsiteY12" fmla="*/ 84823 h 159662"/>
                  <a:gd name="connsiteX13" fmla="*/ 96555 w 170590"/>
                  <a:gd name="connsiteY13" fmla="*/ 100782 h 159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0590" h="159662">
                    <a:moveTo>
                      <a:pt x="74548" y="0"/>
                    </a:moveTo>
                    <a:lnTo>
                      <a:pt x="135105" y="30971"/>
                    </a:lnTo>
                    <a:cubicBezTo>
                      <a:pt x="170812" y="49189"/>
                      <a:pt x="177953" y="76515"/>
                      <a:pt x="163743" y="104207"/>
                    </a:cubicBezTo>
                    <a:cubicBezTo>
                      <a:pt x="150481" y="130077"/>
                      <a:pt x="122935" y="143777"/>
                      <a:pt x="88248" y="126068"/>
                    </a:cubicBezTo>
                    <a:lnTo>
                      <a:pt x="53269" y="108215"/>
                    </a:lnTo>
                    <a:lnTo>
                      <a:pt x="26963" y="159663"/>
                    </a:lnTo>
                    <a:lnTo>
                      <a:pt x="0" y="145890"/>
                    </a:lnTo>
                    <a:lnTo>
                      <a:pt x="74548" y="0"/>
                    </a:lnTo>
                    <a:close/>
                    <a:moveTo>
                      <a:pt x="96482" y="100782"/>
                    </a:moveTo>
                    <a:cubicBezTo>
                      <a:pt x="115356" y="110401"/>
                      <a:pt x="128910" y="105591"/>
                      <a:pt x="136562" y="90726"/>
                    </a:cubicBezTo>
                    <a:cubicBezTo>
                      <a:pt x="144214" y="75714"/>
                      <a:pt x="138602" y="62670"/>
                      <a:pt x="119874" y="53051"/>
                    </a:cubicBezTo>
                    <a:lnTo>
                      <a:pt x="89487" y="37529"/>
                    </a:lnTo>
                    <a:lnTo>
                      <a:pt x="65293" y="84823"/>
                    </a:lnTo>
                    <a:lnTo>
                      <a:pt x="96555" y="100782"/>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sp>
          <p:nvSpPr>
            <p:cNvPr id="1603" name="Freeform 256">
              <a:extLst>
                <a:ext uri="{FF2B5EF4-FFF2-40B4-BE49-F238E27FC236}">
                  <a16:creationId xmlns:a16="http://schemas.microsoft.com/office/drawing/2014/main" id="{1DE3F2AC-1EF5-7AD0-9A4B-6B6BBD46282E}"/>
                </a:ext>
              </a:extLst>
            </p:cNvPr>
            <p:cNvSpPr/>
            <p:nvPr/>
          </p:nvSpPr>
          <p:spPr>
            <a:xfrm>
              <a:off x="5244933" y="4330623"/>
              <a:ext cx="1765371" cy="976374"/>
            </a:xfrm>
            <a:custGeom>
              <a:avLst/>
              <a:gdLst>
                <a:gd name="connsiteX0" fmla="*/ 0 w 1765831"/>
                <a:gd name="connsiteY0" fmla="*/ 882916 h 976628"/>
                <a:gd name="connsiteX1" fmla="*/ 882916 w 1765831"/>
                <a:gd name="connsiteY1" fmla="*/ 0 h 976628"/>
                <a:gd name="connsiteX2" fmla="*/ 1765831 w 1765831"/>
                <a:gd name="connsiteY2" fmla="*/ 882916 h 976628"/>
                <a:gd name="connsiteX3" fmla="*/ 1765831 w 1765831"/>
                <a:gd name="connsiteY3" fmla="*/ 976629 h 976628"/>
                <a:gd name="connsiteX4" fmla="*/ 73 w 1765831"/>
                <a:gd name="connsiteY4" fmla="*/ 976629 h 976628"/>
                <a:gd name="connsiteX5" fmla="*/ 73 w 1765831"/>
                <a:gd name="connsiteY5" fmla="*/ 882916 h 976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5831" h="976628">
                  <a:moveTo>
                    <a:pt x="0" y="882916"/>
                  </a:moveTo>
                  <a:cubicBezTo>
                    <a:pt x="0" y="395330"/>
                    <a:pt x="395257" y="0"/>
                    <a:pt x="882916" y="0"/>
                  </a:cubicBezTo>
                  <a:cubicBezTo>
                    <a:pt x="1370574" y="0"/>
                    <a:pt x="1765831" y="395257"/>
                    <a:pt x="1765831" y="882916"/>
                  </a:cubicBezTo>
                  <a:lnTo>
                    <a:pt x="1765831" y="976629"/>
                  </a:lnTo>
                  <a:lnTo>
                    <a:pt x="73" y="976629"/>
                  </a:lnTo>
                  <a:lnTo>
                    <a:pt x="73" y="882916"/>
                  </a:lnTo>
                  <a:close/>
                </a:path>
              </a:pathLst>
            </a:custGeom>
            <a:solidFill>
              <a:srgbClr val="0070F2"/>
            </a:solidFill>
            <a:ln w="7285" cap="flat">
              <a:solidFill>
                <a:srgbClr val="0070F2"/>
              </a:solid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nvGrpSpPr>
            <p:cNvPr id="1604" name="Graphic 2">
              <a:extLst>
                <a:ext uri="{FF2B5EF4-FFF2-40B4-BE49-F238E27FC236}">
                  <a16:creationId xmlns:a16="http://schemas.microsoft.com/office/drawing/2014/main" id="{D6B112B8-0D4C-4F00-38F6-59855D1D2961}"/>
                </a:ext>
              </a:extLst>
            </p:cNvPr>
            <p:cNvGrpSpPr/>
            <p:nvPr/>
          </p:nvGrpSpPr>
          <p:grpSpPr>
            <a:xfrm>
              <a:off x="5768495" y="4718042"/>
              <a:ext cx="719054" cy="272117"/>
              <a:chOff x="5770028" y="4718172"/>
              <a:chExt cx="719245" cy="272176"/>
            </a:xfrm>
            <a:solidFill>
              <a:srgbClr val="FFFFFF"/>
            </a:solidFill>
          </p:grpSpPr>
          <p:sp>
            <p:nvSpPr>
              <p:cNvPr id="1605" name="Freeform 258">
                <a:extLst>
                  <a:ext uri="{FF2B5EF4-FFF2-40B4-BE49-F238E27FC236}">
                    <a16:creationId xmlns:a16="http://schemas.microsoft.com/office/drawing/2014/main" id="{74E3A221-C84D-26B5-4175-E73E9C6B14E0}"/>
                  </a:ext>
                </a:extLst>
              </p:cNvPr>
              <p:cNvSpPr/>
              <p:nvPr/>
            </p:nvSpPr>
            <p:spPr>
              <a:xfrm>
                <a:off x="5846836" y="4727573"/>
                <a:ext cx="75713" cy="95316"/>
              </a:xfrm>
              <a:custGeom>
                <a:avLst/>
                <a:gdLst>
                  <a:gd name="connsiteX0" fmla="*/ 0 w 75713"/>
                  <a:gd name="connsiteY0" fmla="*/ 0 h 95316"/>
                  <a:gd name="connsiteX1" fmla="*/ 38695 w 75713"/>
                  <a:gd name="connsiteY1" fmla="*/ 0 h 95316"/>
                  <a:gd name="connsiteX2" fmla="*/ 71997 w 75713"/>
                  <a:gd name="connsiteY2" fmla="*/ 23683 h 95316"/>
                  <a:gd name="connsiteX3" fmla="*/ 55455 w 75713"/>
                  <a:gd name="connsiteY3" fmla="*/ 45618 h 95316"/>
                  <a:gd name="connsiteX4" fmla="*/ 75714 w 75713"/>
                  <a:gd name="connsiteY4" fmla="*/ 68281 h 95316"/>
                  <a:gd name="connsiteX5" fmla="*/ 40444 w 75713"/>
                  <a:gd name="connsiteY5" fmla="*/ 95317 h 95316"/>
                  <a:gd name="connsiteX6" fmla="*/ 0 w 75713"/>
                  <a:gd name="connsiteY6" fmla="*/ 95317 h 95316"/>
                  <a:gd name="connsiteX7" fmla="*/ 0 w 75713"/>
                  <a:gd name="connsiteY7" fmla="*/ 73 h 95316"/>
                  <a:gd name="connsiteX8" fmla="*/ 36727 w 75713"/>
                  <a:gd name="connsiteY8" fmla="*/ 38986 h 95316"/>
                  <a:gd name="connsiteX9" fmla="*/ 53634 w 75713"/>
                  <a:gd name="connsiteY9" fmla="*/ 26234 h 95316"/>
                  <a:gd name="connsiteX10" fmla="*/ 37310 w 75713"/>
                  <a:gd name="connsiteY10" fmla="*/ 14793 h 95316"/>
                  <a:gd name="connsiteX11" fmla="*/ 17926 w 75713"/>
                  <a:gd name="connsiteY11" fmla="*/ 14793 h 95316"/>
                  <a:gd name="connsiteX12" fmla="*/ 17926 w 75713"/>
                  <a:gd name="connsiteY12" fmla="*/ 38986 h 95316"/>
                  <a:gd name="connsiteX13" fmla="*/ 36727 w 75713"/>
                  <a:gd name="connsiteY13" fmla="*/ 38986 h 95316"/>
                  <a:gd name="connsiteX14" fmla="*/ 39132 w 75713"/>
                  <a:gd name="connsiteY14" fmla="*/ 80450 h 95316"/>
                  <a:gd name="connsiteX15" fmla="*/ 57569 w 75713"/>
                  <a:gd name="connsiteY15" fmla="*/ 66678 h 95316"/>
                  <a:gd name="connsiteX16" fmla="*/ 38986 w 75713"/>
                  <a:gd name="connsiteY16" fmla="*/ 53342 h 95316"/>
                  <a:gd name="connsiteX17" fmla="*/ 17999 w 75713"/>
                  <a:gd name="connsiteY17" fmla="*/ 53342 h 95316"/>
                  <a:gd name="connsiteX18" fmla="*/ 17999 w 75713"/>
                  <a:gd name="connsiteY18" fmla="*/ 80450 h 95316"/>
                  <a:gd name="connsiteX19" fmla="*/ 39132 w 75713"/>
                  <a:gd name="connsiteY19" fmla="*/ 80450 h 95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713" h="95316">
                    <a:moveTo>
                      <a:pt x="0" y="0"/>
                    </a:moveTo>
                    <a:lnTo>
                      <a:pt x="38695" y="0"/>
                    </a:lnTo>
                    <a:cubicBezTo>
                      <a:pt x="60192" y="0"/>
                      <a:pt x="71997" y="7360"/>
                      <a:pt x="71997" y="23683"/>
                    </a:cubicBezTo>
                    <a:cubicBezTo>
                      <a:pt x="71997" y="34833"/>
                      <a:pt x="66167" y="42922"/>
                      <a:pt x="55455" y="45618"/>
                    </a:cubicBezTo>
                    <a:cubicBezTo>
                      <a:pt x="68135" y="47367"/>
                      <a:pt x="75714" y="55528"/>
                      <a:pt x="75714" y="68281"/>
                    </a:cubicBezTo>
                    <a:cubicBezTo>
                      <a:pt x="75714" y="87519"/>
                      <a:pt x="60119" y="95317"/>
                      <a:pt x="40444" y="95317"/>
                    </a:cubicBezTo>
                    <a:lnTo>
                      <a:pt x="0" y="95317"/>
                    </a:lnTo>
                    <a:lnTo>
                      <a:pt x="0" y="73"/>
                    </a:lnTo>
                    <a:close/>
                    <a:moveTo>
                      <a:pt x="36727" y="38986"/>
                    </a:moveTo>
                    <a:cubicBezTo>
                      <a:pt x="49043" y="38986"/>
                      <a:pt x="53634" y="34541"/>
                      <a:pt x="53634" y="26234"/>
                    </a:cubicBezTo>
                    <a:cubicBezTo>
                      <a:pt x="53634" y="17927"/>
                      <a:pt x="47876" y="14793"/>
                      <a:pt x="37310" y="14793"/>
                    </a:cubicBezTo>
                    <a:lnTo>
                      <a:pt x="17926" y="14793"/>
                    </a:lnTo>
                    <a:lnTo>
                      <a:pt x="17926" y="38986"/>
                    </a:lnTo>
                    <a:lnTo>
                      <a:pt x="36727" y="38986"/>
                    </a:lnTo>
                    <a:close/>
                    <a:moveTo>
                      <a:pt x="39132" y="80450"/>
                    </a:moveTo>
                    <a:cubicBezTo>
                      <a:pt x="49917" y="80450"/>
                      <a:pt x="57569" y="77463"/>
                      <a:pt x="57569" y="66678"/>
                    </a:cubicBezTo>
                    <a:cubicBezTo>
                      <a:pt x="57569" y="57641"/>
                      <a:pt x="50719" y="53342"/>
                      <a:pt x="38986" y="53342"/>
                    </a:cubicBezTo>
                    <a:lnTo>
                      <a:pt x="17999" y="53342"/>
                    </a:lnTo>
                    <a:lnTo>
                      <a:pt x="17999" y="80450"/>
                    </a:lnTo>
                    <a:lnTo>
                      <a:pt x="39132" y="80450"/>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06" name="Freeform 259">
                <a:extLst>
                  <a:ext uri="{FF2B5EF4-FFF2-40B4-BE49-F238E27FC236}">
                    <a16:creationId xmlns:a16="http://schemas.microsoft.com/office/drawing/2014/main" id="{80706C82-6708-07DC-58BF-6067E22F83F6}"/>
                  </a:ext>
                </a:extLst>
              </p:cNvPr>
              <p:cNvSpPr/>
              <p:nvPr/>
            </p:nvSpPr>
            <p:spPr>
              <a:xfrm>
                <a:off x="5936905" y="4748851"/>
                <a:ext cx="64127" cy="75349"/>
              </a:xfrm>
              <a:custGeom>
                <a:avLst/>
                <a:gdLst>
                  <a:gd name="connsiteX0" fmla="*/ 0 w 64127"/>
                  <a:gd name="connsiteY0" fmla="*/ 48751 h 75349"/>
                  <a:gd name="connsiteX1" fmla="*/ 0 w 64127"/>
                  <a:gd name="connsiteY1" fmla="*/ 0 h 75349"/>
                  <a:gd name="connsiteX2" fmla="*/ 17198 w 64127"/>
                  <a:gd name="connsiteY2" fmla="*/ 0 h 75349"/>
                  <a:gd name="connsiteX3" fmla="*/ 17198 w 64127"/>
                  <a:gd name="connsiteY3" fmla="*/ 44670 h 75349"/>
                  <a:gd name="connsiteX4" fmla="*/ 30533 w 64127"/>
                  <a:gd name="connsiteY4" fmla="*/ 60629 h 75349"/>
                  <a:gd name="connsiteX5" fmla="*/ 47075 w 64127"/>
                  <a:gd name="connsiteY5" fmla="*/ 41391 h 75349"/>
                  <a:gd name="connsiteX6" fmla="*/ 47075 w 64127"/>
                  <a:gd name="connsiteY6" fmla="*/ 0 h 75349"/>
                  <a:gd name="connsiteX7" fmla="*/ 64127 w 64127"/>
                  <a:gd name="connsiteY7" fmla="*/ 0 h 75349"/>
                  <a:gd name="connsiteX8" fmla="*/ 64127 w 64127"/>
                  <a:gd name="connsiteY8" fmla="*/ 73965 h 75349"/>
                  <a:gd name="connsiteX9" fmla="*/ 47658 w 64127"/>
                  <a:gd name="connsiteY9" fmla="*/ 73965 h 75349"/>
                  <a:gd name="connsiteX10" fmla="*/ 47658 w 64127"/>
                  <a:gd name="connsiteY10" fmla="*/ 58370 h 75349"/>
                  <a:gd name="connsiteX11" fmla="*/ 47294 w 64127"/>
                  <a:gd name="connsiteY11" fmla="*/ 58370 h 75349"/>
                  <a:gd name="connsiteX12" fmla="*/ 23027 w 64127"/>
                  <a:gd name="connsiteY12" fmla="*/ 75350 h 75349"/>
                  <a:gd name="connsiteX13" fmla="*/ 73 w 64127"/>
                  <a:gd name="connsiteY13" fmla="*/ 48751 h 75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127" h="75349">
                    <a:moveTo>
                      <a:pt x="0" y="48751"/>
                    </a:moveTo>
                    <a:lnTo>
                      <a:pt x="0" y="0"/>
                    </a:lnTo>
                    <a:lnTo>
                      <a:pt x="17198" y="0"/>
                    </a:lnTo>
                    <a:lnTo>
                      <a:pt x="17198" y="44670"/>
                    </a:lnTo>
                    <a:cubicBezTo>
                      <a:pt x="17198" y="54581"/>
                      <a:pt x="20550" y="60629"/>
                      <a:pt x="30533" y="60629"/>
                    </a:cubicBezTo>
                    <a:cubicBezTo>
                      <a:pt x="40517" y="60629"/>
                      <a:pt x="47075" y="53779"/>
                      <a:pt x="47075" y="41391"/>
                    </a:cubicBezTo>
                    <a:lnTo>
                      <a:pt x="47075" y="0"/>
                    </a:lnTo>
                    <a:lnTo>
                      <a:pt x="64127" y="0"/>
                    </a:lnTo>
                    <a:lnTo>
                      <a:pt x="64127" y="73965"/>
                    </a:lnTo>
                    <a:lnTo>
                      <a:pt x="47658" y="73965"/>
                    </a:lnTo>
                    <a:lnTo>
                      <a:pt x="47658" y="58370"/>
                    </a:lnTo>
                    <a:lnTo>
                      <a:pt x="47294" y="58370"/>
                    </a:lnTo>
                    <a:cubicBezTo>
                      <a:pt x="43942" y="66896"/>
                      <a:pt x="37237" y="75350"/>
                      <a:pt x="23027" y="75350"/>
                    </a:cubicBezTo>
                    <a:cubicBezTo>
                      <a:pt x="7214" y="75350"/>
                      <a:pt x="73" y="64565"/>
                      <a:pt x="73" y="48751"/>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07" name="Freeform 260">
                <a:extLst>
                  <a:ext uri="{FF2B5EF4-FFF2-40B4-BE49-F238E27FC236}">
                    <a16:creationId xmlns:a16="http://schemas.microsoft.com/office/drawing/2014/main" id="{81B44E7F-A372-0140-9882-0A7EB503C96C}"/>
                  </a:ext>
                </a:extLst>
              </p:cNvPr>
              <p:cNvSpPr/>
              <p:nvPr/>
            </p:nvSpPr>
            <p:spPr>
              <a:xfrm>
                <a:off x="6014878" y="4747467"/>
                <a:ext cx="60337" cy="76734"/>
              </a:xfrm>
              <a:custGeom>
                <a:avLst/>
                <a:gdLst>
                  <a:gd name="connsiteX0" fmla="*/ 0 w 60337"/>
                  <a:gd name="connsiteY0" fmla="*/ 65293 h 76734"/>
                  <a:gd name="connsiteX1" fmla="*/ 10275 w 60337"/>
                  <a:gd name="connsiteY1" fmla="*/ 55019 h 76734"/>
                  <a:gd name="connsiteX2" fmla="*/ 30315 w 60337"/>
                  <a:gd name="connsiteY2" fmla="*/ 63544 h 76734"/>
                  <a:gd name="connsiteX3" fmla="*/ 43723 w 60337"/>
                  <a:gd name="connsiteY3" fmla="*/ 55310 h 76734"/>
                  <a:gd name="connsiteX4" fmla="*/ 26817 w 60337"/>
                  <a:gd name="connsiteY4" fmla="*/ 44015 h 76734"/>
                  <a:gd name="connsiteX5" fmla="*/ 3498 w 60337"/>
                  <a:gd name="connsiteY5" fmla="*/ 21643 h 76734"/>
                  <a:gd name="connsiteX6" fmla="*/ 31553 w 60337"/>
                  <a:gd name="connsiteY6" fmla="*/ 0 h 76734"/>
                  <a:gd name="connsiteX7" fmla="*/ 59026 w 60337"/>
                  <a:gd name="connsiteY7" fmla="*/ 10056 h 76734"/>
                  <a:gd name="connsiteX8" fmla="*/ 49043 w 60337"/>
                  <a:gd name="connsiteY8" fmla="*/ 20040 h 76734"/>
                  <a:gd name="connsiteX9" fmla="*/ 31845 w 60337"/>
                  <a:gd name="connsiteY9" fmla="*/ 13044 h 76734"/>
                  <a:gd name="connsiteX10" fmla="*/ 20040 w 60337"/>
                  <a:gd name="connsiteY10" fmla="*/ 20914 h 76734"/>
                  <a:gd name="connsiteX11" fmla="*/ 36071 w 60337"/>
                  <a:gd name="connsiteY11" fmla="*/ 30752 h 76734"/>
                  <a:gd name="connsiteX12" fmla="*/ 60338 w 60337"/>
                  <a:gd name="connsiteY12" fmla="*/ 54071 h 76734"/>
                  <a:gd name="connsiteX13" fmla="*/ 30606 w 60337"/>
                  <a:gd name="connsiteY13" fmla="*/ 76734 h 76734"/>
                  <a:gd name="connsiteX14" fmla="*/ 72 w 60337"/>
                  <a:gd name="connsiteY14" fmla="*/ 65293 h 7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337" h="76734">
                    <a:moveTo>
                      <a:pt x="0" y="65293"/>
                    </a:moveTo>
                    <a:lnTo>
                      <a:pt x="10275" y="55019"/>
                    </a:lnTo>
                    <a:cubicBezTo>
                      <a:pt x="16177" y="61504"/>
                      <a:pt x="22517" y="63544"/>
                      <a:pt x="30315" y="63544"/>
                    </a:cubicBezTo>
                    <a:cubicBezTo>
                      <a:pt x="38112" y="63544"/>
                      <a:pt x="43723" y="61358"/>
                      <a:pt x="43723" y="55310"/>
                    </a:cubicBezTo>
                    <a:cubicBezTo>
                      <a:pt x="43723" y="48606"/>
                      <a:pt x="37456" y="46784"/>
                      <a:pt x="26817" y="44015"/>
                    </a:cubicBezTo>
                    <a:cubicBezTo>
                      <a:pt x="15376" y="41027"/>
                      <a:pt x="3498" y="36218"/>
                      <a:pt x="3498" y="21643"/>
                    </a:cubicBezTo>
                    <a:cubicBezTo>
                      <a:pt x="3498" y="7943"/>
                      <a:pt x="14064" y="0"/>
                      <a:pt x="31553" y="0"/>
                    </a:cubicBezTo>
                    <a:cubicBezTo>
                      <a:pt x="42994" y="0"/>
                      <a:pt x="52395" y="3498"/>
                      <a:pt x="59026" y="10056"/>
                    </a:cubicBezTo>
                    <a:lnTo>
                      <a:pt x="49043" y="20040"/>
                    </a:lnTo>
                    <a:cubicBezTo>
                      <a:pt x="44014" y="14866"/>
                      <a:pt x="37893" y="13044"/>
                      <a:pt x="31845" y="13044"/>
                    </a:cubicBezTo>
                    <a:cubicBezTo>
                      <a:pt x="24776" y="13044"/>
                      <a:pt x="20040" y="15449"/>
                      <a:pt x="20040" y="20914"/>
                    </a:cubicBezTo>
                    <a:cubicBezTo>
                      <a:pt x="20040" y="26380"/>
                      <a:pt x="26088" y="28129"/>
                      <a:pt x="36071" y="30752"/>
                    </a:cubicBezTo>
                    <a:cubicBezTo>
                      <a:pt x="47804" y="33740"/>
                      <a:pt x="60338" y="37748"/>
                      <a:pt x="60338" y="54071"/>
                    </a:cubicBezTo>
                    <a:cubicBezTo>
                      <a:pt x="60338" y="68427"/>
                      <a:pt x="48751" y="76734"/>
                      <a:pt x="30606" y="76734"/>
                    </a:cubicBezTo>
                    <a:cubicBezTo>
                      <a:pt x="17708" y="76734"/>
                      <a:pt x="7214" y="73091"/>
                      <a:pt x="72" y="65293"/>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08" name="Freeform 261">
                <a:extLst>
                  <a:ext uri="{FF2B5EF4-FFF2-40B4-BE49-F238E27FC236}">
                    <a16:creationId xmlns:a16="http://schemas.microsoft.com/office/drawing/2014/main" id="{CDEE2D94-9130-4D4F-143B-0C98A76B5B53}"/>
                  </a:ext>
                </a:extLst>
              </p:cNvPr>
              <p:cNvSpPr/>
              <p:nvPr/>
            </p:nvSpPr>
            <p:spPr>
              <a:xfrm>
                <a:off x="6089135" y="4718172"/>
                <a:ext cx="20476" cy="104643"/>
              </a:xfrm>
              <a:custGeom>
                <a:avLst/>
                <a:gdLst>
                  <a:gd name="connsiteX0" fmla="*/ 10202 w 20476"/>
                  <a:gd name="connsiteY0" fmla="*/ 0 h 104643"/>
                  <a:gd name="connsiteX1" fmla="*/ 20477 w 20476"/>
                  <a:gd name="connsiteY1" fmla="*/ 10056 h 104643"/>
                  <a:gd name="connsiteX2" fmla="*/ 10202 w 20476"/>
                  <a:gd name="connsiteY2" fmla="*/ 20040 h 104643"/>
                  <a:gd name="connsiteX3" fmla="*/ 0 w 20476"/>
                  <a:gd name="connsiteY3" fmla="*/ 10056 h 104643"/>
                  <a:gd name="connsiteX4" fmla="*/ 10202 w 20476"/>
                  <a:gd name="connsiteY4" fmla="*/ 0 h 104643"/>
                  <a:gd name="connsiteX5" fmla="*/ 1676 w 20476"/>
                  <a:gd name="connsiteY5" fmla="*/ 30679 h 104643"/>
                  <a:gd name="connsiteX6" fmla="*/ 18801 w 20476"/>
                  <a:gd name="connsiteY6" fmla="*/ 30679 h 104643"/>
                  <a:gd name="connsiteX7" fmla="*/ 18801 w 20476"/>
                  <a:gd name="connsiteY7" fmla="*/ 104644 h 104643"/>
                  <a:gd name="connsiteX8" fmla="*/ 1676 w 20476"/>
                  <a:gd name="connsiteY8" fmla="*/ 104644 h 104643"/>
                  <a:gd name="connsiteX9" fmla="*/ 1676 w 20476"/>
                  <a:gd name="connsiteY9" fmla="*/ 30679 h 104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76" h="104643">
                    <a:moveTo>
                      <a:pt x="10202" y="0"/>
                    </a:moveTo>
                    <a:cubicBezTo>
                      <a:pt x="16177" y="0"/>
                      <a:pt x="20477" y="4154"/>
                      <a:pt x="20477" y="10056"/>
                    </a:cubicBezTo>
                    <a:cubicBezTo>
                      <a:pt x="20477" y="15959"/>
                      <a:pt x="16177" y="20040"/>
                      <a:pt x="10202" y="20040"/>
                    </a:cubicBezTo>
                    <a:cubicBezTo>
                      <a:pt x="4226" y="20040"/>
                      <a:pt x="0" y="15959"/>
                      <a:pt x="0" y="10056"/>
                    </a:cubicBezTo>
                    <a:cubicBezTo>
                      <a:pt x="0" y="4154"/>
                      <a:pt x="4226" y="0"/>
                      <a:pt x="10202" y="0"/>
                    </a:cubicBezTo>
                    <a:close/>
                    <a:moveTo>
                      <a:pt x="1676" y="30679"/>
                    </a:moveTo>
                    <a:lnTo>
                      <a:pt x="18801" y="30679"/>
                    </a:lnTo>
                    <a:lnTo>
                      <a:pt x="18801" y="104644"/>
                    </a:lnTo>
                    <a:lnTo>
                      <a:pt x="1676" y="104644"/>
                    </a:lnTo>
                    <a:lnTo>
                      <a:pt x="1676" y="30679"/>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09" name="Freeform 262">
                <a:extLst>
                  <a:ext uri="{FF2B5EF4-FFF2-40B4-BE49-F238E27FC236}">
                    <a16:creationId xmlns:a16="http://schemas.microsoft.com/office/drawing/2014/main" id="{76AF7DFF-FC10-1E64-07A5-C0D35B1928AF}"/>
                  </a:ext>
                </a:extLst>
              </p:cNvPr>
              <p:cNvSpPr/>
              <p:nvPr/>
            </p:nvSpPr>
            <p:spPr>
              <a:xfrm>
                <a:off x="6128485" y="4747394"/>
                <a:ext cx="64127" cy="75422"/>
              </a:xfrm>
              <a:custGeom>
                <a:avLst/>
                <a:gdLst>
                  <a:gd name="connsiteX0" fmla="*/ 73 w 64127"/>
                  <a:gd name="connsiteY0" fmla="*/ 1457 h 75422"/>
                  <a:gd name="connsiteX1" fmla="*/ 16615 w 64127"/>
                  <a:gd name="connsiteY1" fmla="*/ 1457 h 75422"/>
                  <a:gd name="connsiteX2" fmla="*/ 16615 w 64127"/>
                  <a:gd name="connsiteY2" fmla="*/ 16979 h 75422"/>
                  <a:gd name="connsiteX3" fmla="*/ 16906 w 64127"/>
                  <a:gd name="connsiteY3" fmla="*/ 16979 h 75422"/>
                  <a:gd name="connsiteX4" fmla="*/ 41173 w 64127"/>
                  <a:gd name="connsiteY4" fmla="*/ 0 h 75422"/>
                  <a:gd name="connsiteX5" fmla="*/ 64127 w 64127"/>
                  <a:gd name="connsiteY5" fmla="*/ 26598 h 75422"/>
                  <a:gd name="connsiteX6" fmla="*/ 64127 w 64127"/>
                  <a:gd name="connsiteY6" fmla="*/ 75422 h 75422"/>
                  <a:gd name="connsiteX7" fmla="*/ 47002 w 64127"/>
                  <a:gd name="connsiteY7" fmla="*/ 75422 h 75422"/>
                  <a:gd name="connsiteX8" fmla="*/ 47002 w 64127"/>
                  <a:gd name="connsiteY8" fmla="*/ 30752 h 75422"/>
                  <a:gd name="connsiteX9" fmla="*/ 33594 w 64127"/>
                  <a:gd name="connsiteY9" fmla="*/ 14793 h 75422"/>
                  <a:gd name="connsiteX10" fmla="*/ 17125 w 64127"/>
                  <a:gd name="connsiteY10" fmla="*/ 33958 h 75422"/>
                  <a:gd name="connsiteX11" fmla="*/ 17125 w 64127"/>
                  <a:gd name="connsiteY11" fmla="*/ 75422 h 75422"/>
                  <a:gd name="connsiteX12" fmla="*/ 0 w 64127"/>
                  <a:gd name="connsiteY12" fmla="*/ 75422 h 75422"/>
                  <a:gd name="connsiteX13" fmla="*/ 0 w 64127"/>
                  <a:gd name="connsiteY13" fmla="*/ 1457 h 75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127" h="75422">
                    <a:moveTo>
                      <a:pt x="73" y="1457"/>
                    </a:moveTo>
                    <a:lnTo>
                      <a:pt x="16615" y="1457"/>
                    </a:lnTo>
                    <a:lnTo>
                      <a:pt x="16615" y="16979"/>
                    </a:lnTo>
                    <a:lnTo>
                      <a:pt x="16906" y="16979"/>
                    </a:lnTo>
                    <a:cubicBezTo>
                      <a:pt x="20259" y="8526"/>
                      <a:pt x="27036" y="0"/>
                      <a:pt x="41173" y="0"/>
                    </a:cubicBezTo>
                    <a:cubicBezTo>
                      <a:pt x="57059" y="0"/>
                      <a:pt x="64127" y="10785"/>
                      <a:pt x="64127" y="26598"/>
                    </a:cubicBezTo>
                    <a:lnTo>
                      <a:pt x="64127" y="75422"/>
                    </a:lnTo>
                    <a:lnTo>
                      <a:pt x="47002" y="75422"/>
                    </a:lnTo>
                    <a:lnTo>
                      <a:pt x="47002" y="30752"/>
                    </a:lnTo>
                    <a:cubicBezTo>
                      <a:pt x="47002" y="20841"/>
                      <a:pt x="43577" y="14793"/>
                      <a:pt x="33594" y="14793"/>
                    </a:cubicBezTo>
                    <a:cubicBezTo>
                      <a:pt x="23610" y="14793"/>
                      <a:pt x="17125" y="21570"/>
                      <a:pt x="17125" y="33958"/>
                    </a:cubicBezTo>
                    <a:lnTo>
                      <a:pt x="17125" y="75422"/>
                    </a:lnTo>
                    <a:lnTo>
                      <a:pt x="0" y="75422"/>
                    </a:lnTo>
                    <a:lnTo>
                      <a:pt x="0" y="1457"/>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10" name="Freeform 263">
                <a:extLst>
                  <a:ext uri="{FF2B5EF4-FFF2-40B4-BE49-F238E27FC236}">
                    <a16:creationId xmlns:a16="http://schemas.microsoft.com/office/drawing/2014/main" id="{CC1D11A5-0B4A-CEC6-22BF-964E0B875662}"/>
                  </a:ext>
                </a:extLst>
              </p:cNvPr>
              <p:cNvSpPr/>
              <p:nvPr/>
            </p:nvSpPr>
            <p:spPr>
              <a:xfrm>
                <a:off x="6208061" y="4747394"/>
                <a:ext cx="70685" cy="76733"/>
              </a:xfrm>
              <a:custGeom>
                <a:avLst/>
                <a:gdLst>
                  <a:gd name="connsiteX0" fmla="*/ 73 w 70685"/>
                  <a:gd name="connsiteY0" fmla="*/ 38403 h 76733"/>
                  <a:gd name="connsiteX1" fmla="*/ 37165 w 70685"/>
                  <a:gd name="connsiteY1" fmla="*/ 0 h 76733"/>
                  <a:gd name="connsiteX2" fmla="*/ 70686 w 70685"/>
                  <a:gd name="connsiteY2" fmla="*/ 36071 h 76733"/>
                  <a:gd name="connsiteX3" fmla="*/ 70394 w 70685"/>
                  <a:gd name="connsiteY3" fmla="*/ 42557 h 76733"/>
                  <a:gd name="connsiteX4" fmla="*/ 18073 w 70685"/>
                  <a:gd name="connsiteY4" fmla="*/ 42557 h 76733"/>
                  <a:gd name="connsiteX5" fmla="*/ 39424 w 70685"/>
                  <a:gd name="connsiteY5" fmla="*/ 63325 h 76733"/>
                  <a:gd name="connsiteX6" fmla="*/ 58298 w 70685"/>
                  <a:gd name="connsiteY6" fmla="*/ 55091 h 76733"/>
                  <a:gd name="connsiteX7" fmla="*/ 68208 w 70685"/>
                  <a:gd name="connsiteY7" fmla="*/ 65002 h 76733"/>
                  <a:gd name="connsiteX8" fmla="*/ 38622 w 70685"/>
                  <a:gd name="connsiteY8" fmla="*/ 76734 h 76733"/>
                  <a:gd name="connsiteX9" fmla="*/ 0 w 70685"/>
                  <a:gd name="connsiteY9" fmla="*/ 38403 h 76733"/>
                  <a:gd name="connsiteX10" fmla="*/ 53707 w 70685"/>
                  <a:gd name="connsiteY10" fmla="*/ 31990 h 76733"/>
                  <a:gd name="connsiteX11" fmla="*/ 36801 w 70685"/>
                  <a:gd name="connsiteY11" fmla="*/ 13190 h 76733"/>
                  <a:gd name="connsiteX12" fmla="*/ 18437 w 70685"/>
                  <a:gd name="connsiteY12" fmla="*/ 31990 h 76733"/>
                  <a:gd name="connsiteX13" fmla="*/ 53707 w 70685"/>
                  <a:gd name="connsiteY13" fmla="*/ 31990 h 76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685" h="76733">
                    <a:moveTo>
                      <a:pt x="73" y="38403"/>
                    </a:moveTo>
                    <a:cubicBezTo>
                      <a:pt x="73" y="12607"/>
                      <a:pt x="17052" y="0"/>
                      <a:pt x="37165" y="0"/>
                    </a:cubicBezTo>
                    <a:cubicBezTo>
                      <a:pt x="61869" y="0"/>
                      <a:pt x="70686" y="18145"/>
                      <a:pt x="70686" y="36071"/>
                    </a:cubicBezTo>
                    <a:cubicBezTo>
                      <a:pt x="70686" y="38258"/>
                      <a:pt x="70540" y="40444"/>
                      <a:pt x="70394" y="42557"/>
                    </a:cubicBezTo>
                    <a:lnTo>
                      <a:pt x="18073" y="42557"/>
                    </a:lnTo>
                    <a:cubicBezTo>
                      <a:pt x="19311" y="56621"/>
                      <a:pt x="26598" y="63325"/>
                      <a:pt x="39424" y="63325"/>
                    </a:cubicBezTo>
                    <a:cubicBezTo>
                      <a:pt x="47731" y="63325"/>
                      <a:pt x="53269" y="60921"/>
                      <a:pt x="58298" y="55091"/>
                    </a:cubicBezTo>
                    <a:lnTo>
                      <a:pt x="68208" y="65002"/>
                    </a:lnTo>
                    <a:cubicBezTo>
                      <a:pt x="61285" y="72799"/>
                      <a:pt x="52832" y="76734"/>
                      <a:pt x="38622" y="76734"/>
                    </a:cubicBezTo>
                    <a:cubicBezTo>
                      <a:pt x="14866" y="76734"/>
                      <a:pt x="0" y="63107"/>
                      <a:pt x="0" y="38403"/>
                    </a:cubicBezTo>
                    <a:close/>
                    <a:moveTo>
                      <a:pt x="53707" y="31990"/>
                    </a:moveTo>
                    <a:cubicBezTo>
                      <a:pt x="52760" y="18947"/>
                      <a:pt x="46420" y="13190"/>
                      <a:pt x="36801" y="13190"/>
                    </a:cubicBezTo>
                    <a:cubicBezTo>
                      <a:pt x="27182" y="13190"/>
                      <a:pt x="20113" y="18947"/>
                      <a:pt x="18437" y="31990"/>
                    </a:cubicBezTo>
                    <a:lnTo>
                      <a:pt x="53707" y="31990"/>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11" name="Freeform 264">
                <a:extLst>
                  <a:ext uri="{FF2B5EF4-FFF2-40B4-BE49-F238E27FC236}">
                    <a16:creationId xmlns:a16="http://schemas.microsoft.com/office/drawing/2014/main" id="{DEC37785-106F-9311-295A-D4CBFAB9CE09}"/>
                  </a:ext>
                </a:extLst>
              </p:cNvPr>
              <p:cNvSpPr/>
              <p:nvPr/>
            </p:nvSpPr>
            <p:spPr>
              <a:xfrm>
                <a:off x="6288002" y="4747467"/>
                <a:ext cx="60410" cy="76734"/>
              </a:xfrm>
              <a:custGeom>
                <a:avLst/>
                <a:gdLst>
                  <a:gd name="connsiteX0" fmla="*/ 0 w 60410"/>
                  <a:gd name="connsiteY0" fmla="*/ 65293 h 76734"/>
                  <a:gd name="connsiteX1" fmla="*/ 10275 w 60410"/>
                  <a:gd name="connsiteY1" fmla="*/ 55019 h 76734"/>
                  <a:gd name="connsiteX2" fmla="*/ 30315 w 60410"/>
                  <a:gd name="connsiteY2" fmla="*/ 63544 h 76734"/>
                  <a:gd name="connsiteX3" fmla="*/ 43723 w 60410"/>
                  <a:gd name="connsiteY3" fmla="*/ 55310 h 76734"/>
                  <a:gd name="connsiteX4" fmla="*/ 26817 w 60410"/>
                  <a:gd name="connsiteY4" fmla="*/ 44015 h 76734"/>
                  <a:gd name="connsiteX5" fmla="*/ 3498 w 60410"/>
                  <a:gd name="connsiteY5" fmla="*/ 21643 h 76734"/>
                  <a:gd name="connsiteX6" fmla="*/ 31554 w 60410"/>
                  <a:gd name="connsiteY6" fmla="*/ 0 h 76734"/>
                  <a:gd name="connsiteX7" fmla="*/ 59026 w 60410"/>
                  <a:gd name="connsiteY7" fmla="*/ 10056 h 76734"/>
                  <a:gd name="connsiteX8" fmla="*/ 49043 w 60410"/>
                  <a:gd name="connsiteY8" fmla="*/ 20040 h 76734"/>
                  <a:gd name="connsiteX9" fmla="*/ 31845 w 60410"/>
                  <a:gd name="connsiteY9" fmla="*/ 13044 h 76734"/>
                  <a:gd name="connsiteX10" fmla="*/ 20113 w 60410"/>
                  <a:gd name="connsiteY10" fmla="*/ 20914 h 76734"/>
                  <a:gd name="connsiteX11" fmla="*/ 36145 w 60410"/>
                  <a:gd name="connsiteY11" fmla="*/ 30752 h 76734"/>
                  <a:gd name="connsiteX12" fmla="*/ 60411 w 60410"/>
                  <a:gd name="connsiteY12" fmla="*/ 54071 h 76734"/>
                  <a:gd name="connsiteX13" fmla="*/ 30679 w 60410"/>
                  <a:gd name="connsiteY13" fmla="*/ 76734 h 76734"/>
                  <a:gd name="connsiteX14" fmla="*/ 146 w 60410"/>
                  <a:gd name="connsiteY14" fmla="*/ 65293 h 7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410" h="76734">
                    <a:moveTo>
                      <a:pt x="0" y="65293"/>
                    </a:moveTo>
                    <a:lnTo>
                      <a:pt x="10275" y="55019"/>
                    </a:lnTo>
                    <a:cubicBezTo>
                      <a:pt x="16177" y="61504"/>
                      <a:pt x="22517" y="63544"/>
                      <a:pt x="30315" y="63544"/>
                    </a:cubicBezTo>
                    <a:cubicBezTo>
                      <a:pt x="38112" y="63544"/>
                      <a:pt x="43723" y="61358"/>
                      <a:pt x="43723" y="55310"/>
                    </a:cubicBezTo>
                    <a:cubicBezTo>
                      <a:pt x="43723" y="48606"/>
                      <a:pt x="37456" y="46784"/>
                      <a:pt x="26817" y="44015"/>
                    </a:cubicBezTo>
                    <a:cubicBezTo>
                      <a:pt x="15376" y="41027"/>
                      <a:pt x="3498" y="36218"/>
                      <a:pt x="3498" y="21643"/>
                    </a:cubicBezTo>
                    <a:cubicBezTo>
                      <a:pt x="3498" y="7943"/>
                      <a:pt x="14064" y="0"/>
                      <a:pt x="31554" y="0"/>
                    </a:cubicBezTo>
                    <a:cubicBezTo>
                      <a:pt x="42995" y="0"/>
                      <a:pt x="52395" y="3498"/>
                      <a:pt x="59026" y="10056"/>
                    </a:cubicBezTo>
                    <a:lnTo>
                      <a:pt x="49043" y="20040"/>
                    </a:lnTo>
                    <a:cubicBezTo>
                      <a:pt x="44014" y="14866"/>
                      <a:pt x="37893" y="13044"/>
                      <a:pt x="31845" y="13044"/>
                    </a:cubicBezTo>
                    <a:cubicBezTo>
                      <a:pt x="24777" y="13044"/>
                      <a:pt x="20113" y="15449"/>
                      <a:pt x="20113" y="20914"/>
                    </a:cubicBezTo>
                    <a:cubicBezTo>
                      <a:pt x="20113" y="26380"/>
                      <a:pt x="26161" y="28129"/>
                      <a:pt x="36145" y="30752"/>
                    </a:cubicBezTo>
                    <a:cubicBezTo>
                      <a:pt x="47804" y="33740"/>
                      <a:pt x="60411" y="37748"/>
                      <a:pt x="60411" y="54071"/>
                    </a:cubicBezTo>
                    <a:cubicBezTo>
                      <a:pt x="60411" y="68427"/>
                      <a:pt x="48824" y="76734"/>
                      <a:pt x="30679" y="76734"/>
                    </a:cubicBezTo>
                    <a:cubicBezTo>
                      <a:pt x="17781" y="76734"/>
                      <a:pt x="7287" y="73091"/>
                      <a:pt x="146" y="65293"/>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12" name="Freeform 265">
                <a:extLst>
                  <a:ext uri="{FF2B5EF4-FFF2-40B4-BE49-F238E27FC236}">
                    <a16:creationId xmlns:a16="http://schemas.microsoft.com/office/drawing/2014/main" id="{A67CE5C6-3A35-A30E-D08A-662BAF93DC81}"/>
                  </a:ext>
                </a:extLst>
              </p:cNvPr>
              <p:cNvSpPr/>
              <p:nvPr/>
            </p:nvSpPr>
            <p:spPr>
              <a:xfrm>
                <a:off x="6357303" y="4747467"/>
                <a:ext cx="60337" cy="76734"/>
              </a:xfrm>
              <a:custGeom>
                <a:avLst/>
                <a:gdLst>
                  <a:gd name="connsiteX0" fmla="*/ 0 w 60337"/>
                  <a:gd name="connsiteY0" fmla="*/ 65293 h 76734"/>
                  <a:gd name="connsiteX1" fmla="*/ 10275 w 60337"/>
                  <a:gd name="connsiteY1" fmla="*/ 55019 h 76734"/>
                  <a:gd name="connsiteX2" fmla="*/ 30315 w 60337"/>
                  <a:gd name="connsiteY2" fmla="*/ 63544 h 76734"/>
                  <a:gd name="connsiteX3" fmla="*/ 43723 w 60337"/>
                  <a:gd name="connsiteY3" fmla="*/ 55310 h 76734"/>
                  <a:gd name="connsiteX4" fmla="*/ 26817 w 60337"/>
                  <a:gd name="connsiteY4" fmla="*/ 44015 h 76734"/>
                  <a:gd name="connsiteX5" fmla="*/ 3498 w 60337"/>
                  <a:gd name="connsiteY5" fmla="*/ 21643 h 76734"/>
                  <a:gd name="connsiteX6" fmla="*/ 31553 w 60337"/>
                  <a:gd name="connsiteY6" fmla="*/ 0 h 76734"/>
                  <a:gd name="connsiteX7" fmla="*/ 59026 w 60337"/>
                  <a:gd name="connsiteY7" fmla="*/ 10056 h 76734"/>
                  <a:gd name="connsiteX8" fmla="*/ 49043 w 60337"/>
                  <a:gd name="connsiteY8" fmla="*/ 20040 h 76734"/>
                  <a:gd name="connsiteX9" fmla="*/ 31845 w 60337"/>
                  <a:gd name="connsiteY9" fmla="*/ 13044 h 76734"/>
                  <a:gd name="connsiteX10" fmla="*/ 20040 w 60337"/>
                  <a:gd name="connsiteY10" fmla="*/ 20914 h 76734"/>
                  <a:gd name="connsiteX11" fmla="*/ 36072 w 60337"/>
                  <a:gd name="connsiteY11" fmla="*/ 30752 h 76734"/>
                  <a:gd name="connsiteX12" fmla="*/ 60338 w 60337"/>
                  <a:gd name="connsiteY12" fmla="*/ 54071 h 76734"/>
                  <a:gd name="connsiteX13" fmla="*/ 30606 w 60337"/>
                  <a:gd name="connsiteY13" fmla="*/ 76734 h 76734"/>
                  <a:gd name="connsiteX14" fmla="*/ 73 w 60337"/>
                  <a:gd name="connsiteY14" fmla="*/ 65293 h 7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337" h="76734">
                    <a:moveTo>
                      <a:pt x="0" y="65293"/>
                    </a:moveTo>
                    <a:lnTo>
                      <a:pt x="10275" y="55019"/>
                    </a:lnTo>
                    <a:cubicBezTo>
                      <a:pt x="16177" y="61504"/>
                      <a:pt x="22517" y="63544"/>
                      <a:pt x="30315" y="63544"/>
                    </a:cubicBezTo>
                    <a:cubicBezTo>
                      <a:pt x="38112" y="63544"/>
                      <a:pt x="43723" y="61358"/>
                      <a:pt x="43723" y="55310"/>
                    </a:cubicBezTo>
                    <a:cubicBezTo>
                      <a:pt x="43723" y="48606"/>
                      <a:pt x="37456" y="46784"/>
                      <a:pt x="26817" y="44015"/>
                    </a:cubicBezTo>
                    <a:cubicBezTo>
                      <a:pt x="15376" y="41027"/>
                      <a:pt x="3498" y="36218"/>
                      <a:pt x="3498" y="21643"/>
                    </a:cubicBezTo>
                    <a:cubicBezTo>
                      <a:pt x="3498" y="7943"/>
                      <a:pt x="14064" y="0"/>
                      <a:pt x="31553" y="0"/>
                    </a:cubicBezTo>
                    <a:cubicBezTo>
                      <a:pt x="42994" y="0"/>
                      <a:pt x="52395" y="3498"/>
                      <a:pt x="59026" y="10056"/>
                    </a:cubicBezTo>
                    <a:lnTo>
                      <a:pt x="49043" y="20040"/>
                    </a:lnTo>
                    <a:cubicBezTo>
                      <a:pt x="44014" y="14866"/>
                      <a:pt x="37893" y="13044"/>
                      <a:pt x="31845" y="13044"/>
                    </a:cubicBezTo>
                    <a:cubicBezTo>
                      <a:pt x="24776" y="13044"/>
                      <a:pt x="20040" y="15449"/>
                      <a:pt x="20040" y="20914"/>
                    </a:cubicBezTo>
                    <a:cubicBezTo>
                      <a:pt x="20040" y="26380"/>
                      <a:pt x="26088" y="28129"/>
                      <a:pt x="36072" y="30752"/>
                    </a:cubicBezTo>
                    <a:cubicBezTo>
                      <a:pt x="47804" y="33740"/>
                      <a:pt x="60338" y="37748"/>
                      <a:pt x="60338" y="54071"/>
                    </a:cubicBezTo>
                    <a:cubicBezTo>
                      <a:pt x="60338" y="68427"/>
                      <a:pt x="48751" y="76734"/>
                      <a:pt x="30606" y="76734"/>
                    </a:cubicBezTo>
                    <a:cubicBezTo>
                      <a:pt x="17708" y="76734"/>
                      <a:pt x="7214" y="73091"/>
                      <a:pt x="73" y="65293"/>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13" name="Freeform 266">
                <a:extLst>
                  <a:ext uri="{FF2B5EF4-FFF2-40B4-BE49-F238E27FC236}">
                    <a16:creationId xmlns:a16="http://schemas.microsoft.com/office/drawing/2014/main" id="{EA46B51C-4CFF-2EE0-5C0D-1880F230B3F2}"/>
                  </a:ext>
                </a:extLst>
              </p:cNvPr>
              <p:cNvSpPr/>
              <p:nvPr/>
            </p:nvSpPr>
            <p:spPr>
              <a:xfrm>
                <a:off x="5770028" y="4893721"/>
                <a:ext cx="83802" cy="95243"/>
              </a:xfrm>
              <a:custGeom>
                <a:avLst/>
                <a:gdLst>
                  <a:gd name="connsiteX0" fmla="*/ 0 w 83802"/>
                  <a:gd name="connsiteY0" fmla="*/ 0 h 95243"/>
                  <a:gd name="connsiteX1" fmla="*/ 35780 w 83802"/>
                  <a:gd name="connsiteY1" fmla="*/ 0 h 95243"/>
                  <a:gd name="connsiteX2" fmla="*/ 83803 w 83802"/>
                  <a:gd name="connsiteY2" fmla="*/ 47586 h 95243"/>
                  <a:gd name="connsiteX3" fmla="*/ 35780 w 83802"/>
                  <a:gd name="connsiteY3" fmla="*/ 95244 h 95243"/>
                  <a:gd name="connsiteX4" fmla="*/ 0 w 83802"/>
                  <a:gd name="connsiteY4" fmla="*/ 95244 h 95243"/>
                  <a:gd name="connsiteX5" fmla="*/ 0 w 83802"/>
                  <a:gd name="connsiteY5" fmla="*/ 0 h 95243"/>
                  <a:gd name="connsiteX6" fmla="*/ 35197 w 83802"/>
                  <a:gd name="connsiteY6" fmla="*/ 79576 h 95243"/>
                  <a:gd name="connsiteX7" fmla="*/ 65147 w 83802"/>
                  <a:gd name="connsiteY7" fmla="*/ 47586 h 95243"/>
                  <a:gd name="connsiteX8" fmla="*/ 35197 w 83802"/>
                  <a:gd name="connsiteY8" fmla="*/ 15668 h 95243"/>
                  <a:gd name="connsiteX9" fmla="*/ 17927 w 83802"/>
                  <a:gd name="connsiteY9" fmla="*/ 15668 h 95243"/>
                  <a:gd name="connsiteX10" fmla="*/ 17927 w 83802"/>
                  <a:gd name="connsiteY10" fmla="*/ 79576 h 95243"/>
                  <a:gd name="connsiteX11" fmla="*/ 35197 w 83802"/>
                  <a:gd name="connsiteY11" fmla="*/ 79576 h 95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802" h="95243">
                    <a:moveTo>
                      <a:pt x="0" y="0"/>
                    </a:moveTo>
                    <a:lnTo>
                      <a:pt x="35780" y="0"/>
                    </a:lnTo>
                    <a:cubicBezTo>
                      <a:pt x="63982" y="0"/>
                      <a:pt x="83803" y="16469"/>
                      <a:pt x="83803" y="47586"/>
                    </a:cubicBezTo>
                    <a:cubicBezTo>
                      <a:pt x="83803" y="78702"/>
                      <a:pt x="63982" y="95244"/>
                      <a:pt x="35780" y="95244"/>
                    </a:cubicBezTo>
                    <a:lnTo>
                      <a:pt x="0" y="95244"/>
                    </a:lnTo>
                    <a:lnTo>
                      <a:pt x="0" y="0"/>
                    </a:lnTo>
                    <a:close/>
                    <a:moveTo>
                      <a:pt x="35197" y="79576"/>
                    </a:moveTo>
                    <a:cubicBezTo>
                      <a:pt x="53269" y="79576"/>
                      <a:pt x="65147" y="69665"/>
                      <a:pt x="65147" y="47586"/>
                    </a:cubicBezTo>
                    <a:cubicBezTo>
                      <a:pt x="65147" y="25505"/>
                      <a:pt x="53269" y="15668"/>
                      <a:pt x="35197" y="15668"/>
                    </a:cubicBezTo>
                    <a:lnTo>
                      <a:pt x="17927" y="15668"/>
                    </a:lnTo>
                    <a:lnTo>
                      <a:pt x="17927" y="79576"/>
                    </a:lnTo>
                    <a:lnTo>
                      <a:pt x="35197" y="79576"/>
                    </a:ln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14" name="Freeform 267">
                <a:extLst>
                  <a:ext uri="{FF2B5EF4-FFF2-40B4-BE49-F238E27FC236}">
                    <a16:creationId xmlns:a16="http://schemas.microsoft.com/office/drawing/2014/main" id="{2C17175A-C897-A98A-0420-0076ED3B3064}"/>
                  </a:ext>
                </a:extLst>
              </p:cNvPr>
              <p:cNvSpPr/>
              <p:nvPr/>
            </p:nvSpPr>
            <p:spPr>
              <a:xfrm>
                <a:off x="5864689" y="4913615"/>
                <a:ext cx="62670" cy="76733"/>
              </a:xfrm>
              <a:custGeom>
                <a:avLst/>
                <a:gdLst>
                  <a:gd name="connsiteX0" fmla="*/ 0 w 62670"/>
                  <a:gd name="connsiteY0" fmla="*/ 55164 h 76733"/>
                  <a:gd name="connsiteX1" fmla="*/ 32210 w 62670"/>
                  <a:gd name="connsiteY1" fmla="*/ 31845 h 76733"/>
                  <a:gd name="connsiteX2" fmla="*/ 45618 w 62670"/>
                  <a:gd name="connsiteY2" fmla="*/ 31845 h 76733"/>
                  <a:gd name="connsiteX3" fmla="*/ 45618 w 62670"/>
                  <a:gd name="connsiteY3" fmla="*/ 27618 h 76733"/>
                  <a:gd name="connsiteX4" fmla="*/ 32282 w 62670"/>
                  <a:gd name="connsiteY4" fmla="*/ 13845 h 76733"/>
                  <a:gd name="connsiteX5" fmla="*/ 13409 w 62670"/>
                  <a:gd name="connsiteY5" fmla="*/ 23246 h 76733"/>
                  <a:gd name="connsiteX6" fmla="*/ 3206 w 62670"/>
                  <a:gd name="connsiteY6" fmla="*/ 13117 h 76733"/>
                  <a:gd name="connsiteX7" fmla="*/ 34104 w 62670"/>
                  <a:gd name="connsiteY7" fmla="*/ 0 h 76733"/>
                  <a:gd name="connsiteX8" fmla="*/ 62670 w 62670"/>
                  <a:gd name="connsiteY8" fmla="*/ 27691 h 76733"/>
                  <a:gd name="connsiteX9" fmla="*/ 62670 w 62670"/>
                  <a:gd name="connsiteY9" fmla="*/ 75349 h 76733"/>
                  <a:gd name="connsiteX10" fmla="*/ 46201 w 62670"/>
                  <a:gd name="connsiteY10" fmla="*/ 75349 h 76733"/>
                  <a:gd name="connsiteX11" fmla="*/ 46201 w 62670"/>
                  <a:gd name="connsiteY11" fmla="*/ 61649 h 76733"/>
                  <a:gd name="connsiteX12" fmla="*/ 45764 w 62670"/>
                  <a:gd name="connsiteY12" fmla="*/ 61649 h 76733"/>
                  <a:gd name="connsiteX13" fmla="*/ 22153 w 62670"/>
                  <a:gd name="connsiteY13" fmla="*/ 76734 h 76733"/>
                  <a:gd name="connsiteX14" fmla="*/ 73 w 62670"/>
                  <a:gd name="connsiteY14" fmla="*/ 55237 h 76733"/>
                  <a:gd name="connsiteX15" fmla="*/ 28129 w 62670"/>
                  <a:gd name="connsiteY15" fmla="*/ 63471 h 76733"/>
                  <a:gd name="connsiteX16" fmla="*/ 45472 w 62670"/>
                  <a:gd name="connsiteY16" fmla="*/ 46419 h 76733"/>
                  <a:gd name="connsiteX17" fmla="*/ 45472 w 62670"/>
                  <a:gd name="connsiteY17" fmla="*/ 41610 h 76733"/>
                  <a:gd name="connsiteX18" fmla="*/ 34979 w 62670"/>
                  <a:gd name="connsiteY18" fmla="*/ 41610 h 76733"/>
                  <a:gd name="connsiteX19" fmla="*/ 16906 w 62670"/>
                  <a:gd name="connsiteY19" fmla="*/ 53488 h 76733"/>
                  <a:gd name="connsiteX20" fmla="*/ 28056 w 62670"/>
                  <a:gd name="connsiteY20" fmla="*/ 63398 h 76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670" h="76733">
                    <a:moveTo>
                      <a:pt x="0" y="55164"/>
                    </a:moveTo>
                    <a:cubicBezTo>
                      <a:pt x="0" y="39278"/>
                      <a:pt x="12971" y="31845"/>
                      <a:pt x="32210" y="31845"/>
                    </a:cubicBezTo>
                    <a:lnTo>
                      <a:pt x="45618" y="31845"/>
                    </a:lnTo>
                    <a:lnTo>
                      <a:pt x="45618" y="27618"/>
                    </a:lnTo>
                    <a:cubicBezTo>
                      <a:pt x="45618" y="18728"/>
                      <a:pt x="41319" y="13845"/>
                      <a:pt x="32282" y="13845"/>
                    </a:cubicBezTo>
                    <a:cubicBezTo>
                      <a:pt x="23902" y="13845"/>
                      <a:pt x="18000" y="17416"/>
                      <a:pt x="13409" y="23246"/>
                    </a:cubicBezTo>
                    <a:lnTo>
                      <a:pt x="3206" y="13117"/>
                    </a:lnTo>
                    <a:cubicBezTo>
                      <a:pt x="10056" y="5684"/>
                      <a:pt x="19311" y="0"/>
                      <a:pt x="34104" y="0"/>
                    </a:cubicBezTo>
                    <a:cubicBezTo>
                      <a:pt x="52905" y="0"/>
                      <a:pt x="62670" y="9838"/>
                      <a:pt x="62670" y="27691"/>
                    </a:cubicBezTo>
                    <a:lnTo>
                      <a:pt x="62670" y="75349"/>
                    </a:lnTo>
                    <a:lnTo>
                      <a:pt x="46201" y="75349"/>
                    </a:lnTo>
                    <a:lnTo>
                      <a:pt x="46201" y="61649"/>
                    </a:lnTo>
                    <a:lnTo>
                      <a:pt x="45764" y="61649"/>
                    </a:lnTo>
                    <a:cubicBezTo>
                      <a:pt x="41246" y="71997"/>
                      <a:pt x="33813" y="76734"/>
                      <a:pt x="22153" y="76734"/>
                    </a:cubicBezTo>
                    <a:cubicBezTo>
                      <a:pt x="9255" y="76734"/>
                      <a:pt x="73" y="69009"/>
                      <a:pt x="73" y="55237"/>
                    </a:cubicBezTo>
                    <a:close/>
                    <a:moveTo>
                      <a:pt x="28129" y="63471"/>
                    </a:moveTo>
                    <a:cubicBezTo>
                      <a:pt x="39132" y="63471"/>
                      <a:pt x="45472" y="55164"/>
                      <a:pt x="45472" y="46419"/>
                    </a:cubicBezTo>
                    <a:lnTo>
                      <a:pt x="45472" y="41610"/>
                    </a:lnTo>
                    <a:lnTo>
                      <a:pt x="34979" y="41610"/>
                    </a:lnTo>
                    <a:cubicBezTo>
                      <a:pt x="25214" y="41610"/>
                      <a:pt x="16906" y="44233"/>
                      <a:pt x="16906" y="53488"/>
                    </a:cubicBezTo>
                    <a:cubicBezTo>
                      <a:pt x="16906" y="59609"/>
                      <a:pt x="21133" y="63398"/>
                      <a:pt x="28056" y="63398"/>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15" name="Freeform 268">
                <a:extLst>
                  <a:ext uri="{FF2B5EF4-FFF2-40B4-BE49-F238E27FC236}">
                    <a16:creationId xmlns:a16="http://schemas.microsoft.com/office/drawing/2014/main" id="{302EA325-D656-7E20-A9FC-89D4DD24EEFF}"/>
                  </a:ext>
                </a:extLst>
              </p:cNvPr>
              <p:cNvSpPr/>
              <p:nvPr/>
            </p:nvSpPr>
            <p:spPr>
              <a:xfrm>
                <a:off x="5938290" y="4895761"/>
                <a:ext cx="44014" cy="94296"/>
              </a:xfrm>
              <a:custGeom>
                <a:avLst/>
                <a:gdLst>
                  <a:gd name="connsiteX0" fmla="*/ 10785 w 44014"/>
                  <a:gd name="connsiteY0" fmla="*/ 74767 h 94296"/>
                  <a:gd name="connsiteX1" fmla="*/ 10785 w 44014"/>
                  <a:gd name="connsiteY1" fmla="*/ 32501 h 94296"/>
                  <a:gd name="connsiteX2" fmla="*/ 0 w 44014"/>
                  <a:gd name="connsiteY2" fmla="*/ 32501 h 94296"/>
                  <a:gd name="connsiteX3" fmla="*/ 0 w 44014"/>
                  <a:gd name="connsiteY3" fmla="*/ 24631 h 94296"/>
                  <a:gd name="connsiteX4" fmla="*/ 24704 w 44014"/>
                  <a:gd name="connsiteY4" fmla="*/ 0 h 94296"/>
                  <a:gd name="connsiteX5" fmla="*/ 27983 w 44014"/>
                  <a:gd name="connsiteY5" fmla="*/ 0 h 94296"/>
                  <a:gd name="connsiteX6" fmla="*/ 27983 w 44014"/>
                  <a:gd name="connsiteY6" fmla="*/ 19165 h 94296"/>
                  <a:gd name="connsiteX7" fmla="*/ 44014 w 44014"/>
                  <a:gd name="connsiteY7" fmla="*/ 19165 h 94296"/>
                  <a:gd name="connsiteX8" fmla="*/ 44014 w 44014"/>
                  <a:gd name="connsiteY8" fmla="*/ 32428 h 94296"/>
                  <a:gd name="connsiteX9" fmla="*/ 27983 w 44014"/>
                  <a:gd name="connsiteY9" fmla="*/ 32428 h 94296"/>
                  <a:gd name="connsiteX10" fmla="*/ 27983 w 44014"/>
                  <a:gd name="connsiteY10" fmla="*/ 71341 h 94296"/>
                  <a:gd name="connsiteX11" fmla="*/ 35853 w 44014"/>
                  <a:gd name="connsiteY11" fmla="*/ 79576 h 94296"/>
                  <a:gd name="connsiteX12" fmla="*/ 43942 w 44014"/>
                  <a:gd name="connsiteY12" fmla="*/ 78410 h 94296"/>
                  <a:gd name="connsiteX13" fmla="*/ 43942 w 44014"/>
                  <a:gd name="connsiteY13" fmla="*/ 93057 h 94296"/>
                  <a:gd name="connsiteX14" fmla="*/ 32282 w 44014"/>
                  <a:gd name="connsiteY14" fmla="*/ 94296 h 94296"/>
                  <a:gd name="connsiteX15" fmla="*/ 10858 w 44014"/>
                  <a:gd name="connsiteY15" fmla="*/ 74621 h 9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014" h="94296">
                    <a:moveTo>
                      <a:pt x="10785" y="74767"/>
                    </a:moveTo>
                    <a:lnTo>
                      <a:pt x="10785" y="32501"/>
                    </a:lnTo>
                    <a:lnTo>
                      <a:pt x="0" y="32501"/>
                    </a:lnTo>
                    <a:lnTo>
                      <a:pt x="0" y="24631"/>
                    </a:lnTo>
                    <a:lnTo>
                      <a:pt x="24704" y="0"/>
                    </a:lnTo>
                    <a:lnTo>
                      <a:pt x="27983" y="0"/>
                    </a:lnTo>
                    <a:lnTo>
                      <a:pt x="27983" y="19165"/>
                    </a:lnTo>
                    <a:lnTo>
                      <a:pt x="44014" y="19165"/>
                    </a:lnTo>
                    <a:lnTo>
                      <a:pt x="44014" y="32428"/>
                    </a:lnTo>
                    <a:lnTo>
                      <a:pt x="27983" y="32428"/>
                    </a:lnTo>
                    <a:lnTo>
                      <a:pt x="27983" y="71341"/>
                    </a:lnTo>
                    <a:cubicBezTo>
                      <a:pt x="27983" y="77827"/>
                      <a:pt x="30096" y="79576"/>
                      <a:pt x="35853" y="79576"/>
                    </a:cubicBezTo>
                    <a:cubicBezTo>
                      <a:pt x="38768" y="79576"/>
                      <a:pt x="41537" y="79066"/>
                      <a:pt x="43942" y="78410"/>
                    </a:cubicBezTo>
                    <a:lnTo>
                      <a:pt x="43942" y="93057"/>
                    </a:lnTo>
                    <a:cubicBezTo>
                      <a:pt x="40954" y="93786"/>
                      <a:pt x="36581" y="94296"/>
                      <a:pt x="32282" y="94296"/>
                    </a:cubicBezTo>
                    <a:cubicBezTo>
                      <a:pt x="17416" y="94296"/>
                      <a:pt x="10858" y="88831"/>
                      <a:pt x="10858" y="74621"/>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16" name="Freeform 269">
                <a:extLst>
                  <a:ext uri="{FF2B5EF4-FFF2-40B4-BE49-F238E27FC236}">
                    <a16:creationId xmlns:a16="http://schemas.microsoft.com/office/drawing/2014/main" id="{C1058923-CEE6-E4AE-DDE4-764087E18423}"/>
                  </a:ext>
                </a:extLst>
              </p:cNvPr>
              <p:cNvSpPr/>
              <p:nvPr/>
            </p:nvSpPr>
            <p:spPr>
              <a:xfrm>
                <a:off x="5994109" y="4913615"/>
                <a:ext cx="62597" cy="76733"/>
              </a:xfrm>
              <a:custGeom>
                <a:avLst/>
                <a:gdLst>
                  <a:gd name="connsiteX0" fmla="*/ 0 w 62597"/>
                  <a:gd name="connsiteY0" fmla="*/ 55164 h 76733"/>
                  <a:gd name="connsiteX1" fmla="*/ 32209 w 62597"/>
                  <a:gd name="connsiteY1" fmla="*/ 31845 h 76733"/>
                  <a:gd name="connsiteX2" fmla="*/ 45618 w 62597"/>
                  <a:gd name="connsiteY2" fmla="*/ 31845 h 76733"/>
                  <a:gd name="connsiteX3" fmla="*/ 45618 w 62597"/>
                  <a:gd name="connsiteY3" fmla="*/ 27618 h 76733"/>
                  <a:gd name="connsiteX4" fmla="*/ 32282 w 62597"/>
                  <a:gd name="connsiteY4" fmla="*/ 13845 h 76733"/>
                  <a:gd name="connsiteX5" fmla="*/ 13409 w 62597"/>
                  <a:gd name="connsiteY5" fmla="*/ 23246 h 76733"/>
                  <a:gd name="connsiteX6" fmla="*/ 3206 w 62597"/>
                  <a:gd name="connsiteY6" fmla="*/ 13117 h 76733"/>
                  <a:gd name="connsiteX7" fmla="*/ 34104 w 62597"/>
                  <a:gd name="connsiteY7" fmla="*/ 0 h 76733"/>
                  <a:gd name="connsiteX8" fmla="*/ 62597 w 62597"/>
                  <a:gd name="connsiteY8" fmla="*/ 27691 h 76733"/>
                  <a:gd name="connsiteX9" fmla="*/ 62597 w 62597"/>
                  <a:gd name="connsiteY9" fmla="*/ 75349 h 76733"/>
                  <a:gd name="connsiteX10" fmla="*/ 46128 w 62597"/>
                  <a:gd name="connsiteY10" fmla="*/ 75349 h 76733"/>
                  <a:gd name="connsiteX11" fmla="*/ 46128 w 62597"/>
                  <a:gd name="connsiteY11" fmla="*/ 61649 h 76733"/>
                  <a:gd name="connsiteX12" fmla="*/ 45764 w 62597"/>
                  <a:gd name="connsiteY12" fmla="*/ 61649 h 76733"/>
                  <a:gd name="connsiteX13" fmla="*/ 22153 w 62597"/>
                  <a:gd name="connsiteY13" fmla="*/ 76734 h 76733"/>
                  <a:gd name="connsiteX14" fmla="*/ 73 w 62597"/>
                  <a:gd name="connsiteY14" fmla="*/ 55237 h 76733"/>
                  <a:gd name="connsiteX15" fmla="*/ 28201 w 62597"/>
                  <a:gd name="connsiteY15" fmla="*/ 63471 h 76733"/>
                  <a:gd name="connsiteX16" fmla="*/ 45545 w 62597"/>
                  <a:gd name="connsiteY16" fmla="*/ 46419 h 76733"/>
                  <a:gd name="connsiteX17" fmla="*/ 45545 w 62597"/>
                  <a:gd name="connsiteY17" fmla="*/ 41610 h 76733"/>
                  <a:gd name="connsiteX18" fmla="*/ 35051 w 62597"/>
                  <a:gd name="connsiteY18" fmla="*/ 41610 h 76733"/>
                  <a:gd name="connsiteX19" fmla="*/ 16979 w 62597"/>
                  <a:gd name="connsiteY19" fmla="*/ 53488 h 76733"/>
                  <a:gd name="connsiteX20" fmla="*/ 28128 w 62597"/>
                  <a:gd name="connsiteY20" fmla="*/ 63398 h 76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597" h="76733">
                    <a:moveTo>
                      <a:pt x="0" y="55164"/>
                    </a:moveTo>
                    <a:cubicBezTo>
                      <a:pt x="0" y="39278"/>
                      <a:pt x="12971" y="31845"/>
                      <a:pt x="32209" y="31845"/>
                    </a:cubicBezTo>
                    <a:lnTo>
                      <a:pt x="45618" y="31845"/>
                    </a:lnTo>
                    <a:lnTo>
                      <a:pt x="45618" y="27618"/>
                    </a:lnTo>
                    <a:cubicBezTo>
                      <a:pt x="45618" y="18728"/>
                      <a:pt x="41318" y="13845"/>
                      <a:pt x="32282" y="13845"/>
                    </a:cubicBezTo>
                    <a:cubicBezTo>
                      <a:pt x="23902" y="13845"/>
                      <a:pt x="18000" y="17416"/>
                      <a:pt x="13409" y="23246"/>
                    </a:cubicBezTo>
                    <a:lnTo>
                      <a:pt x="3206" y="13117"/>
                    </a:lnTo>
                    <a:cubicBezTo>
                      <a:pt x="10056" y="5684"/>
                      <a:pt x="19311" y="0"/>
                      <a:pt x="34104" y="0"/>
                    </a:cubicBezTo>
                    <a:cubicBezTo>
                      <a:pt x="52905" y="0"/>
                      <a:pt x="62597" y="9838"/>
                      <a:pt x="62597" y="27691"/>
                    </a:cubicBezTo>
                    <a:lnTo>
                      <a:pt x="62597" y="75349"/>
                    </a:lnTo>
                    <a:lnTo>
                      <a:pt x="46128" y="75349"/>
                    </a:lnTo>
                    <a:lnTo>
                      <a:pt x="46128" y="61649"/>
                    </a:lnTo>
                    <a:lnTo>
                      <a:pt x="45764" y="61649"/>
                    </a:lnTo>
                    <a:cubicBezTo>
                      <a:pt x="41246" y="71997"/>
                      <a:pt x="33813" y="76734"/>
                      <a:pt x="22153" y="76734"/>
                    </a:cubicBezTo>
                    <a:cubicBezTo>
                      <a:pt x="9255" y="76734"/>
                      <a:pt x="73" y="69009"/>
                      <a:pt x="73" y="55237"/>
                    </a:cubicBezTo>
                    <a:close/>
                    <a:moveTo>
                      <a:pt x="28201" y="63471"/>
                    </a:moveTo>
                    <a:cubicBezTo>
                      <a:pt x="39205" y="63471"/>
                      <a:pt x="45545" y="55164"/>
                      <a:pt x="45545" y="46419"/>
                    </a:cubicBezTo>
                    <a:lnTo>
                      <a:pt x="45545" y="41610"/>
                    </a:lnTo>
                    <a:lnTo>
                      <a:pt x="35051" y="41610"/>
                    </a:lnTo>
                    <a:cubicBezTo>
                      <a:pt x="25214" y="41610"/>
                      <a:pt x="16979" y="44233"/>
                      <a:pt x="16979" y="53488"/>
                    </a:cubicBezTo>
                    <a:cubicBezTo>
                      <a:pt x="16979" y="59609"/>
                      <a:pt x="21133" y="63398"/>
                      <a:pt x="28128" y="63398"/>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17" name="Freeform 270">
                <a:extLst>
                  <a:ext uri="{FF2B5EF4-FFF2-40B4-BE49-F238E27FC236}">
                    <a16:creationId xmlns:a16="http://schemas.microsoft.com/office/drawing/2014/main" id="{D86F8ABA-8048-4BA9-A349-55A0EB3C5D68}"/>
                  </a:ext>
                </a:extLst>
              </p:cNvPr>
              <p:cNvSpPr/>
              <p:nvPr/>
            </p:nvSpPr>
            <p:spPr>
              <a:xfrm>
                <a:off x="6106842" y="4892263"/>
                <a:ext cx="85915" cy="98012"/>
              </a:xfrm>
              <a:custGeom>
                <a:avLst/>
                <a:gdLst>
                  <a:gd name="connsiteX0" fmla="*/ 0 w 85915"/>
                  <a:gd name="connsiteY0" fmla="*/ 49043 h 98012"/>
                  <a:gd name="connsiteX1" fmla="*/ 48460 w 85915"/>
                  <a:gd name="connsiteY1" fmla="*/ 0 h 98012"/>
                  <a:gd name="connsiteX2" fmla="*/ 85916 w 85915"/>
                  <a:gd name="connsiteY2" fmla="*/ 15668 h 98012"/>
                  <a:gd name="connsiteX3" fmla="*/ 73819 w 85915"/>
                  <a:gd name="connsiteY3" fmla="*/ 27764 h 98012"/>
                  <a:gd name="connsiteX4" fmla="*/ 48532 w 85915"/>
                  <a:gd name="connsiteY4" fmla="*/ 15959 h 98012"/>
                  <a:gd name="connsiteX5" fmla="*/ 18582 w 85915"/>
                  <a:gd name="connsiteY5" fmla="*/ 49043 h 98012"/>
                  <a:gd name="connsiteX6" fmla="*/ 48532 w 85915"/>
                  <a:gd name="connsiteY6" fmla="*/ 82127 h 98012"/>
                  <a:gd name="connsiteX7" fmla="*/ 73819 w 85915"/>
                  <a:gd name="connsiteY7" fmla="*/ 70322 h 98012"/>
                  <a:gd name="connsiteX8" fmla="*/ 85916 w 85915"/>
                  <a:gd name="connsiteY8" fmla="*/ 82418 h 98012"/>
                  <a:gd name="connsiteX9" fmla="*/ 48460 w 85915"/>
                  <a:gd name="connsiteY9" fmla="*/ 98013 h 98012"/>
                  <a:gd name="connsiteX10" fmla="*/ 0 w 85915"/>
                  <a:gd name="connsiteY10" fmla="*/ 48970 h 9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915" h="98012">
                    <a:moveTo>
                      <a:pt x="0" y="49043"/>
                    </a:moveTo>
                    <a:cubicBezTo>
                      <a:pt x="0" y="15741"/>
                      <a:pt x="21351" y="0"/>
                      <a:pt x="48460" y="0"/>
                    </a:cubicBezTo>
                    <a:cubicBezTo>
                      <a:pt x="64929" y="0"/>
                      <a:pt x="77244" y="5757"/>
                      <a:pt x="85916" y="15668"/>
                    </a:cubicBezTo>
                    <a:lnTo>
                      <a:pt x="73819" y="27764"/>
                    </a:lnTo>
                    <a:cubicBezTo>
                      <a:pt x="68354" y="20696"/>
                      <a:pt x="60557" y="15959"/>
                      <a:pt x="48532" y="15959"/>
                    </a:cubicBezTo>
                    <a:cubicBezTo>
                      <a:pt x="29731" y="15959"/>
                      <a:pt x="18582" y="27473"/>
                      <a:pt x="18582" y="49043"/>
                    </a:cubicBezTo>
                    <a:cubicBezTo>
                      <a:pt x="18582" y="70613"/>
                      <a:pt x="29731" y="82127"/>
                      <a:pt x="48532" y="82127"/>
                    </a:cubicBezTo>
                    <a:cubicBezTo>
                      <a:pt x="60557" y="82127"/>
                      <a:pt x="68354" y="77390"/>
                      <a:pt x="73819" y="70322"/>
                    </a:cubicBezTo>
                    <a:lnTo>
                      <a:pt x="85916" y="82418"/>
                    </a:lnTo>
                    <a:cubicBezTo>
                      <a:pt x="77317" y="92329"/>
                      <a:pt x="64929" y="98013"/>
                      <a:pt x="48460" y="98013"/>
                    </a:cubicBezTo>
                    <a:cubicBezTo>
                      <a:pt x="21351" y="98013"/>
                      <a:pt x="0" y="82418"/>
                      <a:pt x="0" y="48970"/>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18" name="Freeform 271">
                <a:extLst>
                  <a:ext uri="{FF2B5EF4-FFF2-40B4-BE49-F238E27FC236}">
                    <a16:creationId xmlns:a16="http://schemas.microsoft.com/office/drawing/2014/main" id="{FEE58FE7-DA6B-EB64-A624-9A3F67896232}"/>
                  </a:ext>
                </a:extLst>
              </p:cNvPr>
              <p:cNvSpPr/>
              <p:nvPr/>
            </p:nvSpPr>
            <p:spPr>
              <a:xfrm>
                <a:off x="6205074" y="4888110"/>
                <a:ext cx="29367" cy="102093"/>
              </a:xfrm>
              <a:custGeom>
                <a:avLst/>
                <a:gdLst>
                  <a:gd name="connsiteX0" fmla="*/ 0 w 29367"/>
                  <a:gd name="connsiteY0" fmla="*/ 82636 h 102093"/>
                  <a:gd name="connsiteX1" fmla="*/ 0 w 29367"/>
                  <a:gd name="connsiteY1" fmla="*/ 0 h 102093"/>
                  <a:gd name="connsiteX2" fmla="*/ 17198 w 29367"/>
                  <a:gd name="connsiteY2" fmla="*/ 0 h 102093"/>
                  <a:gd name="connsiteX3" fmla="*/ 17198 w 29367"/>
                  <a:gd name="connsiteY3" fmla="*/ 79649 h 102093"/>
                  <a:gd name="connsiteX4" fmla="*/ 23465 w 29367"/>
                  <a:gd name="connsiteY4" fmla="*/ 87446 h 102093"/>
                  <a:gd name="connsiteX5" fmla="*/ 29368 w 29367"/>
                  <a:gd name="connsiteY5" fmla="*/ 86717 h 102093"/>
                  <a:gd name="connsiteX6" fmla="*/ 29368 w 29367"/>
                  <a:gd name="connsiteY6" fmla="*/ 100854 h 102093"/>
                  <a:gd name="connsiteX7" fmla="*/ 19311 w 29367"/>
                  <a:gd name="connsiteY7" fmla="*/ 102093 h 102093"/>
                  <a:gd name="connsiteX8" fmla="*/ 73 w 29367"/>
                  <a:gd name="connsiteY8" fmla="*/ 82709 h 10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367" h="102093">
                    <a:moveTo>
                      <a:pt x="0" y="82636"/>
                    </a:moveTo>
                    <a:lnTo>
                      <a:pt x="0" y="0"/>
                    </a:lnTo>
                    <a:lnTo>
                      <a:pt x="17198" y="0"/>
                    </a:lnTo>
                    <a:lnTo>
                      <a:pt x="17198" y="79649"/>
                    </a:lnTo>
                    <a:cubicBezTo>
                      <a:pt x="17198" y="85406"/>
                      <a:pt x="18582" y="87446"/>
                      <a:pt x="23465" y="87446"/>
                    </a:cubicBezTo>
                    <a:cubicBezTo>
                      <a:pt x="25578" y="87446"/>
                      <a:pt x="27400" y="87082"/>
                      <a:pt x="29368" y="86717"/>
                    </a:cubicBezTo>
                    <a:lnTo>
                      <a:pt x="29368" y="100854"/>
                    </a:lnTo>
                    <a:cubicBezTo>
                      <a:pt x="26671" y="101510"/>
                      <a:pt x="23027" y="102093"/>
                      <a:pt x="19311" y="102093"/>
                    </a:cubicBezTo>
                    <a:cubicBezTo>
                      <a:pt x="5392" y="102093"/>
                      <a:pt x="73" y="95462"/>
                      <a:pt x="73" y="82709"/>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19" name="Freeform 272">
                <a:extLst>
                  <a:ext uri="{FF2B5EF4-FFF2-40B4-BE49-F238E27FC236}">
                    <a16:creationId xmlns:a16="http://schemas.microsoft.com/office/drawing/2014/main" id="{26B3BB09-AD5E-B80F-299D-15E3A3608CED}"/>
                  </a:ext>
                </a:extLst>
              </p:cNvPr>
              <p:cNvSpPr/>
              <p:nvPr/>
            </p:nvSpPr>
            <p:spPr>
              <a:xfrm>
                <a:off x="6243768" y="4913542"/>
                <a:ext cx="75349" cy="76733"/>
              </a:xfrm>
              <a:custGeom>
                <a:avLst/>
                <a:gdLst>
                  <a:gd name="connsiteX0" fmla="*/ 0 w 75349"/>
                  <a:gd name="connsiteY0" fmla="*/ 38403 h 76733"/>
                  <a:gd name="connsiteX1" fmla="*/ 37675 w 75349"/>
                  <a:gd name="connsiteY1" fmla="*/ 0 h 76733"/>
                  <a:gd name="connsiteX2" fmla="*/ 75350 w 75349"/>
                  <a:gd name="connsiteY2" fmla="*/ 38403 h 76733"/>
                  <a:gd name="connsiteX3" fmla="*/ 37675 w 75349"/>
                  <a:gd name="connsiteY3" fmla="*/ 76734 h 76733"/>
                  <a:gd name="connsiteX4" fmla="*/ 0 w 75349"/>
                  <a:gd name="connsiteY4" fmla="*/ 38403 h 76733"/>
                  <a:gd name="connsiteX5" fmla="*/ 37675 w 75349"/>
                  <a:gd name="connsiteY5" fmla="*/ 62888 h 76733"/>
                  <a:gd name="connsiteX6" fmla="*/ 57423 w 75349"/>
                  <a:gd name="connsiteY6" fmla="*/ 38403 h 76733"/>
                  <a:gd name="connsiteX7" fmla="*/ 37675 w 75349"/>
                  <a:gd name="connsiteY7" fmla="*/ 13918 h 76733"/>
                  <a:gd name="connsiteX8" fmla="*/ 17927 w 75349"/>
                  <a:gd name="connsiteY8" fmla="*/ 38403 h 76733"/>
                  <a:gd name="connsiteX9" fmla="*/ 37675 w 75349"/>
                  <a:gd name="connsiteY9" fmla="*/ 62888 h 76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349" h="76733">
                    <a:moveTo>
                      <a:pt x="0" y="38403"/>
                    </a:moveTo>
                    <a:cubicBezTo>
                      <a:pt x="0" y="15085"/>
                      <a:pt x="15522" y="0"/>
                      <a:pt x="37675" y="0"/>
                    </a:cubicBezTo>
                    <a:cubicBezTo>
                      <a:pt x="59828" y="0"/>
                      <a:pt x="75350" y="15085"/>
                      <a:pt x="75350" y="38403"/>
                    </a:cubicBezTo>
                    <a:cubicBezTo>
                      <a:pt x="75350" y="61722"/>
                      <a:pt x="59828" y="76734"/>
                      <a:pt x="37675" y="76734"/>
                    </a:cubicBezTo>
                    <a:cubicBezTo>
                      <a:pt x="15522" y="76734"/>
                      <a:pt x="0" y="61722"/>
                      <a:pt x="0" y="38403"/>
                    </a:cubicBezTo>
                    <a:close/>
                    <a:moveTo>
                      <a:pt x="37675" y="62888"/>
                    </a:moveTo>
                    <a:cubicBezTo>
                      <a:pt x="49189" y="62888"/>
                      <a:pt x="57423" y="54290"/>
                      <a:pt x="57423" y="38403"/>
                    </a:cubicBezTo>
                    <a:cubicBezTo>
                      <a:pt x="57423" y="22517"/>
                      <a:pt x="49189" y="13918"/>
                      <a:pt x="37675" y="13918"/>
                    </a:cubicBezTo>
                    <a:cubicBezTo>
                      <a:pt x="26161" y="13918"/>
                      <a:pt x="17927" y="22444"/>
                      <a:pt x="17927" y="38403"/>
                    </a:cubicBezTo>
                    <a:cubicBezTo>
                      <a:pt x="17927" y="54362"/>
                      <a:pt x="26161" y="62888"/>
                      <a:pt x="37675" y="62888"/>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20" name="Freeform 273">
                <a:extLst>
                  <a:ext uri="{FF2B5EF4-FFF2-40B4-BE49-F238E27FC236}">
                    <a16:creationId xmlns:a16="http://schemas.microsoft.com/office/drawing/2014/main" id="{351DAF1F-6680-2191-EF05-C1B9070A763D}"/>
                  </a:ext>
                </a:extLst>
              </p:cNvPr>
              <p:cNvSpPr/>
              <p:nvPr/>
            </p:nvSpPr>
            <p:spPr>
              <a:xfrm>
                <a:off x="6334567" y="4914999"/>
                <a:ext cx="64127" cy="75349"/>
              </a:xfrm>
              <a:custGeom>
                <a:avLst/>
                <a:gdLst>
                  <a:gd name="connsiteX0" fmla="*/ 0 w 64127"/>
                  <a:gd name="connsiteY0" fmla="*/ 48751 h 75349"/>
                  <a:gd name="connsiteX1" fmla="*/ 0 w 64127"/>
                  <a:gd name="connsiteY1" fmla="*/ 0 h 75349"/>
                  <a:gd name="connsiteX2" fmla="*/ 17198 w 64127"/>
                  <a:gd name="connsiteY2" fmla="*/ 0 h 75349"/>
                  <a:gd name="connsiteX3" fmla="*/ 17198 w 64127"/>
                  <a:gd name="connsiteY3" fmla="*/ 44670 h 75349"/>
                  <a:gd name="connsiteX4" fmla="*/ 30533 w 64127"/>
                  <a:gd name="connsiteY4" fmla="*/ 60629 h 75349"/>
                  <a:gd name="connsiteX5" fmla="*/ 47075 w 64127"/>
                  <a:gd name="connsiteY5" fmla="*/ 41391 h 75349"/>
                  <a:gd name="connsiteX6" fmla="*/ 47075 w 64127"/>
                  <a:gd name="connsiteY6" fmla="*/ 0 h 75349"/>
                  <a:gd name="connsiteX7" fmla="*/ 64127 w 64127"/>
                  <a:gd name="connsiteY7" fmla="*/ 0 h 75349"/>
                  <a:gd name="connsiteX8" fmla="*/ 64127 w 64127"/>
                  <a:gd name="connsiteY8" fmla="*/ 73965 h 75349"/>
                  <a:gd name="connsiteX9" fmla="*/ 47658 w 64127"/>
                  <a:gd name="connsiteY9" fmla="*/ 73965 h 75349"/>
                  <a:gd name="connsiteX10" fmla="*/ 47658 w 64127"/>
                  <a:gd name="connsiteY10" fmla="*/ 58370 h 75349"/>
                  <a:gd name="connsiteX11" fmla="*/ 47294 w 64127"/>
                  <a:gd name="connsiteY11" fmla="*/ 58370 h 75349"/>
                  <a:gd name="connsiteX12" fmla="*/ 23027 w 64127"/>
                  <a:gd name="connsiteY12" fmla="*/ 75349 h 75349"/>
                  <a:gd name="connsiteX13" fmla="*/ 73 w 64127"/>
                  <a:gd name="connsiteY13" fmla="*/ 48751 h 75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127" h="75349">
                    <a:moveTo>
                      <a:pt x="0" y="48751"/>
                    </a:moveTo>
                    <a:lnTo>
                      <a:pt x="0" y="0"/>
                    </a:lnTo>
                    <a:lnTo>
                      <a:pt x="17198" y="0"/>
                    </a:lnTo>
                    <a:lnTo>
                      <a:pt x="17198" y="44670"/>
                    </a:lnTo>
                    <a:cubicBezTo>
                      <a:pt x="17198" y="54508"/>
                      <a:pt x="20550" y="60629"/>
                      <a:pt x="30533" y="60629"/>
                    </a:cubicBezTo>
                    <a:cubicBezTo>
                      <a:pt x="40517" y="60629"/>
                      <a:pt x="47075" y="53779"/>
                      <a:pt x="47075" y="41391"/>
                    </a:cubicBezTo>
                    <a:lnTo>
                      <a:pt x="47075" y="0"/>
                    </a:lnTo>
                    <a:lnTo>
                      <a:pt x="64127" y="0"/>
                    </a:lnTo>
                    <a:lnTo>
                      <a:pt x="64127" y="73965"/>
                    </a:lnTo>
                    <a:lnTo>
                      <a:pt x="47658" y="73965"/>
                    </a:lnTo>
                    <a:lnTo>
                      <a:pt x="47658" y="58370"/>
                    </a:lnTo>
                    <a:lnTo>
                      <a:pt x="47294" y="58370"/>
                    </a:lnTo>
                    <a:cubicBezTo>
                      <a:pt x="43942" y="66896"/>
                      <a:pt x="37237" y="75349"/>
                      <a:pt x="23027" y="75349"/>
                    </a:cubicBezTo>
                    <a:cubicBezTo>
                      <a:pt x="7214" y="75349"/>
                      <a:pt x="73" y="64564"/>
                      <a:pt x="73" y="48751"/>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21" name="Freeform 274">
                <a:extLst>
                  <a:ext uri="{FF2B5EF4-FFF2-40B4-BE49-F238E27FC236}">
                    <a16:creationId xmlns:a16="http://schemas.microsoft.com/office/drawing/2014/main" id="{E7BC7112-79BF-C9CE-4390-A74003659D7D}"/>
                  </a:ext>
                </a:extLst>
              </p:cNvPr>
              <p:cNvSpPr/>
              <p:nvPr/>
            </p:nvSpPr>
            <p:spPr>
              <a:xfrm>
                <a:off x="6414944" y="4888110"/>
                <a:ext cx="74329" cy="102093"/>
              </a:xfrm>
              <a:custGeom>
                <a:avLst/>
                <a:gdLst>
                  <a:gd name="connsiteX0" fmla="*/ 0 w 74329"/>
                  <a:gd name="connsiteY0" fmla="*/ 63835 h 102093"/>
                  <a:gd name="connsiteX1" fmla="*/ 30679 w 74329"/>
                  <a:gd name="connsiteY1" fmla="*/ 25432 h 102093"/>
                  <a:gd name="connsiteX2" fmla="*/ 56840 w 74329"/>
                  <a:gd name="connsiteY2" fmla="*/ 41537 h 102093"/>
                  <a:gd name="connsiteX3" fmla="*/ 57205 w 74329"/>
                  <a:gd name="connsiteY3" fmla="*/ 41537 h 102093"/>
                  <a:gd name="connsiteX4" fmla="*/ 57205 w 74329"/>
                  <a:gd name="connsiteY4" fmla="*/ 0 h 102093"/>
                  <a:gd name="connsiteX5" fmla="*/ 74329 w 74329"/>
                  <a:gd name="connsiteY5" fmla="*/ 0 h 102093"/>
                  <a:gd name="connsiteX6" fmla="*/ 74329 w 74329"/>
                  <a:gd name="connsiteY6" fmla="*/ 100781 h 102093"/>
                  <a:gd name="connsiteX7" fmla="*/ 57860 w 74329"/>
                  <a:gd name="connsiteY7" fmla="*/ 100781 h 102093"/>
                  <a:gd name="connsiteX8" fmla="*/ 57860 w 74329"/>
                  <a:gd name="connsiteY8" fmla="*/ 85552 h 102093"/>
                  <a:gd name="connsiteX9" fmla="*/ 57496 w 74329"/>
                  <a:gd name="connsiteY9" fmla="*/ 85552 h 102093"/>
                  <a:gd name="connsiteX10" fmla="*/ 31408 w 74329"/>
                  <a:gd name="connsiteY10" fmla="*/ 102093 h 102093"/>
                  <a:gd name="connsiteX11" fmla="*/ 73 w 74329"/>
                  <a:gd name="connsiteY11" fmla="*/ 63763 h 102093"/>
                  <a:gd name="connsiteX12" fmla="*/ 37675 w 74329"/>
                  <a:gd name="connsiteY12" fmla="*/ 88321 h 102093"/>
                  <a:gd name="connsiteX13" fmla="*/ 57350 w 74329"/>
                  <a:gd name="connsiteY13" fmla="*/ 63835 h 102093"/>
                  <a:gd name="connsiteX14" fmla="*/ 37675 w 74329"/>
                  <a:gd name="connsiteY14" fmla="*/ 39351 h 102093"/>
                  <a:gd name="connsiteX15" fmla="*/ 17927 w 74329"/>
                  <a:gd name="connsiteY15" fmla="*/ 63835 h 102093"/>
                  <a:gd name="connsiteX16" fmla="*/ 37675 w 74329"/>
                  <a:gd name="connsiteY16" fmla="*/ 88321 h 10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329" h="102093">
                    <a:moveTo>
                      <a:pt x="0" y="63835"/>
                    </a:moveTo>
                    <a:cubicBezTo>
                      <a:pt x="0" y="40808"/>
                      <a:pt x="11587" y="25432"/>
                      <a:pt x="30679" y="25432"/>
                    </a:cubicBezTo>
                    <a:cubicBezTo>
                      <a:pt x="45108" y="25432"/>
                      <a:pt x="53415" y="33157"/>
                      <a:pt x="56840" y="41537"/>
                    </a:cubicBezTo>
                    <a:lnTo>
                      <a:pt x="57205" y="41537"/>
                    </a:lnTo>
                    <a:lnTo>
                      <a:pt x="57205" y="0"/>
                    </a:lnTo>
                    <a:lnTo>
                      <a:pt x="74329" y="0"/>
                    </a:lnTo>
                    <a:lnTo>
                      <a:pt x="74329" y="100781"/>
                    </a:lnTo>
                    <a:lnTo>
                      <a:pt x="57860" y="100781"/>
                    </a:lnTo>
                    <a:lnTo>
                      <a:pt x="57860" y="85552"/>
                    </a:lnTo>
                    <a:lnTo>
                      <a:pt x="57496" y="85552"/>
                    </a:lnTo>
                    <a:cubicBezTo>
                      <a:pt x="53925" y="94077"/>
                      <a:pt x="47002" y="102093"/>
                      <a:pt x="31408" y="102093"/>
                    </a:cubicBezTo>
                    <a:cubicBezTo>
                      <a:pt x="12607" y="102093"/>
                      <a:pt x="73" y="87519"/>
                      <a:pt x="73" y="63763"/>
                    </a:cubicBezTo>
                    <a:close/>
                    <a:moveTo>
                      <a:pt x="37675" y="88321"/>
                    </a:moveTo>
                    <a:cubicBezTo>
                      <a:pt x="49189" y="88321"/>
                      <a:pt x="57350" y="79722"/>
                      <a:pt x="57350" y="63835"/>
                    </a:cubicBezTo>
                    <a:cubicBezTo>
                      <a:pt x="57350" y="47949"/>
                      <a:pt x="49189" y="39351"/>
                      <a:pt x="37675" y="39351"/>
                    </a:cubicBezTo>
                    <a:cubicBezTo>
                      <a:pt x="26161" y="39351"/>
                      <a:pt x="17927" y="47876"/>
                      <a:pt x="17927" y="63835"/>
                    </a:cubicBezTo>
                    <a:cubicBezTo>
                      <a:pt x="17927" y="79794"/>
                      <a:pt x="26088" y="88321"/>
                      <a:pt x="37675" y="88321"/>
                    </a:cubicBezTo>
                    <a:close/>
                  </a:path>
                </a:pathLst>
              </a:custGeom>
              <a:solidFill>
                <a:srgbClr val="FFFFFF"/>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sp>
          <p:nvSpPr>
            <p:cNvPr id="1622" name="Freeform 275">
              <a:extLst>
                <a:ext uri="{FF2B5EF4-FFF2-40B4-BE49-F238E27FC236}">
                  <a16:creationId xmlns:a16="http://schemas.microsoft.com/office/drawing/2014/main" id="{ADDE5C76-5735-E9BA-30F7-13D29538E643}"/>
                </a:ext>
              </a:extLst>
            </p:cNvPr>
            <p:cNvSpPr/>
            <p:nvPr/>
          </p:nvSpPr>
          <p:spPr>
            <a:xfrm>
              <a:off x="7215239" y="3670359"/>
              <a:ext cx="1045002" cy="760657"/>
            </a:xfrm>
            <a:custGeom>
              <a:avLst/>
              <a:gdLst>
                <a:gd name="connsiteX0" fmla="*/ 1045274 w 1045274"/>
                <a:gd name="connsiteY0" fmla="*/ 0 h 760855"/>
                <a:gd name="connsiteX1" fmla="*/ 0 w 1045274"/>
                <a:gd name="connsiteY1" fmla="*/ 760855 h 760855"/>
              </a:gdLst>
              <a:ahLst/>
              <a:cxnLst>
                <a:cxn ang="0">
                  <a:pos x="connsiteX0" y="connsiteY0"/>
                </a:cxn>
                <a:cxn ang="0">
                  <a:pos x="connsiteX1" y="connsiteY1"/>
                </a:cxn>
              </a:cxnLst>
              <a:rect l="l" t="t" r="r" b="b"/>
              <a:pathLst>
                <a:path w="1045274" h="760855">
                  <a:moveTo>
                    <a:pt x="1045274" y="0"/>
                  </a:moveTo>
                  <a:lnTo>
                    <a:pt x="0" y="760855"/>
                  </a:lnTo>
                </a:path>
              </a:pathLst>
            </a:custGeom>
            <a:ln w="7285" cap="flat">
              <a:gradFill>
                <a:gsLst>
                  <a:gs pos="0">
                    <a:srgbClr val="A6E0FF"/>
                  </a:gs>
                  <a:gs pos="77000">
                    <a:srgbClr val="4DB1FF"/>
                  </a:gs>
                </a:gsLst>
                <a:lin ang="17279865" scaled="1"/>
              </a:grad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23" name="Freeform 276">
              <a:extLst>
                <a:ext uri="{FF2B5EF4-FFF2-40B4-BE49-F238E27FC236}">
                  <a16:creationId xmlns:a16="http://schemas.microsoft.com/office/drawing/2014/main" id="{3656848C-DA35-640C-D425-66D7F9EA1FC9}"/>
                </a:ext>
              </a:extLst>
            </p:cNvPr>
            <p:cNvSpPr/>
            <p:nvPr/>
          </p:nvSpPr>
          <p:spPr>
            <a:xfrm>
              <a:off x="8579118" y="3212696"/>
              <a:ext cx="311081" cy="225989"/>
            </a:xfrm>
            <a:custGeom>
              <a:avLst/>
              <a:gdLst>
                <a:gd name="connsiteX0" fmla="*/ 311163 w 311162"/>
                <a:gd name="connsiteY0" fmla="*/ 0 h 226048"/>
                <a:gd name="connsiteX1" fmla="*/ 0 w 311162"/>
                <a:gd name="connsiteY1" fmla="*/ 226049 h 226048"/>
              </a:gdLst>
              <a:ahLst/>
              <a:cxnLst>
                <a:cxn ang="0">
                  <a:pos x="connsiteX0" y="connsiteY0"/>
                </a:cxn>
                <a:cxn ang="0">
                  <a:pos x="connsiteX1" y="connsiteY1"/>
                </a:cxn>
              </a:cxnLst>
              <a:rect l="l" t="t" r="r" b="b"/>
              <a:pathLst>
                <a:path w="311162" h="226048">
                  <a:moveTo>
                    <a:pt x="311163" y="0"/>
                  </a:moveTo>
                  <a:lnTo>
                    <a:pt x="0" y="226049"/>
                  </a:lnTo>
                </a:path>
              </a:pathLst>
            </a:custGeom>
            <a:ln w="7285" cap="flat">
              <a:gradFill>
                <a:gsLst>
                  <a:gs pos="0">
                    <a:srgbClr val="A6E0FF"/>
                  </a:gs>
                  <a:gs pos="67000">
                    <a:srgbClr val="E2F5FF">
                      <a:alpha val="31765"/>
                    </a:srgbClr>
                  </a:gs>
                  <a:gs pos="100000">
                    <a:srgbClr val="FFFFFF">
                      <a:alpha val="0"/>
                    </a:srgbClr>
                  </a:gs>
                </a:gsLst>
                <a:lin ang="0" scaled="1"/>
              </a:grad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24" name="Freeform 277">
              <a:extLst>
                <a:ext uri="{FF2B5EF4-FFF2-40B4-BE49-F238E27FC236}">
                  <a16:creationId xmlns:a16="http://schemas.microsoft.com/office/drawing/2014/main" id="{96B43B7F-FA9F-3801-32AD-FCD20FBA53EF}"/>
                </a:ext>
              </a:extLst>
            </p:cNvPr>
            <p:cNvSpPr/>
            <p:nvPr/>
          </p:nvSpPr>
          <p:spPr>
            <a:xfrm>
              <a:off x="5084584" y="1975581"/>
              <a:ext cx="117657" cy="362297"/>
            </a:xfrm>
            <a:custGeom>
              <a:avLst/>
              <a:gdLst>
                <a:gd name="connsiteX0" fmla="*/ 0 w 117688"/>
                <a:gd name="connsiteY0" fmla="*/ 0 h 362391"/>
                <a:gd name="connsiteX1" fmla="*/ 117688 w 117688"/>
                <a:gd name="connsiteY1" fmla="*/ 362392 h 362391"/>
              </a:gdLst>
              <a:ahLst/>
              <a:cxnLst>
                <a:cxn ang="0">
                  <a:pos x="connsiteX0" y="connsiteY0"/>
                </a:cxn>
                <a:cxn ang="0">
                  <a:pos x="connsiteX1" y="connsiteY1"/>
                </a:cxn>
              </a:cxnLst>
              <a:rect l="l" t="t" r="r" b="b"/>
              <a:pathLst>
                <a:path w="117688" h="362391">
                  <a:moveTo>
                    <a:pt x="0" y="0"/>
                  </a:moveTo>
                  <a:lnTo>
                    <a:pt x="117688" y="362392"/>
                  </a:lnTo>
                </a:path>
              </a:pathLst>
            </a:custGeom>
            <a:ln w="7285" cap="flat">
              <a:gradFill>
                <a:gsLst>
                  <a:gs pos="0">
                    <a:srgbClr val="A6E0FF"/>
                  </a:gs>
                  <a:gs pos="67000">
                    <a:srgbClr val="E2F5FF">
                      <a:alpha val="31765"/>
                    </a:srgbClr>
                  </a:gs>
                  <a:gs pos="100000">
                    <a:srgbClr val="FFFFFF">
                      <a:alpha val="0"/>
                    </a:srgbClr>
                  </a:gs>
                </a:gsLst>
                <a:lin ang="17279734" scaled="1"/>
              </a:grad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25" name="Freeform 278">
              <a:extLst>
                <a:ext uri="{FF2B5EF4-FFF2-40B4-BE49-F238E27FC236}">
                  <a16:creationId xmlns:a16="http://schemas.microsoft.com/office/drawing/2014/main" id="{724A27EC-7DCE-22C9-0E79-334BA2B0B6BA}"/>
                </a:ext>
              </a:extLst>
            </p:cNvPr>
            <p:cNvSpPr/>
            <p:nvPr/>
          </p:nvSpPr>
          <p:spPr>
            <a:xfrm>
              <a:off x="7070189" y="1975581"/>
              <a:ext cx="118385" cy="364191"/>
            </a:xfrm>
            <a:custGeom>
              <a:avLst/>
              <a:gdLst>
                <a:gd name="connsiteX0" fmla="*/ 118417 w 118416"/>
                <a:gd name="connsiteY0" fmla="*/ 0 h 364286"/>
                <a:gd name="connsiteX1" fmla="*/ 0 w 118416"/>
                <a:gd name="connsiteY1" fmla="*/ 364287 h 364286"/>
              </a:gdLst>
              <a:ahLst/>
              <a:cxnLst>
                <a:cxn ang="0">
                  <a:pos x="connsiteX0" y="connsiteY0"/>
                </a:cxn>
                <a:cxn ang="0">
                  <a:pos x="connsiteX1" y="connsiteY1"/>
                </a:cxn>
              </a:cxnLst>
              <a:rect l="l" t="t" r="r" b="b"/>
              <a:pathLst>
                <a:path w="118416" h="364286">
                  <a:moveTo>
                    <a:pt x="118417" y="0"/>
                  </a:moveTo>
                  <a:lnTo>
                    <a:pt x="0" y="364287"/>
                  </a:lnTo>
                </a:path>
              </a:pathLst>
            </a:custGeom>
            <a:ln w="7285" cap="flat">
              <a:gradFill>
                <a:gsLst>
                  <a:gs pos="0">
                    <a:srgbClr val="A6E0FF"/>
                  </a:gs>
                  <a:gs pos="67000">
                    <a:srgbClr val="E2F5FF">
                      <a:alpha val="31765"/>
                    </a:srgbClr>
                  </a:gs>
                  <a:gs pos="100000">
                    <a:srgbClr val="FFFFFF">
                      <a:alpha val="0"/>
                    </a:srgbClr>
                  </a:gs>
                </a:gsLst>
                <a:lin ang="0" scaled="1"/>
              </a:grad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26" name="Freeform 279">
              <a:extLst>
                <a:ext uri="{FF2B5EF4-FFF2-40B4-BE49-F238E27FC236}">
                  <a16:creationId xmlns:a16="http://schemas.microsoft.com/office/drawing/2014/main" id="{888E9F93-B9B0-F53E-229C-2F0B9F19BBCC}"/>
                </a:ext>
              </a:extLst>
            </p:cNvPr>
            <p:cNvSpPr/>
            <p:nvPr/>
          </p:nvSpPr>
          <p:spPr>
            <a:xfrm>
              <a:off x="6549073" y="2711833"/>
              <a:ext cx="400326" cy="1231650"/>
            </a:xfrm>
            <a:custGeom>
              <a:avLst/>
              <a:gdLst>
                <a:gd name="connsiteX0" fmla="*/ 0 w 400430"/>
                <a:gd name="connsiteY0" fmla="*/ 1231972 h 1231971"/>
                <a:gd name="connsiteX1" fmla="*/ 400431 w 400430"/>
                <a:gd name="connsiteY1" fmla="*/ 0 h 1231971"/>
              </a:gdLst>
              <a:ahLst/>
              <a:cxnLst>
                <a:cxn ang="0">
                  <a:pos x="connsiteX0" y="connsiteY0"/>
                </a:cxn>
                <a:cxn ang="0">
                  <a:pos x="connsiteX1" y="connsiteY1"/>
                </a:cxn>
              </a:cxnLst>
              <a:rect l="l" t="t" r="r" b="b"/>
              <a:pathLst>
                <a:path w="400430" h="1231971">
                  <a:moveTo>
                    <a:pt x="0" y="1231972"/>
                  </a:moveTo>
                  <a:lnTo>
                    <a:pt x="400431" y="0"/>
                  </a:lnTo>
                </a:path>
              </a:pathLst>
            </a:custGeom>
            <a:ln w="7285" cap="flat">
              <a:gradFill>
                <a:gsLst>
                  <a:gs pos="0">
                    <a:srgbClr val="A6E0FF"/>
                  </a:gs>
                  <a:gs pos="77000">
                    <a:srgbClr val="4DB1FF"/>
                  </a:gs>
                </a:gsLst>
                <a:lin ang="19439846" scaled="1"/>
              </a:grad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27" name="Freeform 280">
              <a:extLst>
                <a:ext uri="{FF2B5EF4-FFF2-40B4-BE49-F238E27FC236}">
                  <a16:creationId xmlns:a16="http://schemas.microsoft.com/office/drawing/2014/main" id="{49021611-0427-C7E8-9FA1-2AB754E0B937}"/>
                </a:ext>
              </a:extLst>
            </p:cNvPr>
            <p:cNvSpPr/>
            <p:nvPr/>
          </p:nvSpPr>
          <p:spPr>
            <a:xfrm>
              <a:off x="5322085" y="2706369"/>
              <a:ext cx="402147" cy="1237479"/>
            </a:xfrm>
            <a:custGeom>
              <a:avLst/>
              <a:gdLst>
                <a:gd name="connsiteX0" fmla="*/ 402253 w 402252"/>
                <a:gd name="connsiteY0" fmla="*/ 1237802 h 1237801"/>
                <a:gd name="connsiteX1" fmla="*/ 0 w 402252"/>
                <a:gd name="connsiteY1" fmla="*/ 0 h 1237801"/>
              </a:gdLst>
              <a:ahLst/>
              <a:cxnLst>
                <a:cxn ang="0">
                  <a:pos x="connsiteX0" y="connsiteY0"/>
                </a:cxn>
                <a:cxn ang="0">
                  <a:pos x="connsiteX1" y="connsiteY1"/>
                </a:cxn>
              </a:cxnLst>
              <a:rect l="l" t="t" r="r" b="b"/>
              <a:pathLst>
                <a:path w="402252" h="1237801">
                  <a:moveTo>
                    <a:pt x="402253" y="1237802"/>
                  </a:moveTo>
                  <a:lnTo>
                    <a:pt x="0" y="0"/>
                  </a:lnTo>
                </a:path>
              </a:pathLst>
            </a:custGeom>
            <a:ln w="7285" cap="flat">
              <a:gradFill>
                <a:gsLst>
                  <a:gs pos="0">
                    <a:srgbClr val="A6E0FF"/>
                  </a:gs>
                  <a:gs pos="77000">
                    <a:srgbClr val="4DB1FF"/>
                  </a:gs>
                </a:gsLst>
                <a:lin ang="17279945" scaled="1"/>
              </a:grad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28" name="Freeform 281">
              <a:extLst>
                <a:ext uri="{FF2B5EF4-FFF2-40B4-BE49-F238E27FC236}">
                  <a16:creationId xmlns:a16="http://schemas.microsoft.com/office/drawing/2014/main" id="{F2BD7A35-CE20-7D8B-90EC-7DBCAE19ECE6}"/>
                </a:ext>
              </a:extLst>
            </p:cNvPr>
            <p:cNvSpPr/>
            <p:nvPr/>
          </p:nvSpPr>
          <p:spPr>
            <a:xfrm>
              <a:off x="4001626" y="3660304"/>
              <a:ext cx="1057678" cy="768816"/>
            </a:xfrm>
            <a:custGeom>
              <a:avLst/>
              <a:gdLst>
                <a:gd name="connsiteX0" fmla="*/ 1057954 w 1057953"/>
                <a:gd name="connsiteY0" fmla="*/ 769017 h 769016"/>
                <a:gd name="connsiteX1" fmla="*/ 0 w 1057953"/>
                <a:gd name="connsiteY1" fmla="*/ 0 h 769016"/>
              </a:gdLst>
              <a:ahLst/>
              <a:cxnLst>
                <a:cxn ang="0">
                  <a:pos x="connsiteX0" y="connsiteY0"/>
                </a:cxn>
                <a:cxn ang="0">
                  <a:pos x="connsiteX1" y="connsiteY1"/>
                </a:cxn>
              </a:cxnLst>
              <a:rect l="l" t="t" r="r" b="b"/>
              <a:pathLst>
                <a:path w="1057953" h="769016">
                  <a:moveTo>
                    <a:pt x="1057954" y="769017"/>
                  </a:moveTo>
                  <a:lnTo>
                    <a:pt x="0" y="0"/>
                  </a:lnTo>
                </a:path>
              </a:pathLst>
            </a:custGeom>
            <a:ln w="7285" cap="flat">
              <a:gradFill>
                <a:gsLst>
                  <a:gs pos="0">
                    <a:srgbClr val="A6E0FF"/>
                  </a:gs>
                  <a:gs pos="77000">
                    <a:srgbClr val="4DB1FF"/>
                  </a:gs>
                </a:gsLst>
                <a:lin ang="17279714" scaled="1"/>
              </a:grad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29" name="Freeform 282">
              <a:extLst>
                <a:ext uri="{FF2B5EF4-FFF2-40B4-BE49-F238E27FC236}">
                  <a16:creationId xmlns:a16="http://schemas.microsoft.com/office/drawing/2014/main" id="{4EB5FF81-5BA1-0FD0-4FA2-C15C4CB2E28D}"/>
                </a:ext>
              </a:extLst>
            </p:cNvPr>
            <p:cNvSpPr/>
            <p:nvPr/>
          </p:nvSpPr>
          <p:spPr>
            <a:xfrm>
              <a:off x="4806431" y="3878426"/>
              <a:ext cx="2660296" cy="1330148"/>
            </a:xfrm>
            <a:custGeom>
              <a:avLst/>
              <a:gdLst>
                <a:gd name="connsiteX0" fmla="*/ 2660990 w 2660989"/>
                <a:gd name="connsiteY0" fmla="*/ 1330495 h 1330494"/>
                <a:gd name="connsiteX1" fmla="*/ 2653703 w 2660989"/>
                <a:gd name="connsiteY1" fmla="*/ 1330495 h 1330494"/>
                <a:gd name="connsiteX2" fmla="*/ 1330495 w 2660989"/>
                <a:gd name="connsiteY2" fmla="*/ 7287 h 1330494"/>
                <a:gd name="connsiteX3" fmla="*/ 7287 w 2660989"/>
                <a:gd name="connsiteY3" fmla="*/ 1330495 h 1330494"/>
                <a:gd name="connsiteX4" fmla="*/ 0 w 2660989"/>
                <a:gd name="connsiteY4" fmla="*/ 1330495 h 1330494"/>
                <a:gd name="connsiteX5" fmla="*/ 1330495 w 2660989"/>
                <a:gd name="connsiteY5" fmla="*/ 0 h 1330494"/>
                <a:gd name="connsiteX6" fmla="*/ 2660990 w 2660989"/>
                <a:gd name="connsiteY6" fmla="*/ 1330495 h 133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0989" h="1330494">
                  <a:moveTo>
                    <a:pt x="2660990" y="1330495"/>
                  </a:moveTo>
                  <a:lnTo>
                    <a:pt x="2653703" y="1330495"/>
                  </a:lnTo>
                  <a:cubicBezTo>
                    <a:pt x="2653703" y="600902"/>
                    <a:pt x="2060088" y="7287"/>
                    <a:pt x="1330495" y="7287"/>
                  </a:cubicBezTo>
                  <a:cubicBezTo>
                    <a:pt x="600902" y="7287"/>
                    <a:pt x="7287" y="600902"/>
                    <a:pt x="7287" y="1330495"/>
                  </a:cubicBezTo>
                  <a:lnTo>
                    <a:pt x="0" y="1330495"/>
                  </a:lnTo>
                  <a:cubicBezTo>
                    <a:pt x="0" y="596894"/>
                    <a:pt x="596894" y="0"/>
                    <a:pt x="1330495" y="0"/>
                  </a:cubicBezTo>
                  <a:cubicBezTo>
                    <a:pt x="2064096" y="0"/>
                    <a:pt x="2660990" y="596894"/>
                    <a:pt x="2660990" y="1330495"/>
                  </a:cubicBezTo>
                  <a:close/>
                </a:path>
              </a:pathLst>
            </a:custGeom>
            <a:gradFill>
              <a:gsLst>
                <a:gs pos="0">
                  <a:srgbClr val="A6E0FF"/>
                </a:gs>
                <a:gs pos="4000">
                  <a:srgbClr val="8CD2FF"/>
                </a:gs>
                <a:gs pos="8000">
                  <a:srgbClr val="76C6FF"/>
                </a:gs>
                <a:gs pos="14000">
                  <a:srgbClr val="65BDFF"/>
                </a:gs>
                <a:gs pos="20000">
                  <a:srgbClr val="59B7FF"/>
                </a:gs>
                <a:gs pos="29000">
                  <a:srgbClr val="52B3FF"/>
                </a:gs>
                <a:gs pos="54000">
                  <a:srgbClr val="51B3FF"/>
                </a:gs>
                <a:gs pos="54000">
                  <a:srgbClr val="4DB1FF"/>
                </a:gs>
                <a:gs pos="70000">
                  <a:srgbClr val="4FB2FF"/>
                </a:gs>
                <a:gs pos="78000">
                  <a:srgbClr val="57B6FF"/>
                </a:gs>
                <a:gs pos="85000">
                  <a:srgbClr val="65BDFF"/>
                </a:gs>
                <a:gs pos="91000">
                  <a:srgbClr val="78C8FF"/>
                </a:gs>
                <a:gs pos="97000">
                  <a:srgbClr val="91D5FF"/>
                </a:gs>
                <a:gs pos="100000">
                  <a:srgbClr val="A6E0FF"/>
                </a:gs>
                <a:gs pos="100000">
                  <a:srgbClr val="4DB1FF"/>
                </a:gs>
              </a:gsLst>
              <a:lin ang="0" scaled="1"/>
            </a:gra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30" name="Freeform 283">
              <a:extLst>
                <a:ext uri="{FF2B5EF4-FFF2-40B4-BE49-F238E27FC236}">
                  <a16:creationId xmlns:a16="http://schemas.microsoft.com/office/drawing/2014/main" id="{41D86A36-5799-BDAB-0258-61F4E1D3491E}"/>
                </a:ext>
              </a:extLst>
            </p:cNvPr>
            <p:cNvSpPr/>
            <p:nvPr/>
          </p:nvSpPr>
          <p:spPr>
            <a:xfrm>
              <a:off x="3382959" y="3212697"/>
              <a:ext cx="306783" cy="222857"/>
            </a:xfrm>
            <a:custGeom>
              <a:avLst/>
              <a:gdLst>
                <a:gd name="connsiteX0" fmla="*/ 0 w 306863"/>
                <a:gd name="connsiteY0" fmla="*/ 0 h 222915"/>
                <a:gd name="connsiteX1" fmla="*/ 306863 w 306863"/>
                <a:gd name="connsiteY1" fmla="*/ 222915 h 222915"/>
              </a:gdLst>
              <a:ahLst/>
              <a:cxnLst>
                <a:cxn ang="0">
                  <a:pos x="connsiteX0" y="connsiteY0"/>
                </a:cxn>
                <a:cxn ang="0">
                  <a:pos x="connsiteX1" y="connsiteY1"/>
                </a:cxn>
              </a:cxnLst>
              <a:rect l="l" t="t" r="r" b="b"/>
              <a:pathLst>
                <a:path w="306863" h="222915">
                  <a:moveTo>
                    <a:pt x="0" y="0"/>
                  </a:moveTo>
                  <a:lnTo>
                    <a:pt x="306863" y="222915"/>
                  </a:lnTo>
                </a:path>
              </a:pathLst>
            </a:custGeom>
            <a:ln w="7285" cap="flat">
              <a:gradFill>
                <a:gsLst>
                  <a:gs pos="0">
                    <a:srgbClr val="A6E0FF"/>
                  </a:gs>
                  <a:gs pos="67000">
                    <a:srgbClr val="E2F5FF">
                      <a:alpha val="31765"/>
                    </a:srgbClr>
                  </a:gs>
                  <a:gs pos="100000">
                    <a:srgbClr val="FFFFFF">
                      <a:alpha val="0"/>
                    </a:srgbClr>
                  </a:gs>
                </a:gsLst>
                <a:lin ang="17281208" scaled="1"/>
              </a:grad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nvGrpSpPr>
            <p:cNvPr id="1631" name="Graphic 2">
              <a:extLst>
                <a:ext uri="{FF2B5EF4-FFF2-40B4-BE49-F238E27FC236}">
                  <a16:creationId xmlns:a16="http://schemas.microsoft.com/office/drawing/2014/main" id="{7F523503-6E13-B70F-0E7F-F3F7CB66537F}"/>
                </a:ext>
              </a:extLst>
            </p:cNvPr>
            <p:cNvGrpSpPr/>
            <p:nvPr/>
          </p:nvGrpSpPr>
          <p:grpSpPr>
            <a:xfrm>
              <a:off x="3830605" y="4440501"/>
              <a:ext cx="808380" cy="299207"/>
              <a:chOff x="3831564" y="4440749"/>
              <a:chExt cx="808585" cy="299284"/>
            </a:xfrm>
            <a:solidFill>
              <a:srgbClr val="00144A"/>
            </a:solidFill>
          </p:grpSpPr>
          <p:sp>
            <p:nvSpPr>
              <p:cNvPr id="1632" name="Freeform 285">
                <a:extLst>
                  <a:ext uri="{FF2B5EF4-FFF2-40B4-BE49-F238E27FC236}">
                    <a16:creationId xmlns:a16="http://schemas.microsoft.com/office/drawing/2014/main" id="{6DBEEF2C-5F2A-0D7B-BA48-BAA2B4363562}"/>
                  </a:ext>
                </a:extLst>
              </p:cNvPr>
              <p:cNvSpPr/>
              <p:nvPr/>
            </p:nvSpPr>
            <p:spPr>
              <a:xfrm>
                <a:off x="3962515" y="4448547"/>
                <a:ext cx="58005" cy="95243"/>
              </a:xfrm>
              <a:custGeom>
                <a:avLst/>
                <a:gdLst>
                  <a:gd name="connsiteX0" fmla="*/ 0 w 58005"/>
                  <a:gd name="connsiteY0" fmla="*/ 0 h 95243"/>
                  <a:gd name="connsiteX1" fmla="*/ 58006 w 58005"/>
                  <a:gd name="connsiteY1" fmla="*/ 0 h 95243"/>
                  <a:gd name="connsiteX2" fmla="*/ 58006 w 58005"/>
                  <a:gd name="connsiteY2" fmla="*/ 11878 h 95243"/>
                  <a:gd name="connsiteX3" fmla="*/ 12825 w 58005"/>
                  <a:gd name="connsiteY3" fmla="*/ 11878 h 95243"/>
                  <a:gd name="connsiteX4" fmla="*/ 12825 w 58005"/>
                  <a:gd name="connsiteY4" fmla="*/ 42776 h 95243"/>
                  <a:gd name="connsiteX5" fmla="*/ 56257 w 58005"/>
                  <a:gd name="connsiteY5" fmla="*/ 42776 h 95243"/>
                  <a:gd name="connsiteX6" fmla="*/ 56257 w 58005"/>
                  <a:gd name="connsiteY6" fmla="*/ 54435 h 95243"/>
                  <a:gd name="connsiteX7" fmla="*/ 12825 w 58005"/>
                  <a:gd name="connsiteY7" fmla="*/ 54435 h 95243"/>
                  <a:gd name="connsiteX8" fmla="*/ 12825 w 58005"/>
                  <a:gd name="connsiteY8" fmla="*/ 95244 h 95243"/>
                  <a:gd name="connsiteX9" fmla="*/ 0 w 58005"/>
                  <a:gd name="connsiteY9" fmla="*/ 95244 h 95243"/>
                  <a:gd name="connsiteX10" fmla="*/ 0 w 58005"/>
                  <a:gd name="connsiteY10" fmla="*/ 0 h 95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005" h="95243">
                    <a:moveTo>
                      <a:pt x="0" y="0"/>
                    </a:moveTo>
                    <a:lnTo>
                      <a:pt x="58006" y="0"/>
                    </a:lnTo>
                    <a:lnTo>
                      <a:pt x="58006" y="11878"/>
                    </a:lnTo>
                    <a:lnTo>
                      <a:pt x="12825" y="11878"/>
                    </a:lnTo>
                    <a:lnTo>
                      <a:pt x="12825" y="42776"/>
                    </a:lnTo>
                    <a:lnTo>
                      <a:pt x="56257" y="42776"/>
                    </a:lnTo>
                    <a:lnTo>
                      <a:pt x="56257" y="54435"/>
                    </a:lnTo>
                    <a:lnTo>
                      <a:pt x="12825" y="54435"/>
                    </a:lnTo>
                    <a:lnTo>
                      <a:pt x="12825" y="95244"/>
                    </a:lnTo>
                    <a:lnTo>
                      <a:pt x="0" y="95244"/>
                    </a:lnTo>
                    <a:lnTo>
                      <a:pt x="0"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33" name="Freeform 286">
                <a:extLst>
                  <a:ext uri="{FF2B5EF4-FFF2-40B4-BE49-F238E27FC236}">
                    <a16:creationId xmlns:a16="http://schemas.microsoft.com/office/drawing/2014/main" id="{408B28DA-0A87-79CA-52A3-B864D8A4181B}"/>
                  </a:ext>
                </a:extLst>
              </p:cNvPr>
              <p:cNvSpPr/>
              <p:nvPr/>
            </p:nvSpPr>
            <p:spPr>
              <a:xfrm>
                <a:off x="4035532" y="4440749"/>
                <a:ext cx="16250" cy="103040"/>
              </a:xfrm>
              <a:custGeom>
                <a:avLst/>
                <a:gdLst>
                  <a:gd name="connsiteX0" fmla="*/ 8089 w 16250"/>
                  <a:gd name="connsiteY0" fmla="*/ 0 h 103040"/>
                  <a:gd name="connsiteX1" fmla="*/ 16251 w 16250"/>
                  <a:gd name="connsiteY1" fmla="*/ 8162 h 103040"/>
                  <a:gd name="connsiteX2" fmla="*/ 8089 w 16250"/>
                  <a:gd name="connsiteY2" fmla="*/ 16323 h 103040"/>
                  <a:gd name="connsiteX3" fmla="*/ 0 w 16250"/>
                  <a:gd name="connsiteY3" fmla="*/ 8162 h 103040"/>
                  <a:gd name="connsiteX4" fmla="*/ 8089 w 16250"/>
                  <a:gd name="connsiteY4" fmla="*/ 0 h 103040"/>
                  <a:gd name="connsiteX5" fmla="*/ 2040 w 16250"/>
                  <a:gd name="connsiteY5" fmla="*/ 29950 h 103040"/>
                  <a:gd name="connsiteX6" fmla="*/ 14210 w 16250"/>
                  <a:gd name="connsiteY6" fmla="*/ 29950 h 103040"/>
                  <a:gd name="connsiteX7" fmla="*/ 14210 w 16250"/>
                  <a:gd name="connsiteY7" fmla="*/ 103041 h 103040"/>
                  <a:gd name="connsiteX8" fmla="*/ 2040 w 16250"/>
                  <a:gd name="connsiteY8" fmla="*/ 103041 h 103040"/>
                  <a:gd name="connsiteX9" fmla="*/ 2040 w 16250"/>
                  <a:gd name="connsiteY9" fmla="*/ 29950 h 10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50" h="103040">
                    <a:moveTo>
                      <a:pt x="8089" y="0"/>
                    </a:moveTo>
                    <a:cubicBezTo>
                      <a:pt x="12826" y="0"/>
                      <a:pt x="16251" y="3425"/>
                      <a:pt x="16251" y="8162"/>
                    </a:cubicBezTo>
                    <a:cubicBezTo>
                      <a:pt x="16251" y="12898"/>
                      <a:pt x="12826" y="16323"/>
                      <a:pt x="8089" y="16323"/>
                    </a:cubicBezTo>
                    <a:cubicBezTo>
                      <a:pt x="3352" y="16323"/>
                      <a:pt x="0" y="12898"/>
                      <a:pt x="0" y="8162"/>
                    </a:cubicBezTo>
                    <a:cubicBezTo>
                      <a:pt x="0" y="3425"/>
                      <a:pt x="3425" y="0"/>
                      <a:pt x="8089" y="0"/>
                    </a:cubicBezTo>
                    <a:close/>
                    <a:moveTo>
                      <a:pt x="2040" y="29950"/>
                    </a:moveTo>
                    <a:lnTo>
                      <a:pt x="14210" y="29950"/>
                    </a:lnTo>
                    <a:lnTo>
                      <a:pt x="14210" y="103041"/>
                    </a:lnTo>
                    <a:lnTo>
                      <a:pt x="2040" y="103041"/>
                    </a:lnTo>
                    <a:lnTo>
                      <a:pt x="2040" y="2995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34" name="Freeform 287">
                <a:extLst>
                  <a:ext uri="{FF2B5EF4-FFF2-40B4-BE49-F238E27FC236}">
                    <a16:creationId xmlns:a16="http://schemas.microsoft.com/office/drawing/2014/main" id="{C069279E-FBF9-C6F3-32A6-DF7B5AEF4356}"/>
                  </a:ext>
                </a:extLst>
              </p:cNvPr>
              <p:cNvSpPr/>
              <p:nvPr/>
            </p:nvSpPr>
            <p:spPr>
              <a:xfrm>
                <a:off x="4071385" y="4469315"/>
                <a:ext cx="58588" cy="74547"/>
              </a:xfrm>
              <a:custGeom>
                <a:avLst/>
                <a:gdLst>
                  <a:gd name="connsiteX0" fmla="*/ 0 w 58588"/>
                  <a:gd name="connsiteY0" fmla="*/ 1385 h 74547"/>
                  <a:gd name="connsiteX1" fmla="*/ 11659 w 58588"/>
                  <a:gd name="connsiteY1" fmla="*/ 1385 h 74547"/>
                  <a:gd name="connsiteX2" fmla="*/ 11659 w 58588"/>
                  <a:gd name="connsiteY2" fmla="*/ 16615 h 74547"/>
                  <a:gd name="connsiteX3" fmla="*/ 11951 w 58588"/>
                  <a:gd name="connsiteY3" fmla="*/ 16615 h 74547"/>
                  <a:gd name="connsiteX4" fmla="*/ 35707 w 58588"/>
                  <a:gd name="connsiteY4" fmla="*/ 0 h 74547"/>
                  <a:gd name="connsiteX5" fmla="*/ 58589 w 58588"/>
                  <a:gd name="connsiteY5" fmla="*/ 25796 h 74547"/>
                  <a:gd name="connsiteX6" fmla="*/ 58589 w 58588"/>
                  <a:gd name="connsiteY6" fmla="*/ 74548 h 74547"/>
                  <a:gd name="connsiteX7" fmla="*/ 46346 w 58588"/>
                  <a:gd name="connsiteY7" fmla="*/ 74548 h 74547"/>
                  <a:gd name="connsiteX8" fmla="*/ 46346 w 58588"/>
                  <a:gd name="connsiteY8" fmla="*/ 28128 h 74547"/>
                  <a:gd name="connsiteX9" fmla="*/ 31262 w 58588"/>
                  <a:gd name="connsiteY9" fmla="*/ 10785 h 74547"/>
                  <a:gd name="connsiteX10" fmla="*/ 12242 w 58588"/>
                  <a:gd name="connsiteY10" fmla="*/ 32064 h 74547"/>
                  <a:gd name="connsiteX11" fmla="*/ 12242 w 58588"/>
                  <a:gd name="connsiteY11" fmla="*/ 74475 h 74547"/>
                  <a:gd name="connsiteX12" fmla="*/ 73 w 58588"/>
                  <a:gd name="connsiteY12" fmla="*/ 74475 h 74547"/>
                  <a:gd name="connsiteX13" fmla="*/ 73 w 58588"/>
                  <a:gd name="connsiteY13" fmla="*/ 1385 h 7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88" h="74547">
                    <a:moveTo>
                      <a:pt x="0" y="1385"/>
                    </a:moveTo>
                    <a:lnTo>
                      <a:pt x="11659" y="1385"/>
                    </a:lnTo>
                    <a:lnTo>
                      <a:pt x="11659" y="16615"/>
                    </a:lnTo>
                    <a:lnTo>
                      <a:pt x="11951" y="16615"/>
                    </a:lnTo>
                    <a:cubicBezTo>
                      <a:pt x="14866" y="8963"/>
                      <a:pt x="20987" y="0"/>
                      <a:pt x="35707" y="0"/>
                    </a:cubicBezTo>
                    <a:cubicBezTo>
                      <a:pt x="51156" y="0"/>
                      <a:pt x="58589" y="10421"/>
                      <a:pt x="58589" y="25796"/>
                    </a:cubicBezTo>
                    <a:lnTo>
                      <a:pt x="58589" y="74548"/>
                    </a:lnTo>
                    <a:lnTo>
                      <a:pt x="46346" y="74548"/>
                    </a:lnTo>
                    <a:lnTo>
                      <a:pt x="46346" y="28128"/>
                    </a:lnTo>
                    <a:cubicBezTo>
                      <a:pt x="46346" y="17489"/>
                      <a:pt x="42484" y="10785"/>
                      <a:pt x="31262" y="10785"/>
                    </a:cubicBezTo>
                    <a:cubicBezTo>
                      <a:pt x="20040" y="10785"/>
                      <a:pt x="12242" y="18437"/>
                      <a:pt x="12242" y="32064"/>
                    </a:cubicBezTo>
                    <a:lnTo>
                      <a:pt x="12242" y="74475"/>
                    </a:lnTo>
                    <a:lnTo>
                      <a:pt x="73" y="74475"/>
                    </a:lnTo>
                    <a:lnTo>
                      <a:pt x="73"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35" name="Freeform 288">
                <a:extLst>
                  <a:ext uri="{FF2B5EF4-FFF2-40B4-BE49-F238E27FC236}">
                    <a16:creationId xmlns:a16="http://schemas.microsoft.com/office/drawing/2014/main" id="{D5FFBCB3-AB9D-1097-5921-C07AE6A600C1}"/>
                  </a:ext>
                </a:extLst>
              </p:cNvPr>
              <p:cNvSpPr/>
              <p:nvPr/>
            </p:nvSpPr>
            <p:spPr>
              <a:xfrm>
                <a:off x="4147172" y="4469242"/>
                <a:ext cx="58443" cy="75786"/>
              </a:xfrm>
              <a:custGeom>
                <a:avLst/>
                <a:gdLst>
                  <a:gd name="connsiteX0" fmla="*/ 73 w 58443"/>
                  <a:gd name="connsiteY0" fmla="*/ 54581 h 75786"/>
                  <a:gd name="connsiteX1" fmla="*/ 33303 w 58443"/>
                  <a:gd name="connsiteY1" fmla="*/ 31043 h 75786"/>
                  <a:gd name="connsiteX2" fmla="*/ 46274 w 58443"/>
                  <a:gd name="connsiteY2" fmla="*/ 31043 h 75786"/>
                  <a:gd name="connsiteX3" fmla="*/ 46274 w 58443"/>
                  <a:gd name="connsiteY3" fmla="*/ 26015 h 75786"/>
                  <a:gd name="connsiteX4" fmla="*/ 31481 w 58443"/>
                  <a:gd name="connsiteY4" fmla="*/ 10275 h 75786"/>
                  <a:gd name="connsiteX5" fmla="*/ 10785 w 58443"/>
                  <a:gd name="connsiteY5" fmla="*/ 20987 h 75786"/>
                  <a:gd name="connsiteX6" fmla="*/ 2915 w 58443"/>
                  <a:gd name="connsiteY6" fmla="*/ 13117 h 75786"/>
                  <a:gd name="connsiteX7" fmla="*/ 32282 w 58443"/>
                  <a:gd name="connsiteY7" fmla="*/ 0 h 75786"/>
                  <a:gd name="connsiteX8" fmla="*/ 58443 w 58443"/>
                  <a:gd name="connsiteY8" fmla="*/ 26015 h 75786"/>
                  <a:gd name="connsiteX9" fmla="*/ 58443 w 58443"/>
                  <a:gd name="connsiteY9" fmla="*/ 74475 h 75786"/>
                  <a:gd name="connsiteX10" fmla="*/ 46784 w 58443"/>
                  <a:gd name="connsiteY10" fmla="*/ 74475 h 75786"/>
                  <a:gd name="connsiteX11" fmla="*/ 46784 w 58443"/>
                  <a:gd name="connsiteY11" fmla="*/ 60848 h 75786"/>
                  <a:gd name="connsiteX12" fmla="*/ 46492 w 58443"/>
                  <a:gd name="connsiteY12" fmla="*/ 60848 h 75786"/>
                  <a:gd name="connsiteX13" fmla="*/ 22299 w 58443"/>
                  <a:gd name="connsiteY13" fmla="*/ 75787 h 75786"/>
                  <a:gd name="connsiteX14" fmla="*/ 0 w 58443"/>
                  <a:gd name="connsiteY14" fmla="*/ 54508 h 75786"/>
                  <a:gd name="connsiteX15" fmla="*/ 25724 w 58443"/>
                  <a:gd name="connsiteY15" fmla="*/ 65658 h 75786"/>
                  <a:gd name="connsiteX16" fmla="*/ 46346 w 58443"/>
                  <a:gd name="connsiteY16" fmla="*/ 47294 h 75786"/>
                  <a:gd name="connsiteX17" fmla="*/ 46346 w 58443"/>
                  <a:gd name="connsiteY17" fmla="*/ 40225 h 75786"/>
                  <a:gd name="connsiteX18" fmla="*/ 34978 w 58443"/>
                  <a:gd name="connsiteY18" fmla="*/ 40225 h 75786"/>
                  <a:gd name="connsiteX19" fmla="*/ 12680 w 58443"/>
                  <a:gd name="connsiteY19" fmla="*/ 54363 h 75786"/>
                  <a:gd name="connsiteX20" fmla="*/ 25724 w 58443"/>
                  <a:gd name="connsiteY20" fmla="*/ 65731 h 7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443" h="75786">
                    <a:moveTo>
                      <a:pt x="73" y="54581"/>
                    </a:moveTo>
                    <a:cubicBezTo>
                      <a:pt x="73" y="37529"/>
                      <a:pt x="14647" y="31043"/>
                      <a:pt x="33303" y="31043"/>
                    </a:cubicBezTo>
                    <a:lnTo>
                      <a:pt x="46274" y="31043"/>
                    </a:lnTo>
                    <a:lnTo>
                      <a:pt x="46274" y="26015"/>
                    </a:lnTo>
                    <a:cubicBezTo>
                      <a:pt x="46274" y="15959"/>
                      <a:pt x="41537" y="10275"/>
                      <a:pt x="31481" y="10275"/>
                    </a:cubicBezTo>
                    <a:cubicBezTo>
                      <a:pt x="22080" y="10275"/>
                      <a:pt x="15667" y="14429"/>
                      <a:pt x="10785" y="20987"/>
                    </a:cubicBezTo>
                    <a:lnTo>
                      <a:pt x="2915" y="13117"/>
                    </a:lnTo>
                    <a:cubicBezTo>
                      <a:pt x="8672" y="6194"/>
                      <a:pt x="17635" y="0"/>
                      <a:pt x="32282" y="0"/>
                    </a:cubicBezTo>
                    <a:cubicBezTo>
                      <a:pt x="49626" y="0"/>
                      <a:pt x="58443" y="10567"/>
                      <a:pt x="58443" y="26015"/>
                    </a:cubicBezTo>
                    <a:lnTo>
                      <a:pt x="58443" y="74475"/>
                    </a:lnTo>
                    <a:lnTo>
                      <a:pt x="46784" y="74475"/>
                    </a:lnTo>
                    <a:lnTo>
                      <a:pt x="46784" y="60848"/>
                    </a:lnTo>
                    <a:lnTo>
                      <a:pt x="46492" y="60848"/>
                    </a:lnTo>
                    <a:cubicBezTo>
                      <a:pt x="41610" y="71269"/>
                      <a:pt x="34177" y="75787"/>
                      <a:pt x="22299" y="75787"/>
                    </a:cubicBezTo>
                    <a:cubicBezTo>
                      <a:pt x="9401" y="75787"/>
                      <a:pt x="0" y="68208"/>
                      <a:pt x="0" y="54508"/>
                    </a:cubicBezTo>
                    <a:close/>
                    <a:moveTo>
                      <a:pt x="25724" y="65658"/>
                    </a:moveTo>
                    <a:cubicBezTo>
                      <a:pt x="39205" y="65658"/>
                      <a:pt x="46346" y="56403"/>
                      <a:pt x="46346" y="47294"/>
                    </a:cubicBezTo>
                    <a:lnTo>
                      <a:pt x="46346" y="40225"/>
                    </a:lnTo>
                    <a:lnTo>
                      <a:pt x="34978" y="40225"/>
                    </a:lnTo>
                    <a:cubicBezTo>
                      <a:pt x="23465" y="40225"/>
                      <a:pt x="12680" y="42703"/>
                      <a:pt x="12680" y="54363"/>
                    </a:cubicBezTo>
                    <a:cubicBezTo>
                      <a:pt x="12680" y="61285"/>
                      <a:pt x="17562" y="65731"/>
                      <a:pt x="25724" y="6573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36" name="Freeform 289">
                <a:extLst>
                  <a:ext uri="{FF2B5EF4-FFF2-40B4-BE49-F238E27FC236}">
                    <a16:creationId xmlns:a16="http://schemas.microsoft.com/office/drawing/2014/main" id="{F8E93264-2D58-2B01-A252-74025D0ABD96}"/>
                  </a:ext>
                </a:extLst>
              </p:cNvPr>
              <p:cNvSpPr/>
              <p:nvPr/>
            </p:nvSpPr>
            <p:spPr>
              <a:xfrm>
                <a:off x="4226675" y="4469315"/>
                <a:ext cx="58588" cy="74547"/>
              </a:xfrm>
              <a:custGeom>
                <a:avLst/>
                <a:gdLst>
                  <a:gd name="connsiteX0" fmla="*/ 0 w 58588"/>
                  <a:gd name="connsiteY0" fmla="*/ 1385 h 74547"/>
                  <a:gd name="connsiteX1" fmla="*/ 11659 w 58588"/>
                  <a:gd name="connsiteY1" fmla="*/ 1385 h 74547"/>
                  <a:gd name="connsiteX2" fmla="*/ 11659 w 58588"/>
                  <a:gd name="connsiteY2" fmla="*/ 16615 h 74547"/>
                  <a:gd name="connsiteX3" fmla="*/ 11951 w 58588"/>
                  <a:gd name="connsiteY3" fmla="*/ 16615 h 74547"/>
                  <a:gd name="connsiteX4" fmla="*/ 35707 w 58588"/>
                  <a:gd name="connsiteY4" fmla="*/ 0 h 74547"/>
                  <a:gd name="connsiteX5" fmla="*/ 58589 w 58588"/>
                  <a:gd name="connsiteY5" fmla="*/ 25796 h 74547"/>
                  <a:gd name="connsiteX6" fmla="*/ 58589 w 58588"/>
                  <a:gd name="connsiteY6" fmla="*/ 74548 h 74547"/>
                  <a:gd name="connsiteX7" fmla="*/ 46346 w 58588"/>
                  <a:gd name="connsiteY7" fmla="*/ 74548 h 74547"/>
                  <a:gd name="connsiteX8" fmla="*/ 46346 w 58588"/>
                  <a:gd name="connsiteY8" fmla="*/ 28128 h 74547"/>
                  <a:gd name="connsiteX9" fmla="*/ 31262 w 58588"/>
                  <a:gd name="connsiteY9" fmla="*/ 10785 h 74547"/>
                  <a:gd name="connsiteX10" fmla="*/ 12242 w 58588"/>
                  <a:gd name="connsiteY10" fmla="*/ 32064 h 74547"/>
                  <a:gd name="connsiteX11" fmla="*/ 12242 w 58588"/>
                  <a:gd name="connsiteY11" fmla="*/ 74475 h 74547"/>
                  <a:gd name="connsiteX12" fmla="*/ 73 w 58588"/>
                  <a:gd name="connsiteY12" fmla="*/ 74475 h 74547"/>
                  <a:gd name="connsiteX13" fmla="*/ 73 w 58588"/>
                  <a:gd name="connsiteY13" fmla="*/ 1385 h 7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88" h="74547">
                    <a:moveTo>
                      <a:pt x="0" y="1385"/>
                    </a:moveTo>
                    <a:lnTo>
                      <a:pt x="11659" y="1385"/>
                    </a:lnTo>
                    <a:lnTo>
                      <a:pt x="11659" y="16615"/>
                    </a:lnTo>
                    <a:lnTo>
                      <a:pt x="11951" y="16615"/>
                    </a:lnTo>
                    <a:cubicBezTo>
                      <a:pt x="14866" y="8963"/>
                      <a:pt x="20987" y="0"/>
                      <a:pt x="35707" y="0"/>
                    </a:cubicBezTo>
                    <a:cubicBezTo>
                      <a:pt x="51156" y="0"/>
                      <a:pt x="58589" y="10421"/>
                      <a:pt x="58589" y="25796"/>
                    </a:cubicBezTo>
                    <a:lnTo>
                      <a:pt x="58589" y="74548"/>
                    </a:lnTo>
                    <a:lnTo>
                      <a:pt x="46346" y="74548"/>
                    </a:lnTo>
                    <a:lnTo>
                      <a:pt x="46346" y="28128"/>
                    </a:lnTo>
                    <a:cubicBezTo>
                      <a:pt x="46346" y="17489"/>
                      <a:pt x="42484" y="10785"/>
                      <a:pt x="31262" y="10785"/>
                    </a:cubicBezTo>
                    <a:cubicBezTo>
                      <a:pt x="20040" y="10785"/>
                      <a:pt x="12242" y="18437"/>
                      <a:pt x="12242" y="32064"/>
                    </a:cubicBezTo>
                    <a:lnTo>
                      <a:pt x="12242" y="74475"/>
                    </a:lnTo>
                    <a:lnTo>
                      <a:pt x="73" y="74475"/>
                    </a:lnTo>
                    <a:lnTo>
                      <a:pt x="73"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37" name="Freeform 290">
                <a:extLst>
                  <a:ext uri="{FF2B5EF4-FFF2-40B4-BE49-F238E27FC236}">
                    <a16:creationId xmlns:a16="http://schemas.microsoft.com/office/drawing/2014/main" id="{47D6F704-5DCB-04A6-F10D-C9FEF9D43B8A}"/>
                  </a:ext>
                </a:extLst>
              </p:cNvPr>
              <p:cNvSpPr/>
              <p:nvPr/>
            </p:nvSpPr>
            <p:spPr>
              <a:xfrm>
                <a:off x="4301806" y="4469242"/>
                <a:ext cx="63689" cy="75932"/>
              </a:xfrm>
              <a:custGeom>
                <a:avLst/>
                <a:gdLst>
                  <a:gd name="connsiteX0" fmla="*/ 0 w 63689"/>
                  <a:gd name="connsiteY0" fmla="*/ 37966 h 75932"/>
                  <a:gd name="connsiteX1" fmla="*/ 35124 w 63689"/>
                  <a:gd name="connsiteY1" fmla="*/ 0 h 75932"/>
                  <a:gd name="connsiteX2" fmla="*/ 63690 w 63689"/>
                  <a:gd name="connsiteY2" fmla="*/ 13919 h 75932"/>
                  <a:gd name="connsiteX3" fmla="*/ 55091 w 63689"/>
                  <a:gd name="connsiteY3" fmla="*/ 20841 h 75932"/>
                  <a:gd name="connsiteX4" fmla="*/ 35416 w 63689"/>
                  <a:gd name="connsiteY4" fmla="*/ 10421 h 75932"/>
                  <a:gd name="connsiteX5" fmla="*/ 12680 w 63689"/>
                  <a:gd name="connsiteY5" fmla="*/ 37966 h 75932"/>
                  <a:gd name="connsiteX6" fmla="*/ 35416 w 63689"/>
                  <a:gd name="connsiteY6" fmla="*/ 65585 h 75932"/>
                  <a:gd name="connsiteX7" fmla="*/ 55091 w 63689"/>
                  <a:gd name="connsiteY7" fmla="*/ 55164 h 75932"/>
                  <a:gd name="connsiteX8" fmla="*/ 63690 w 63689"/>
                  <a:gd name="connsiteY8" fmla="*/ 62087 h 75932"/>
                  <a:gd name="connsiteX9" fmla="*/ 35124 w 63689"/>
                  <a:gd name="connsiteY9" fmla="*/ 75933 h 75932"/>
                  <a:gd name="connsiteX10" fmla="*/ 0 w 63689"/>
                  <a:gd name="connsiteY10" fmla="*/ 37966 h 7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689" h="75932">
                    <a:moveTo>
                      <a:pt x="0" y="37966"/>
                    </a:moveTo>
                    <a:cubicBezTo>
                      <a:pt x="0" y="13336"/>
                      <a:pt x="15230" y="0"/>
                      <a:pt x="35124" y="0"/>
                    </a:cubicBezTo>
                    <a:cubicBezTo>
                      <a:pt x="48168" y="0"/>
                      <a:pt x="57933" y="5538"/>
                      <a:pt x="63690" y="13919"/>
                    </a:cubicBezTo>
                    <a:lnTo>
                      <a:pt x="55091" y="20841"/>
                    </a:lnTo>
                    <a:cubicBezTo>
                      <a:pt x="50646" y="14356"/>
                      <a:pt x="44452" y="10421"/>
                      <a:pt x="35416" y="10421"/>
                    </a:cubicBezTo>
                    <a:cubicBezTo>
                      <a:pt x="22080" y="10421"/>
                      <a:pt x="12680" y="19675"/>
                      <a:pt x="12680" y="37966"/>
                    </a:cubicBezTo>
                    <a:cubicBezTo>
                      <a:pt x="12680" y="56257"/>
                      <a:pt x="22080" y="65585"/>
                      <a:pt x="35416" y="65585"/>
                    </a:cubicBezTo>
                    <a:cubicBezTo>
                      <a:pt x="44379" y="65585"/>
                      <a:pt x="50646" y="61650"/>
                      <a:pt x="55091" y="55164"/>
                    </a:cubicBezTo>
                    <a:lnTo>
                      <a:pt x="63690" y="62087"/>
                    </a:lnTo>
                    <a:cubicBezTo>
                      <a:pt x="57933" y="70467"/>
                      <a:pt x="48241" y="75933"/>
                      <a:pt x="35124" y="75933"/>
                    </a:cubicBezTo>
                    <a:cubicBezTo>
                      <a:pt x="15157" y="75933"/>
                      <a:pt x="0" y="62670"/>
                      <a:pt x="0" y="37966"/>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38" name="Freeform 291">
                <a:extLst>
                  <a:ext uri="{FF2B5EF4-FFF2-40B4-BE49-F238E27FC236}">
                    <a16:creationId xmlns:a16="http://schemas.microsoft.com/office/drawing/2014/main" id="{BD3D16FE-6B10-76CF-23A2-E5175255CACB}"/>
                  </a:ext>
                </a:extLst>
              </p:cNvPr>
              <p:cNvSpPr/>
              <p:nvPr/>
            </p:nvSpPr>
            <p:spPr>
              <a:xfrm>
                <a:off x="4377010" y="4440749"/>
                <a:ext cx="16250" cy="103040"/>
              </a:xfrm>
              <a:custGeom>
                <a:avLst/>
                <a:gdLst>
                  <a:gd name="connsiteX0" fmla="*/ 8089 w 16250"/>
                  <a:gd name="connsiteY0" fmla="*/ 0 h 103040"/>
                  <a:gd name="connsiteX1" fmla="*/ 16250 w 16250"/>
                  <a:gd name="connsiteY1" fmla="*/ 8162 h 103040"/>
                  <a:gd name="connsiteX2" fmla="*/ 8089 w 16250"/>
                  <a:gd name="connsiteY2" fmla="*/ 16323 h 103040"/>
                  <a:gd name="connsiteX3" fmla="*/ 0 w 16250"/>
                  <a:gd name="connsiteY3" fmla="*/ 8162 h 103040"/>
                  <a:gd name="connsiteX4" fmla="*/ 8089 w 16250"/>
                  <a:gd name="connsiteY4" fmla="*/ 0 h 103040"/>
                  <a:gd name="connsiteX5" fmla="*/ 1967 w 16250"/>
                  <a:gd name="connsiteY5" fmla="*/ 29950 h 103040"/>
                  <a:gd name="connsiteX6" fmla="*/ 14137 w 16250"/>
                  <a:gd name="connsiteY6" fmla="*/ 29950 h 103040"/>
                  <a:gd name="connsiteX7" fmla="*/ 14137 w 16250"/>
                  <a:gd name="connsiteY7" fmla="*/ 103041 h 103040"/>
                  <a:gd name="connsiteX8" fmla="*/ 1967 w 16250"/>
                  <a:gd name="connsiteY8" fmla="*/ 103041 h 103040"/>
                  <a:gd name="connsiteX9" fmla="*/ 1967 w 16250"/>
                  <a:gd name="connsiteY9" fmla="*/ 29950 h 10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50" h="103040">
                    <a:moveTo>
                      <a:pt x="8089" y="0"/>
                    </a:moveTo>
                    <a:cubicBezTo>
                      <a:pt x="12825" y="0"/>
                      <a:pt x="16250" y="3425"/>
                      <a:pt x="16250" y="8162"/>
                    </a:cubicBezTo>
                    <a:cubicBezTo>
                      <a:pt x="16250" y="12898"/>
                      <a:pt x="12825" y="16323"/>
                      <a:pt x="8089" y="16323"/>
                    </a:cubicBezTo>
                    <a:cubicBezTo>
                      <a:pt x="3352" y="16323"/>
                      <a:pt x="0" y="12898"/>
                      <a:pt x="0" y="8162"/>
                    </a:cubicBezTo>
                    <a:cubicBezTo>
                      <a:pt x="0" y="3425"/>
                      <a:pt x="3425" y="0"/>
                      <a:pt x="8089" y="0"/>
                    </a:cubicBezTo>
                    <a:close/>
                    <a:moveTo>
                      <a:pt x="1967" y="29950"/>
                    </a:moveTo>
                    <a:lnTo>
                      <a:pt x="14137" y="29950"/>
                    </a:lnTo>
                    <a:lnTo>
                      <a:pt x="14137" y="103041"/>
                    </a:lnTo>
                    <a:lnTo>
                      <a:pt x="1967" y="103041"/>
                    </a:lnTo>
                    <a:lnTo>
                      <a:pt x="1967" y="2995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39" name="Freeform 292">
                <a:extLst>
                  <a:ext uri="{FF2B5EF4-FFF2-40B4-BE49-F238E27FC236}">
                    <a16:creationId xmlns:a16="http://schemas.microsoft.com/office/drawing/2014/main" id="{6CB1508A-AA08-1680-E7E9-3C9B82A6670F}"/>
                  </a:ext>
                </a:extLst>
              </p:cNvPr>
              <p:cNvSpPr/>
              <p:nvPr/>
            </p:nvSpPr>
            <p:spPr>
              <a:xfrm>
                <a:off x="4409146" y="4469242"/>
                <a:ext cx="58443" cy="75786"/>
              </a:xfrm>
              <a:custGeom>
                <a:avLst/>
                <a:gdLst>
                  <a:gd name="connsiteX0" fmla="*/ 73 w 58443"/>
                  <a:gd name="connsiteY0" fmla="*/ 54581 h 75786"/>
                  <a:gd name="connsiteX1" fmla="*/ 33303 w 58443"/>
                  <a:gd name="connsiteY1" fmla="*/ 31043 h 75786"/>
                  <a:gd name="connsiteX2" fmla="*/ 46274 w 58443"/>
                  <a:gd name="connsiteY2" fmla="*/ 31043 h 75786"/>
                  <a:gd name="connsiteX3" fmla="*/ 46274 w 58443"/>
                  <a:gd name="connsiteY3" fmla="*/ 26015 h 75786"/>
                  <a:gd name="connsiteX4" fmla="*/ 31481 w 58443"/>
                  <a:gd name="connsiteY4" fmla="*/ 10275 h 75786"/>
                  <a:gd name="connsiteX5" fmla="*/ 10785 w 58443"/>
                  <a:gd name="connsiteY5" fmla="*/ 20987 h 75786"/>
                  <a:gd name="connsiteX6" fmla="*/ 2915 w 58443"/>
                  <a:gd name="connsiteY6" fmla="*/ 13117 h 75786"/>
                  <a:gd name="connsiteX7" fmla="*/ 32282 w 58443"/>
                  <a:gd name="connsiteY7" fmla="*/ 0 h 75786"/>
                  <a:gd name="connsiteX8" fmla="*/ 58443 w 58443"/>
                  <a:gd name="connsiteY8" fmla="*/ 26015 h 75786"/>
                  <a:gd name="connsiteX9" fmla="*/ 58443 w 58443"/>
                  <a:gd name="connsiteY9" fmla="*/ 74475 h 75786"/>
                  <a:gd name="connsiteX10" fmla="*/ 46784 w 58443"/>
                  <a:gd name="connsiteY10" fmla="*/ 74475 h 75786"/>
                  <a:gd name="connsiteX11" fmla="*/ 46784 w 58443"/>
                  <a:gd name="connsiteY11" fmla="*/ 60848 h 75786"/>
                  <a:gd name="connsiteX12" fmla="*/ 46492 w 58443"/>
                  <a:gd name="connsiteY12" fmla="*/ 60848 h 75786"/>
                  <a:gd name="connsiteX13" fmla="*/ 22299 w 58443"/>
                  <a:gd name="connsiteY13" fmla="*/ 75787 h 75786"/>
                  <a:gd name="connsiteX14" fmla="*/ 0 w 58443"/>
                  <a:gd name="connsiteY14" fmla="*/ 54508 h 75786"/>
                  <a:gd name="connsiteX15" fmla="*/ 25724 w 58443"/>
                  <a:gd name="connsiteY15" fmla="*/ 65658 h 75786"/>
                  <a:gd name="connsiteX16" fmla="*/ 46347 w 58443"/>
                  <a:gd name="connsiteY16" fmla="*/ 47294 h 75786"/>
                  <a:gd name="connsiteX17" fmla="*/ 46347 w 58443"/>
                  <a:gd name="connsiteY17" fmla="*/ 40225 h 75786"/>
                  <a:gd name="connsiteX18" fmla="*/ 34979 w 58443"/>
                  <a:gd name="connsiteY18" fmla="*/ 40225 h 75786"/>
                  <a:gd name="connsiteX19" fmla="*/ 12680 w 58443"/>
                  <a:gd name="connsiteY19" fmla="*/ 54363 h 75786"/>
                  <a:gd name="connsiteX20" fmla="*/ 25724 w 58443"/>
                  <a:gd name="connsiteY20" fmla="*/ 65731 h 7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443" h="75786">
                    <a:moveTo>
                      <a:pt x="73" y="54581"/>
                    </a:moveTo>
                    <a:cubicBezTo>
                      <a:pt x="73" y="37529"/>
                      <a:pt x="14574" y="31043"/>
                      <a:pt x="33303" y="31043"/>
                    </a:cubicBezTo>
                    <a:lnTo>
                      <a:pt x="46274" y="31043"/>
                    </a:lnTo>
                    <a:lnTo>
                      <a:pt x="46274" y="26015"/>
                    </a:lnTo>
                    <a:cubicBezTo>
                      <a:pt x="46274" y="15959"/>
                      <a:pt x="41537" y="10275"/>
                      <a:pt x="31481" y="10275"/>
                    </a:cubicBezTo>
                    <a:cubicBezTo>
                      <a:pt x="22080" y="10275"/>
                      <a:pt x="15668" y="14429"/>
                      <a:pt x="10785" y="20987"/>
                    </a:cubicBezTo>
                    <a:lnTo>
                      <a:pt x="2915" y="13117"/>
                    </a:lnTo>
                    <a:cubicBezTo>
                      <a:pt x="8672" y="6194"/>
                      <a:pt x="17635" y="0"/>
                      <a:pt x="32282" y="0"/>
                    </a:cubicBezTo>
                    <a:cubicBezTo>
                      <a:pt x="49626" y="0"/>
                      <a:pt x="58443" y="10567"/>
                      <a:pt x="58443" y="26015"/>
                    </a:cubicBezTo>
                    <a:lnTo>
                      <a:pt x="58443" y="74475"/>
                    </a:lnTo>
                    <a:lnTo>
                      <a:pt x="46784" y="74475"/>
                    </a:lnTo>
                    <a:lnTo>
                      <a:pt x="46784" y="60848"/>
                    </a:lnTo>
                    <a:lnTo>
                      <a:pt x="46492" y="60848"/>
                    </a:lnTo>
                    <a:cubicBezTo>
                      <a:pt x="41610" y="71269"/>
                      <a:pt x="34177" y="75787"/>
                      <a:pt x="22299" y="75787"/>
                    </a:cubicBezTo>
                    <a:cubicBezTo>
                      <a:pt x="9401" y="75787"/>
                      <a:pt x="0" y="68208"/>
                      <a:pt x="0" y="54508"/>
                    </a:cubicBezTo>
                    <a:close/>
                    <a:moveTo>
                      <a:pt x="25724" y="65658"/>
                    </a:moveTo>
                    <a:cubicBezTo>
                      <a:pt x="39205" y="65658"/>
                      <a:pt x="46347" y="56403"/>
                      <a:pt x="46347" y="47294"/>
                    </a:cubicBezTo>
                    <a:lnTo>
                      <a:pt x="46347" y="40225"/>
                    </a:lnTo>
                    <a:lnTo>
                      <a:pt x="34979" y="40225"/>
                    </a:lnTo>
                    <a:cubicBezTo>
                      <a:pt x="23465" y="40225"/>
                      <a:pt x="12680" y="42703"/>
                      <a:pt x="12680" y="54363"/>
                    </a:cubicBezTo>
                    <a:cubicBezTo>
                      <a:pt x="12680" y="61285"/>
                      <a:pt x="17562" y="65731"/>
                      <a:pt x="25724" y="6573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40" name="Freeform 293">
                <a:extLst>
                  <a:ext uri="{FF2B5EF4-FFF2-40B4-BE49-F238E27FC236}">
                    <a16:creationId xmlns:a16="http://schemas.microsoft.com/office/drawing/2014/main" id="{5DA0D08D-3D8D-F926-6CD3-757B953C0F6E}"/>
                  </a:ext>
                </a:extLst>
              </p:cNvPr>
              <p:cNvSpPr/>
              <p:nvPr/>
            </p:nvSpPr>
            <p:spPr>
              <a:xfrm>
                <a:off x="4488139" y="4443373"/>
                <a:ext cx="25650" cy="101437"/>
              </a:xfrm>
              <a:custGeom>
                <a:avLst/>
                <a:gdLst>
                  <a:gd name="connsiteX0" fmla="*/ 0 w 25650"/>
                  <a:gd name="connsiteY0" fmla="*/ 83730 h 101437"/>
                  <a:gd name="connsiteX1" fmla="*/ 0 w 25650"/>
                  <a:gd name="connsiteY1" fmla="*/ 0 h 101437"/>
                  <a:gd name="connsiteX2" fmla="*/ 12169 w 25650"/>
                  <a:gd name="connsiteY2" fmla="*/ 0 h 101437"/>
                  <a:gd name="connsiteX3" fmla="*/ 12169 w 25650"/>
                  <a:gd name="connsiteY3" fmla="*/ 81835 h 101437"/>
                  <a:gd name="connsiteX4" fmla="*/ 19165 w 25650"/>
                  <a:gd name="connsiteY4" fmla="*/ 90434 h 101437"/>
                  <a:gd name="connsiteX5" fmla="*/ 25651 w 25650"/>
                  <a:gd name="connsiteY5" fmla="*/ 89559 h 101437"/>
                  <a:gd name="connsiteX6" fmla="*/ 25651 w 25650"/>
                  <a:gd name="connsiteY6" fmla="*/ 100345 h 101437"/>
                  <a:gd name="connsiteX7" fmla="*/ 16760 w 25650"/>
                  <a:gd name="connsiteY7" fmla="*/ 101438 h 101437"/>
                  <a:gd name="connsiteX8" fmla="*/ 0 w 25650"/>
                  <a:gd name="connsiteY8" fmla="*/ 83730 h 10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50" h="101437">
                    <a:moveTo>
                      <a:pt x="0" y="83730"/>
                    </a:moveTo>
                    <a:lnTo>
                      <a:pt x="0" y="0"/>
                    </a:lnTo>
                    <a:lnTo>
                      <a:pt x="12169" y="0"/>
                    </a:lnTo>
                    <a:lnTo>
                      <a:pt x="12169" y="81835"/>
                    </a:lnTo>
                    <a:cubicBezTo>
                      <a:pt x="12169" y="88467"/>
                      <a:pt x="13700" y="90434"/>
                      <a:pt x="19165" y="90434"/>
                    </a:cubicBezTo>
                    <a:cubicBezTo>
                      <a:pt x="21643" y="90434"/>
                      <a:pt x="23683" y="89997"/>
                      <a:pt x="25651" y="89559"/>
                    </a:cubicBezTo>
                    <a:lnTo>
                      <a:pt x="25651" y="100345"/>
                    </a:lnTo>
                    <a:cubicBezTo>
                      <a:pt x="23246" y="101000"/>
                      <a:pt x="19967" y="101438"/>
                      <a:pt x="16760" y="101438"/>
                    </a:cubicBezTo>
                    <a:cubicBezTo>
                      <a:pt x="4737" y="101438"/>
                      <a:pt x="0" y="95462"/>
                      <a:pt x="0" y="8373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41" name="Freeform 294">
                <a:extLst>
                  <a:ext uri="{FF2B5EF4-FFF2-40B4-BE49-F238E27FC236}">
                    <a16:creationId xmlns:a16="http://schemas.microsoft.com/office/drawing/2014/main" id="{E7350B86-7A49-0CD7-72EA-10580CEC0259}"/>
                  </a:ext>
                </a:extLst>
              </p:cNvPr>
              <p:cNvSpPr/>
              <p:nvPr/>
            </p:nvSpPr>
            <p:spPr>
              <a:xfrm>
                <a:off x="3831564" y="4635463"/>
                <a:ext cx="96992" cy="74475"/>
              </a:xfrm>
              <a:custGeom>
                <a:avLst/>
                <a:gdLst>
                  <a:gd name="connsiteX0" fmla="*/ 0 w 96992"/>
                  <a:gd name="connsiteY0" fmla="*/ 1385 h 74475"/>
                  <a:gd name="connsiteX1" fmla="*/ 11660 w 96992"/>
                  <a:gd name="connsiteY1" fmla="*/ 1385 h 74475"/>
                  <a:gd name="connsiteX2" fmla="*/ 11660 w 96992"/>
                  <a:gd name="connsiteY2" fmla="*/ 16615 h 74475"/>
                  <a:gd name="connsiteX3" fmla="*/ 11951 w 96992"/>
                  <a:gd name="connsiteY3" fmla="*/ 16615 h 74475"/>
                  <a:gd name="connsiteX4" fmla="*/ 33302 w 96992"/>
                  <a:gd name="connsiteY4" fmla="*/ 0 h 74475"/>
                  <a:gd name="connsiteX5" fmla="*/ 53269 w 96992"/>
                  <a:gd name="connsiteY5" fmla="*/ 16615 h 74475"/>
                  <a:gd name="connsiteX6" fmla="*/ 53561 w 96992"/>
                  <a:gd name="connsiteY6" fmla="*/ 16615 h 74475"/>
                  <a:gd name="connsiteX7" fmla="*/ 75641 w 96992"/>
                  <a:gd name="connsiteY7" fmla="*/ 0 h 74475"/>
                  <a:gd name="connsiteX8" fmla="*/ 96992 w 96992"/>
                  <a:gd name="connsiteY8" fmla="*/ 25724 h 74475"/>
                  <a:gd name="connsiteX9" fmla="*/ 96992 w 96992"/>
                  <a:gd name="connsiteY9" fmla="*/ 74475 h 74475"/>
                  <a:gd name="connsiteX10" fmla="*/ 84823 w 96992"/>
                  <a:gd name="connsiteY10" fmla="*/ 74475 h 74475"/>
                  <a:gd name="connsiteX11" fmla="*/ 84823 w 96992"/>
                  <a:gd name="connsiteY11" fmla="*/ 28129 h 74475"/>
                  <a:gd name="connsiteX12" fmla="*/ 71633 w 96992"/>
                  <a:gd name="connsiteY12" fmla="*/ 10785 h 74475"/>
                  <a:gd name="connsiteX13" fmla="*/ 54581 w 96992"/>
                  <a:gd name="connsiteY13" fmla="*/ 32064 h 74475"/>
                  <a:gd name="connsiteX14" fmla="*/ 54581 w 96992"/>
                  <a:gd name="connsiteY14" fmla="*/ 74475 h 74475"/>
                  <a:gd name="connsiteX15" fmla="*/ 42411 w 96992"/>
                  <a:gd name="connsiteY15" fmla="*/ 74475 h 74475"/>
                  <a:gd name="connsiteX16" fmla="*/ 42411 w 96992"/>
                  <a:gd name="connsiteY16" fmla="*/ 28129 h 74475"/>
                  <a:gd name="connsiteX17" fmla="*/ 29221 w 96992"/>
                  <a:gd name="connsiteY17" fmla="*/ 10785 h 74475"/>
                  <a:gd name="connsiteX18" fmla="*/ 12169 w 96992"/>
                  <a:gd name="connsiteY18" fmla="*/ 32064 h 74475"/>
                  <a:gd name="connsiteX19" fmla="*/ 12169 w 96992"/>
                  <a:gd name="connsiteY19" fmla="*/ 74475 h 74475"/>
                  <a:gd name="connsiteX20" fmla="*/ 0 w 96992"/>
                  <a:gd name="connsiteY20" fmla="*/ 74475 h 74475"/>
                  <a:gd name="connsiteX21" fmla="*/ 0 w 96992"/>
                  <a:gd name="connsiteY21"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6992" h="74475">
                    <a:moveTo>
                      <a:pt x="0" y="1385"/>
                    </a:moveTo>
                    <a:lnTo>
                      <a:pt x="11660" y="1385"/>
                    </a:lnTo>
                    <a:lnTo>
                      <a:pt x="11660" y="16615"/>
                    </a:lnTo>
                    <a:lnTo>
                      <a:pt x="11951" y="16615"/>
                    </a:lnTo>
                    <a:cubicBezTo>
                      <a:pt x="15449" y="5976"/>
                      <a:pt x="23173" y="0"/>
                      <a:pt x="33302" y="0"/>
                    </a:cubicBezTo>
                    <a:cubicBezTo>
                      <a:pt x="43432" y="0"/>
                      <a:pt x="50719" y="5174"/>
                      <a:pt x="53269" y="16615"/>
                    </a:cubicBezTo>
                    <a:lnTo>
                      <a:pt x="53561" y="16615"/>
                    </a:lnTo>
                    <a:cubicBezTo>
                      <a:pt x="56913" y="5101"/>
                      <a:pt x="65585" y="0"/>
                      <a:pt x="75641" y="0"/>
                    </a:cubicBezTo>
                    <a:cubicBezTo>
                      <a:pt x="89341" y="0"/>
                      <a:pt x="96992" y="7651"/>
                      <a:pt x="96992" y="25724"/>
                    </a:cubicBezTo>
                    <a:lnTo>
                      <a:pt x="96992" y="74475"/>
                    </a:lnTo>
                    <a:lnTo>
                      <a:pt x="84823" y="74475"/>
                    </a:lnTo>
                    <a:lnTo>
                      <a:pt x="84823" y="28129"/>
                    </a:lnTo>
                    <a:cubicBezTo>
                      <a:pt x="84823" y="17416"/>
                      <a:pt x="81471" y="10785"/>
                      <a:pt x="71633" y="10785"/>
                    </a:cubicBezTo>
                    <a:cubicBezTo>
                      <a:pt x="61212" y="10785"/>
                      <a:pt x="54581" y="18437"/>
                      <a:pt x="54581" y="32064"/>
                    </a:cubicBezTo>
                    <a:lnTo>
                      <a:pt x="54581" y="74475"/>
                    </a:lnTo>
                    <a:lnTo>
                      <a:pt x="42411" y="74475"/>
                    </a:lnTo>
                    <a:lnTo>
                      <a:pt x="42411" y="28129"/>
                    </a:lnTo>
                    <a:cubicBezTo>
                      <a:pt x="42411" y="17416"/>
                      <a:pt x="39059" y="10785"/>
                      <a:pt x="29221" y="10785"/>
                    </a:cubicBezTo>
                    <a:cubicBezTo>
                      <a:pt x="18874" y="10785"/>
                      <a:pt x="12169" y="18437"/>
                      <a:pt x="12169" y="32064"/>
                    </a:cubicBezTo>
                    <a:lnTo>
                      <a:pt x="12169" y="74475"/>
                    </a:lnTo>
                    <a:lnTo>
                      <a:pt x="0" y="74475"/>
                    </a:lnTo>
                    <a:lnTo>
                      <a:pt x="0"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42" name="Freeform 295">
                <a:extLst>
                  <a:ext uri="{FF2B5EF4-FFF2-40B4-BE49-F238E27FC236}">
                    <a16:creationId xmlns:a16="http://schemas.microsoft.com/office/drawing/2014/main" id="{31BD1648-DDFE-9F0C-F66E-7C0DD8D814C3}"/>
                  </a:ext>
                </a:extLst>
              </p:cNvPr>
              <p:cNvSpPr/>
              <p:nvPr/>
            </p:nvSpPr>
            <p:spPr>
              <a:xfrm>
                <a:off x="3945900" y="4635317"/>
                <a:ext cx="58443" cy="75786"/>
              </a:xfrm>
              <a:custGeom>
                <a:avLst/>
                <a:gdLst>
                  <a:gd name="connsiteX0" fmla="*/ 73 w 58443"/>
                  <a:gd name="connsiteY0" fmla="*/ 54654 h 75786"/>
                  <a:gd name="connsiteX1" fmla="*/ 33302 w 58443"/>
                  <a:gd name="connsiteY1" fmla="*/ 31116 h 75786"/>
                  <a:gd name="connsiteX2" fmla="*/ 46273 w 58443"/>
                  <a:gd name="connsiteY2" fmla="*/ 31116 h 75786"/>
                  <a:gd name="connsiteX3" fmla="*/ 46273 w 58443"/>
                  <a:gd name="connsiteY3" fmla="*/ 26088 h 75786"/>
                  <a:gd name="connsiteX4" fmla="*/ 31480 w 58443"/>
                  <a:gd name="connsiteY4" fmla="*/ 10348 h 75786"/>
                  <a:gd name="connsiteX5" fmla="*/ 10785 w 58443"/>
                  <a:gd name="connsiteY5" fmla="*/ 20987 h 75786"/>
                  <a:gd name="connsiteX6" fmla="*/ 2915 w 58443"/>
                  <a:gd name="connsiteY6" fmla="*/ 13117 h 75786"/>
                  <a:gd name="connsiteX7" fmla="*/ 32282 w 58443"/>
                  <a:gd name="connsiteY7" fmla="*/ 0 h 75786"/>
                  <a:gd name="connsiteX8" fmla="*/ 58443 w 58443"/>
                  <a:gd name="connsiteY8" fmla="*/ 26015 h 75786"/>
                  <a:gd name="connsiteX9" fmla="*/ 58443 w 58443"/>
                  <a:gd name="connsiteY9" fmla="*/ 74475 h 75786"/>
                  <a:gd name="connsiteX10" fmla="*/ 46784 w 58443"/>
                  <a:gd name="connsiteY10" fmla="*/ 74475 h 75786"/>
                  <a:gd name="connsiteX11" fmla="*/ 46784 w 58443"/>
                  <a:gd name="connsiteY11" fmla="*/ 60848 h 75786"/>
                  <a:gd name="connsiteX12" fmla="*/ 46492 w 58443"/>
                  <a:gd name="connsiteY12" fmla="*/ 60848 h 75786"/>
                  <a:gd name="connsiteX13" fmla="*/ 22299 w 58443"/>
                  <a:gd name="connsiteY13" fmla="*/ 75786 h 75786"/>
                  <a:gd name="connsiteX14" fmla="*/ 0 w 58443"/>
                  <a:gd name="connsiteY14" fmla="*/ 54508 h 75786"/>
                  <a:gd name="connsiteX15" fmla="*/ 25651 w 58443"/>
                  <a:gd name="connsiteY15" fmla="*/ 65730 h 75786"/>
                  <a:gd name="connsiteX16" fmla="*/ 46273 w 58443"/>
                  <a:gd name="connsiteY16" fmla="*/ 47367 h 75786"/>
                  <a:gd name="connsiteX17" fmla="*/ 46273 w 58443"/>
                  <a:gd name="connsiteY17" fmla="*/ 40298 h 75786"/>
                  <a:gd name="connsiteX18" fmla="*/ 34905 w 58443"/>
                  <a:gd name="connsiteY18" fmla="*/ 40298 h 75786"/>
                  <a:gd name="connsiteX19" fmla="*/ 12607 w 58443"/>
                  <a:gd name="connsiteY19" fmla="*/ 54435 h 75786"/>
                  <a:gd name="connsiteX20" fmla="*/ 25651 w 58443"/>
                  <a:gd name="connsiteY20" fmla="*/ 65803 h 7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443" h="75786">
                    <a:moveTo>
                      <a:pt x="73" y="54654"/>
                    </a:moveTo>
                    <a:cubicBezTo>
                      <a:pt x="73" y="37602"/>
                      <a:pt x="14647" y="31116"/>
                      <a:pt x="33302" y="31116"/>
                    </a:cubicBezTo>
                    <a:lnTo>
                      <a:pt x="46273" y="31116"/>
                    </a:lnTo>
                    <a:lnTo>
                      <a:pt x="46273" y="26088"/>
                    </a:lnTo>
                    <a:cubicBezTo>
                      <a:pt x="46273" y="16031"/>
                      <a:pt x="41537" y="10348"/>
                      <a:pt x="31480" y="10348"/>
                    </a:cubicBezTo>
                    <a:cubicBezTo>
                      <a:pt x="22080" y="10348"/>
                      <a:pt x="15667" y="14428"/>
                      <a:pt x="10785" y="20987"/>
                    </a:cubicBezTo>
                    <a:lnTo>
                      <a:pt x="2915" y="13117"/>
                    </a:lnTo>
                    <a:cubicBezTo>
                      <a:pt x="8672" y="6194"/>
                      <a:pt x="17635" y="0"/>
                      <a:pt x="32282" y="0"/>
                    </a:cubicBezTo>
                    <a:cubicBezTo>
                      <a:pt x="49626" y="0"/>
                      <a:pt x="58443" y="10566"/>
                      <a:pt x="58443" y="26015"/>
                    </a:cubicBezTo>
                    <a:lnTo>
                      <a:pt x="58443" y="74475"/>
                    </a:lnTo>
                    <a:lnTo>
                      <a:pt x="46784" y="74475"/>
                    </a:lnTo>
                    <a:lnTo>
                      <a:pt x="46784" y="60848"/>
                    </a:lnTo>
                    <a:lnTo>
                      <a:pt x="46492" y="60848"/>
                    </a:lnTo>
                    <a:cubicBezTo>
                      <a:pt x="41610" y="71268"/>
                      <a:pt x="34177" y="75786"/>
                      <a:pt x="22299" y="75786"/>
                    </a:cubicBezTo>
                    <a:cubicBezTo>
                      <a:pt x="9400" y="75786"/>
                      <a:pt x="0" y="68208"/>
                      <a:pt x="0" y="54508"/>
                    </a:cubicBezTo>
                    <a:close/>
                    <a:moveTo>
                      <a:pt x="25651" y="65730"/>
                    </a:moveTo>
                    <a:cubicBezTo>
                      <a:pt x="39132" y="65730"/>
                      <a:pt x="46273" y="56476"/>
                      <a:pt x="46273" y="47367"/>
                    </a:cubicBezTo>
                    <a:lnTo>
                      <a:pt x="46273" y="40298"/>
                    </a:lnTo>
                    <a:lnTo>
                      <a:pt x="34905" y="40298"/>
                    </a:lnTo>
                    <a:cubicBezTo>
                      <a:pt x="23392" y="40298"/>
                      <a:pt x="12607" y="42776"/>
                      <a:pt x="12607" y="54435"/>
                    </a:cubicBezTo>
                    <a:cubicBezTo>
                      <a:pt x="12607" y="61358"/>
                      <a:pt x="17489" y="65803"/>
                      <a:pt x="25651" y="65803"/>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43" name="Freeform 296">
                <a:extLst>
                  <a:ext uri="{FF2B5EF4-FFF2-40B4-BE49-F238E27FC236}">
                    <a16:creationId xmlns:a16="http://schemas.microsoft.com/office/drawing/2014/main" id="{728C880E-6285-5168-0633-6408A4128435}"/>
                  </a:ext>
                </a:extLst>
              </p:cNvPr>
              <p:cNvSpPr/>
              <p:nvPr/>
            </p:nvSpPr>
            <p:spPr>
              <a:xfrm>
                <a:off x="4025403" y="4635463"/>
                <a:ext cx="58588" cy="74475"/>
              </a:xfrm>
              <a:custGeom>
                <a:avLst/>
                <a:gdLst>
                  <a:gd name="connsiteX0" fmla="*/ 0 w 58588"/>
                  <a:gd name="connsiteY0" fmla="*/ 1385 h 74475"/>
                  <a:gd name="connsiteX1" fmla="*/ 11659 w 58588"/>
                  <a:gd name="connsiteY1" fmla="*/ 1385 h 74475"/>
                  <a:gd name="connsiteX2" fmla="*/ 11659 w 58588"/>
                  <a:gd name="connsiteY2" fmla="*/ 16615 h 74475"/>
                  <a:gd name="connsiteX3" fmla="*/ 11951 w 58588"/>
                  <a:gd name="connsiteY3" fmla="*/ 16615 h 74475"/>
                  <a:gd name="connsiteX4" fmla="*/ 35707 w 58588"/>
                  <a:gd name="connsiteY4" fmla="*/ 0 h 74475"/>
                  <a:gd name="connsiteX5" fmla="*/ 58589 w 58588"/>
                  <a:gd name="connsiteY5" fmla="*/ 25724 h 74475"/>
                  <a:gd name="connsiteX6" fmla="*/ 58589 w 58588"/>
                  <a:gd name="connsiteY6" fmla="*/ 74475 h 74475"/>
                  <a:gd name="connsiteX7" fmla="*/ 46346 w 58588"/>
                  <a:gd name="connsiteY7" fmla="*/ 74475 h 74475"/>
                  <a:gd name="connsiteX8" fmla="*/ 46346 w 58588"/>
                  <a:gd name="connsiteY8" fmla="*/ 28129 h 74475"/>
                  <a:gd name="connsiteX9" fmla="*/ 31262 w 58588"/>
                  <a:gd name="connsiteY9" fmla="*/ 10785 h 74475"/>
                  <a:gd name="connsiteX10" fmla="*/ 12242 w 58588"/>
                  <a:gd name="connsiteY10" fmla="*/ 32064 h 74475"/>
                  <a:gd name="connsiteX11" fmla="*/ 12242 w 58588"/>
                  <a:gd name="connsiteY11" fmla="*/ 74475 h 74475"/>
                  <a:gd name="connsiteX12" fmla="*/ 73 w 58588"/>
                  <a:gd name="connsiteY12" fmla="*/ 74475 h 74475"/>
                  <a:gd name="connsiteX13" fmla="*/ 73 w 58588"/>
                  <a:gd name="connsiteY13"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88" h="74475">
                    <a:moveTo>
                      <a:pt x="0" y="1385"/>
                    </a:moveTo>
                    <a:lnTo>
                      <a:pt x="11659" y="1385"/>
                    </a:lnTo>
                    <a:lnTo>
                      <a:pt x="11659" y="16615"/>
                    </a:lnTo>
                    <a:lnTo>
                      <a:pt x="11951" y="16615"/>
                    </a:lnTo>
                    <a:cubicBezTo>
                      <a:pt x="14866" y="8964"/>
                      <a:pt x="20987" y="0"/>
                      <a:pt x="35707" y="0"/>
                    </a:cubicBezTo>
                    <a:cubicBezTo>
                      <a:pt x="51156" y="0"/>
                      <a:pt x="58589" y="10421"/>
                      <a:pt x="58589" y="25724"/>
                    </a:cubicBezTo>
                    <a:lnTo>
                      <a:pt x="58589" y="74475"/>
                    </a:lnTo>
                    <a:lnTo>
                      <a:pt x="46346" y="74475"/>
                    </a:lnTo>
                    <a:lnTo>
                      <a:pt x="46346" y="28129"/>
                    </a:lnTo>
                    <a:cubicBezTo>
                      <a:pt x="46346" y="17416"/>
                      <a:pt x="42484" y="10785"/>
                      <a:pt x="31262" y="10785"/>
                    </a:cubicBezTo>
                    <a:cubicBezTo>
                      <a:pt x="20040" y="10785"/>
                      <a:pt x="12242" y="18437"/>
                      <a:pt x="12242" y="32064"/>
                    </a:cubicBezTo>
                    <a:lnTo>
                      <a:pt x="12242" y="74475"/>
                    </a:lnTo>
                    <a:lnTo>
                      <a:pt x="73" y="74475"/>
                    </a:lnTo>
                    <a:lnTo>
                      <a:pt x="73"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44" name="Freeform 297">
                <a:extLst>
                  <a:ext uri="{FF2B5EF4-FFF2-40B4-BE49-F238E27FC236}">
                    <a16:creationId xmlns:a16="http://schemas.microsoft.com/office/drawing/2014/main" id="{0120BCAD-6012-C896-EDAA-A3A198607F44}"/>
                  </a:ext>
                </a:extLst>
              </p:cNvPr>
              <p:cNvSpPr/>
              <p:nvPr/>
            </p:nvSpPr>
            <p:spPr>
              <a:xfrm>
                <a:off x="4101190" y="4635317"/>
                <a:ext cx="58443" cy="75786"/>
              </a:xfrm>
              <a:custGeom>
                <a:avLst/>
                <a:gdLst>
                  <a:gd name="connsiteX0" fmla="*/ 73 w 58443"/>
                  <a:gd name="connsiteY0" fmla="*/ 54654 h 75786"/>
                  <a:gd name="connsiteX1" fmla="*/ 33302 w 58443"/>
                  <a:gd name="connsiteY1" fmla="*/ 31116 h 75786"/>
                  <a:gd name="connsiteX2" fmla="*/ 46274 w 58443"/>
                  <a:gd name="connsiteY2" fmla="*/ 31116 h 75786"/>
                  <a:gd name="connsiteX3" fmla="*/ 46274 w 58443"/>
                  <a:gd name="connsiteY3" fmla="*/ 26088 h 75786"/>
                  <a:gd name="connsiteX4" fmla="*/ 31480 w 58443"/>
                  <a:gd name="connsiteY4" fmla="*/ 10348 h 75786"/>
                  <a:gd name="connsiteX5" fmla="*/ 10785 w 58443"/>
                  <a:gd name="connsiteY5" fmla="*/ 20987 h 75786"/>
                  <a:gd name="connsiteX6" fmla="*/ 2915 w 58443"/>
                  <a:gd name="connsiteY6" fmla="*/ 13117 h 75786"/>
                  <a:gd name="connsiteX7" fmla="*/ 32282 w 58443"/>
                  <a:gd name="connsiteY7" fmla="*/ 0 h 75786"/>
                  <a:gd name="connsiteX8" fmla="*/ 58443 w 58443"/>
                  <a:gd name="connsiteY8" fmla="*/ 26015 h 75786"/>
                  <a:gd name="connsiteX9" fmla="*/ 58443 w 58443"/>
                  <a:gd name="connsiteY9" fmla="*/ 74475 h 75786"/>
                  <a:gd name="connsiteX10" fmla="*/ 46784 w 58443"/>
                  <a:gd name="connsiteY10" fmla="*/ 74475 h 75786"/>
                  <a:gd name="connsiteX11" fmla="*/ 46784 w 58443"/>
                  <a:gd name="connsiteY11" fmla="*/ 60848 h 75786"/>
                  <a:gd name="connsiteX12" fmla="*/ 46492 w 58443"/>
                  <a:gd name="connsiteY12" fmla="*/ 60848 h 75786"/>
                  <a:gd name="connsiteX13" fmla="*/ 22299 w 58443"/>
                  <a:gd name="connsiteY13" fmla="*/ 75786 h 75786"/>
                  <a:gd name="connsiteX14" fmla="*/ 0 w 58443"/>
                  <a:gd name="connsiteY14" fmla="*/ 54508 h 75786"/>
                  <a:gd name="connsiteX15" fmla="*/ 25724 w 58443"/>
                  <a:gd name="connsiteY15" fmla="*/ 65730 h 75786"/>
                  <a:gd name="connsiteX16" fmla="*/ 46346 w 58443"/>
                  <a:gd name="connsiteY16" fmla="*/ 47367 h 75786"/>
                  <a:gd name="connsiteX17" fmla="*/ 46346 w 58443"/>
                  <a:gd name="connsiteY17" fmla="*/ 40298 h 75786"/>
                  <a:gd name="connsiteX18" fmla="*/ 34978 w 58443"/>
                  <a:gd name="connsiteY18" fmla="*/ 40298 h 75786"/>
                  <a:gd name="connsiteX19" fmla="*/ 12680 w 58443"/>
                  <a:gd name="connsiteY19" fmla="*/ 54435 h 75786"/>
                  <a:gd name="connsiteX20" fmla="*/ 25724 w 58443"/>
                  <a:gd name="connsiteY20" fmla="*/ 65803 h 7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443" h="75786">
                    <a:moveTo>
                      <a:pt x="73" y="54654"/>
                    </a:moveTo>
                    <a:cubicBezTo>
                      <a:pt x="73" y="37602"/>
                      <a:pt x="14647" y="31116"/>
                      <a:pt x="33302" y="31116"/>
                    </a:cubicBezTo>
                    <a:lnTo>
                      <a:pt x="46274" y="31116"/>
                    </a:lnTo>
                    <a:lnTo>
                      <a:pt x="46274" y="26088"/>
                    </a:lnTo>
                    <a:cubicBezTo>
                      <a:pt x="46274" y="16031"/>
                      <a:pt x="41537" y="10348"/>
                      <a:pt x="31480" y="10348"/>
                    </a:cubicBezTo>
                    <a:cubicBezTo>
                      <a:pt x="22080" y="10348"/>
                      <a:pt x="15667" y="14428"/>
                      <a:pt x="10785" y="20987"/>
                    </a:cubicBezTo>
                    <a:lnTo>
                      <a:pt x="2915" y="13117"/>
                    </a:lnTo>
                    <a:cubicBezTo>
                      <a:pt x="8672" y="6194"/>
                      <a:pt x="17635" y="0"/>
                      <a:pt x="32282" y="0"/>
                    </a:cubicBezTo>
                    <a:cubicBezTo>
                      <a:pt x="49626" y="0"/>
                      <a:pt x="58443" y="10566"/>
                      <a:pt x="58443" y="26015"/>
                    </a:cubicBezTo>
                    <a:lnTo>
                      <a:pt x="58443" y="74475"/>
                    </a:lnTo>
                    <a:lnTo>
                      <a:pt x="46784" y="74475"/>
                    </a:lnTo>
                    <a:lnTo>
                      <a:pt x="46784" y="60848"/>
                    </a:lnTo>
                    <a:lnTo>
                      <a:pt x="46492" y="60848"/>
                    </a:lnTo>
                    <a:cubicBezTo>
                      <a:pt x="41610" y="71268"/>
                      <a:pt x="34177" y="75786"/>
                      <a:pt x="22299" y="75786"/>
                    </a:cubicBezTo>
                    <a:cubicBezTo>
                      <a:pt x="9400" y="75786"/>
                      <a:pt x="0" y="68208"/>
                      <a:pt x="0" y="54508"/>
                    </a:cubicBezTo>
                    <a:close/>
                    <a:moveTo>
                      <a:pt x="25724" y="65730"/>
                    </a:moveTo>
                    <a:cubicBezTo>
                      <a:pt x="39205" y="65730"/>
                      <a:pt x="46346" y="56476"/>
                      <a:pt x="46346" y="47367"/>
                    </a:cubicBezTo>
                    <a:lnTo>
                      <a:pt x="46346" y="40298"/>
                    </a:lnTo>
                    <a:lnTo>
                      <a:pt x="34978" y="40298"/>
                    </a:lnTo>
                    <a:cubicBezTo>
                      <a:pt x="23465" y="40298"/>
                      <a:pt x="12680" y="42776"/>
                      <a:pt x="12680" y="54435"/>
                    </a:cubicBezTo>
                    <a:cubicBezTo>
                      <a:pt x="12680" y="61358"/>
                      <a:pt x="17562" y="65803"/>
                      <a:pt x="25724" y="65803"/>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45" name="Freeform 298">
                <a:extLst>
                  <a:ext uri="{FF2B5EF4-FFF2-40B4-BE49-F238E27FC236}">
                    <a16:creationId xmlns:a16="http://schemas.microsoft.com/office/drawing/2014/main" id="{6588443D-C9B9-0B62-D9CC-0330EEABF8E4}"/>
                  </a:ext>
                </a:extLst>
              </p:cNvPr>
              <p:cNvSpPr/>
              <p:nvPr/>
            </p:nvSpPr>
            <p:spPr>
              <a:xfrm>
                <a:off x="4174353" y="4627228"/>
                <a:ext cx="68281" cy="112805"/>
              </a:xfrm>
              <a:custGeom>
                <a:avLst/>
                <a:gdLst>
                  <a:gd name="connsiteX0" fmla="*/ 0 w 68281"/>
                  <a:gd name="connsiteY0" fmla="*/ 94442 h 112805"/>
                  <a:gd name="connsiteX1" fmla="*/ 13117 w 68281"/>
                  <a:gd name="connsiteY1" fmla="*/ 78629 h 112805"/>
                  <a:gd name="connsiteX2" fmla="*/ 5101 w 68281"/>
                  <a:gd name="connsiteY2" fmla="*/ 68427 h 112805"/>
                  <a:gd name="connsiteX3" fmla="*/ 15230 w 68281"/>
                  <a:gd name="connsiteY3" fmla="*/ 55820 h 112805"/>
                  <a:gd name="connsiteX4" fmla="*/ 3425 w 68281"/>
                  <a:gd name="connsiteY4" fmla="*/ 34177 h 112805"/>
                  <a:gd name="connsiteX5" fmla="*/ 32064 w 68281"/>
                  <a:gd name="connsiteY5" fmla="*/ 8162 h 112805"/>
                  <a:gd name="connsiteX6" fmla="*/ 48751 w 68281"/>
                  <a:gd name="connsiteY6" fmla="*/ 12097 h 112805"/>
                  <a:gd name="connsiteX7" fmla="*/ 64565 w 68281"/>
                  <a:gd name="connsiteY7" fmla="*/ 0 h 112805"/>
                  <a:gd name="connsiteX8" fmla="*/ 66969 w 68281"/>
                  <a:gd name="connsiteY8" fmla="*/ 0 h 112805"/>
                  <a:gd name="connsiteX9" fmla="*/ 66969 w 68281"/>
                  <a:gd name="connsiteY9" fmla="*/ 12242 h 112805"/>
                  <a:gd name="connsiteX10" fmla="*/ 64492 w 68281"/>
                  <a:gd name="connsiteY10" fmla="*/ 12242 h 112805"/>
                  <a:gd name="connsiteX11" fmla="*/ 52686 w 68281"/>
                  <a:gd name="connsiteY11" fmla="*/ 14866 h 112805"/>
                  <a:gd name="connsiteX12" fmla="*/ 60557 w 68281"/>
                  <a:gd name="connsiteY12" fmla="*/ 34177 h 112805"/>
                  <a:gd name="connsiteX13" fmla="*/ 31772 w 68281"/>
                  <a:gd name="connsiteY13" fmla="*/ 59682 h 112805"/>
                  <a:gd name="connsiteX14" fmla="*/ 19093 w 68281"/>
                  <a:gd name="connsiteY14" fmla="*/ 57496 h 112805"/>
                  <a:gd name="connsiteX15" fmla="*/ 16615 w 68281"/>
                  <a:gd name="connsiteY15" fmla="*/ 62451 h 112805"/>
                  <a:gd name="connsiteX16" fmla="*/ 36436 w 68281"/>
                  <a:gd name="connsiteY16" fmla="*/ 70103 h 112805"/>
                  <a:gd name="connsiteX17" fmla="*/ 68281 w 68281"/>
                  <a:gd name="connsiteY17" fmla="*/ 89560 h 112805"/>
                  <a:gd name="connsiteX18" fmla="*/ 32501 w 68281"/>
                  <a:gd name="connsiteY18" fmla="*/ 112806 h 112805"/>
                  <a:gd name="connsiteX19" fmla="*/ 146 w 68281"/>
                  <a:gd name="connsiteY19" fmla="*/ 94442 h 112805"/>
                  <a:gd name="connsiteX20" fmla="*/ 32938 w 68281"/>
                  <a:gd name="connsiteY20" fmla="*/ 103187 h 112805"/>
                  <a:gd name="connsiteX21" fmla="*/ 55383 w 68281"/>
                  <a:gd name="connsiteY21" fmla="*/ 91017 h 112805"/>
                  <a:gd name="connsiteX22" fmla="*/ 32938 w 68281"/>
                  <a:gd name="connsiteY22" fmla="*/ 81617 h 112805"/>
                  <a:gd name="connsiteX23" fmla="*/ 17781 w 68281"/>
                  <a:gd name="connsiteY23" fmla="*/ 80014 h 112805"/>
                  <a:gd name="connsiteX24" fmla="*/ 11878 w 68281"/>
                  <a:gd name="connsiteY24" fmla="*/ 91017 h 112805"/>
                  <a:gd name="connsiteX25" fmla="*/ 32938 w 68281"/>
                  <a:gd name="connsiteY25" fmla="*/ 103187 h 112805"/>
                  <a:gd name="connsiteX26" fmla="*/ 31627 w 68281"/>
                  <a:gd name="connsiteY26" fmla="*/ 50136 h 112805"/>
                  <a:gd name="connsiteX27" fmla="*/ 48095 w 68281"/>
                  <a:gd name="connsiteY27" fmla="*/ 34177 h 112805"/>
                  <a:gd name="connsiteX28" fmla="*/ 32282 w 68281"/>
                  <a:gd name="connsiteY28" fmla="*/ 17708 h 112805"/>
                  <a:gd name="connsiteX29" fmla="*/ 15959 w 68281"/>
                  <a:gd name="connsiteY29" fmla="*/ 34177 h 112805"/>
                  <a:gd name="connsiteX30" fmla="*/ 31554 w 68281"/>
                  <a:gd name="connsiteY30" fmla="*/ 50136 h 112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8281" h="112805">
                    <a:moveTo>
                      <a:pt x="0" y="94442"/>
                    </a:moveTo>
                    <a:cubicBezTo>
                      <a:pt x="0" y="86208"/>
                      <a:pt x="6121" y="80742"/>
                      <a:pt x="13117" y="78629"/>
                    </a:cubicBezTo>
                    <a:cubicBezTo>
                      <a:pt x="8235" y="76807"/>
                      <a:pt x="5101" y="73674"/>
                      <a:pt x="5101" y="68427"/>
                    </a:cubicBezTo>
                    <a:cubicBezTo>
                      <a:pt x="5101" y="62670"/>
                      <a:pt x="8818" y="58152"/>
                      <a:pt x="15230" y="55820"/>
                    </a:cubicBezTo>
                    <a:cubicBezTo>
                      <a:pt x="7652" y="51520"/>
                      <a:pt x="3425" y="43869"/>
                      <a:pt x="3425" y="34177"/>
                    </a:cubicBezTo>
                    <a:cubicBezTo>
                      <a:pt x="3425" y="20040"/>
                      <a:pt x="13044" y="8162"/>
                      <a:pt x="32064" y="8162"/>
                    </a:cubicBezTo>
                    <a:cubicBezTo>
                      <a:pt x="38986" y="8162"/>
                      <a:pt x="44525" y="9546"/>
                      <a:pt x="48751" y="12097"/>
                    </a:cubicBezTo>
                    <a:cubicBezTo>
                      <a:pt x="51885" y="4591"/>
                      <a:pt x="56038" y="0"/>
                      <a:pt x="64565" y="0"/>
                    </a:cubicBezTo>
                    <a:lnTo>
                      <a:pt x="66969" y="0"/>
                    </a:lnTo>
                    <a:lnTo>
                      <a:pt x="66969" y="12242"/>
                    </a:lnTo>
                    <a:lnTo>
                      <a:pt x="64492" y="12242"/>
                    </a:lnTo>
                    <a:cubicBezTo>
                      <a:pt x="58006" y="12242"/>
                      <a:pt x="55018" y="13190"/>
                      <a:pt x="52686" y="14866"/>
                    </a:cubicBezTo>
                    <a:cubicBezTo>
                      <a:pt x="58006" y="19675"/>
                      <a:pt x="60557" y="26598"/>
                      <a:pt x="60557" y="34177"/>
                    </a:cubicBezTo>
                    <a:cubicBezTo>
                      <a:pt x="60557" y="47877"/>
                      <a:pt x="50646" y="59682"/>
                      <a:pt x="31772" y="59682"/>
                    </a:cubicBezTo>
                    <a:cubicBezTo>
                      <a:pt x="26963" y="59682"/>
                      <a:pt x="22736" y="58954"/>
                      <a:pt x="19093" y="57496"/>
                    </a:cubicBezTo>
                    <a:cubicBezTo>
                      <a:pt x="17562" y="58662"/>
                      <a:pt x="16615" y="60192"/>
                      <a:pt x="16615" y="62451"/>
                    </a:cubicBezTo>
                    <a:cubicBezTo>
                      <a:pt x="16615" y="68427"/>
                      <a:pt x="23392" y="69374"/>
                      <a:pt x="36436" y="70103"/>
                    </a:cubicBezTo>
                    <a:cubicBezTo>
                      <a:pt x="52614" y="70905"/>
                      <a:pt x="68281" y="72362"/>
                      <a:pt x="68281" y="89560"/>
                    </a:cubicBezTo>
                    <a:cubicBezTo>
                      <a:pt x="68281" y="105810"/>
                      <a:pt x="55747" y="112806"/>
                      <a:pt x="32501" y="112806"/>
                    </a:cubicBezTo>
                    <a:cubicBezTo>
                      <a:pt x="9255" y="112806"/>
                      <a:pt x="146" y="104790"/>
                      <a:pt x="146" y="94442"/>
                    </a:cubicBezTo>
                    <a:close/>
                    <a:moveTo>
                      <a:pt x="32938" y="103187"/>
                    </a:moveTo>
                    <a:cubicBezTo>
                      <a:pt x="47075" y="103187"/>
                      <a:pt x="55383" y="100418"/>
                      <a:pt x="55383" y="91017"/>
                    </a:cubicBezTo>
                    <a:cubicBezTo>
                      <a:pt x="55383" y="83365"/>
                      <a:pt x="48460" y="82273"/>
                      <a:pt x="32938" y="81617"/>
                    </a:cubicBezTo>
                    <a:cubicBezTo>
                      <a:pt x="27546" y="81325"/>
                      <a:pt x="22226" y="80961"/>
                      <a:pt x="17781" y="80014"/>
                    </a:cubicBezTo>
                    <a:cubicBezTo>
                      <a:pt x="14356" y="82418"/>
                      <a:pt x="11878" y="86062"/>
                      <a:pt x="11878" y="91017"/>
                    </a:cubicBezTo>
                    <a:cubicBezTo>
                      <a:pt x="11878" y="99762"/>
                      <a:pt x="17708" y="103187"/>
                      <a:pt x="32938" y="103187"/>
                    </a:cubicBezTo>
                    <a:close/>
                    <a:moveTo>
                      <a:pt x="31627" y="50136"/>
                    </a:moveTo>
                    <a:cubicBezTo>
                      <a:pt x="41756" y="50136"/>
                      <a:pt x="48095" y="43578"/>
                      <a:pt x="48095" y="34177"/>
                    </a:cubicBezTo>
                    <a:cubicBezTo>
                      <a:pt x="48095" y="24121"/>
                      <a:pt x="42120" y="17708"/>
                      <a:pt x="32282" y="17708"/>
                    </a:cubicBezTo>
                    <a:cubicBezTo>
                      <a:pt x="22445" y="17708"/>
                      <a:pt x="15959" y="24121"/>
                      <a:pt x="15959" y="34177"/>
                    </a:cubicBezTo>
                    <a:cubicBezTo>
                      <a:pt x="15959" y="44962"/>
                      <a:pt x="22590" y="50136"/>
                      <a:pt x="31554" y="50136"/>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46" name="Freeform 299">
                <a:extLst>
                  <a:ext uri="{FF2B5EF4-FFF2-40B4-BE49-F238E27FC236}">
                    <a16:creationId xmlns:a16="http://schemas.microsoft.com/office/drawing/2014/main" id="{E0286CBF-855D-CC66-0E85-EBE7DDA780C5}"/>
                  </a:ext>
                </a:extLst>
              </p:cNvPr>
              <p:cNvSpPr/>
              <p:nvPr/>
            </p:nvSpPr>
            <p:spPr>
              <a:xfrm>
                <a:off x="4248099" y="4635463"/>
                <a:ext cx="67333" cy="75859"/>
              </a:xfrm>
              <a:custGeom>
                <a:avLst/>
                <a:gdLst>
                  <a:gd name="connsiteX0" fmla="*/ 73 w 67333"/>
                  <a:gd name="connsiteY0" fmla="*/ 37893 h 75859"/>
                  <a:gd name="connsiteX1" fmla="*/ 35489 w 67333"/>
                  <a:gd name="connsiteY1" fmla="*/ 0 h 75859"/>
                  <a:gd name="connsiteX2" fmla="*/ 67334 w 67333"/>
                  <a:gd name="connsiteY2" fmla="*/ 35270 h 75859"/>
                  <a:gd name="connsiteX3" fmla="*/ 67115 w 67333"/>
                  <a:gd name="connsiteY3" fmla="*/ 40954 h 75859"/>
                  <a:gd name="connsiteX4" fmla="*/ 12825 w 67333"/>
                  <a:gd name="connsiteY4" fmla="*/ 40954 h 75859"/>
                  <a:gd name="connsiteX5" fmla="*/ 36800 w 67333"/>
                  <a:gd name="connsiteY5" fmla="*/ 65512 h 75859"/>
                  <a:gd name="connsiteX6" fmla="*/ 57132 w 67333"/>
                  <a:gd name="connsiteY6" fmla="*/ 56767 h 75859"/>
                  <a:gd name="connsiteX7" fmla="*/ 64783 w 67333"/>
                  <a:gd name="connsiteY7" fmla="*/ 64346 h 75859"/>
                  <a:gd name="connsiteX8" fmla="*/ 36800 w 67333"/>
                  <a:gd name="connsiteY8" fmla="*/ 75860 h 75859"/>
                  <a:gd name="connsiteX9" fmla="*/ 0 w 67333"/>
                  <a:gd name="connsiteY9" fmla="*/ 37893 h 75859"/>
                  <a:gd name="connsiteX10" fmla="*/ 55018 w 67333"/>
                  <a:gd name="connsiteY10" fmla="*/ 31554 h 75859"/>
                  <a:gd name="connsiteX11" fmla="*/ 34978 w 67333"/>
                  <a:gd name="connsiteY11" fmla="*/ 10421 h 75859"/>
                  <a:gd name="connsiteX12" fmla="*/ 13190 w 67333"/>
                  <a:gd name="connsiteY12" fmla="*/ 31554 h 75859"/>
                  <a:gd name="connsiteX13" fmla="*/ 54945 w 67333"/>
                  <a:gd name="connsiteY13" fmla="*/ 31554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333" h="75859">
                    <a:moveTo>
                      <a:pt x="73" y="37893"/>
                    </a:moveTo>
                    <a:cubicBezTo>
                      <a:pt x="73" y="12388"/>
                      <a:pt x="16615" y="0"/>
                      <a:pt x="35489" y="0"/>
                    </a:cubicBezTo>
                    <a:cubicBezTo>
                      <a:pt x="59172" y="0"/>
                      <a:pt x="67334" y="19020"/>
                      <a:pt x="67334" y="35270"/>
                    </a:cubicBezTo>
                    <a:cubicBezTo>
                      <a:pt x="67334" y="37238"/>
                      <a:pt x="67334" y="39205"/>
                      <a:pt x="67115" y="40954"/>
                    </a:cubicBezTo>
                    <a:lnTo>
                      <a:pt x="12825" y="40954"/>
                    </a:lnTo>
                    <a:cubicBezTo>
                      <a:pt x="13700" y="56767"/>
                      <a:pt x="21716" y="65512"/>
                      <a:pt x="36800" y="65512"/>
                    </a:cubicBezTo>
                    <a:cubicBezTo>
                      <a:pt x="45691" y="65512"/>
                      <a:pt x="51812" y="63034"/>
                      <a:pt x="57132" y="56767"/>
                    </a:cubicBezTo>
                    <a:lnTo>
                      <a:pt x="64783" y="64346"/>
                    </a:lnTo>
                    <a:cubicBezTo>
                      <a:pt x="57641" y="72362"/>
                      <a:pt x="49553" y="75860"/>
                      <a:pt x="36800" y="75860"/>
                    </a:cubicBezTo>
                    <a:cubicBezTo>
                      <a:pt x="14720" y="75860"/>
                      <a:pt x="0" y="62597"/>
                      <a:pt x="0" y="37893"/>
                    </a:cubicBezTo>
                    <a:close/>
                    <a:moveTo>
                      <a:pt x="55018" y="31554"/>
                    </a:moveTo>
                    <a:cubicBezTo>
                      <a:pt x="53707" y="17198"/>
                      <a:pt x="46273" y="10421"/>
                      <a:pt x="34978" y="10421"/>
                    </a:cubicBezTo>
                    <a:cubicBezTo>
                      <a:pt x="23683" y="10421"/>
                      <a:pt x="15157" y="17416"/>
                      <a:pt x="13190" y="31554"/>
                    </a:cubicBezTo>
                    <a:lnTo>
                      <a:pt x="54945" y="31554"/>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47" name="Freeform 300">
                <a:extLst>
                  <a:ext uri="{FF2B5EF4-FFF2-40B4-BE49-F238E27FC236}">
                    <a16:creationId xmlns:a16="http://schemas.microsoft.com/office/drawing/2014/main" id="{18C25F8C-A89B-8FC0-3999-D2BDA5A7D97F}"/>
                  </a:ext>
                </a:extLst>
              </p:cNvPr>
              <p:cNvSpPr/>
              <p:nvPr/>
            </p:nvSpPr>
            <p:spPr>
              <a:xfrm>
                <a:off x="4332631" y="4635463"/>
                <a:ext cx="96992" cy="74475"/>
              </a:xfrm>
              <a:custGeom>
                <a:avLst/>
                <a:gdLst>
                  <a:gd name="connsiteX0" fmla="*/ 0 w 96992"/>
                  <a:gd name="connsiteY0" fmla="*/ 1385 h 74475"/>
                  <a:gd name="connsiteX1" fmla="*/ 11660 w 96992"/>
                  <a:gd name="connsiteY1" fmla="*/ 1385 h 74475"/>
                  <a:gd name="connsiteX2" fmla="*/ 11660 w 96992"/>
                  <a:gd name="connsiteY2" fmla="*/ 16615 h 74475"/>
                  <a:gd name="connsiteX3" fmla="*/ 11951 w 96992"/>
                  <a:gd name="connsiteY3" fmla="*/ 16615 h 74475"/>
                  <a:gd name="connsiteX4" fmla="*/ 33303 w 96992"/>
                  <a:gd name="connsiteY4" fmla="*/ 0 h 74475"/>
                  <a:gd name="connsiteX5" fmla="*/ 53269 w 96992"/>
                  <a:gd name="connsiteY5" fmla="*/ 16615 h 74475"/>
                  <a:gd name="connsiteX6" fmla="*/ 53561 w 96992"/>
                  <a:gd name="connsiteY6" fmla="*/ 16615 h 74475"/>
                  <a:gd name="connsiteX7" fmla="*/ 75641 w 96992"/>
                  <a:gd name="connsiteY7" fmla="*/ 0 h 74475"/>
                  <a:gd name="connsiteX8" fmla="*/ 96992 w 96992"/>
                  <a:gd name="connsiteY8" fmla="*/ 25724 h 74475"/>
                  <a:gd name="connsiteX9" fmla="*/ 96992 w 96992"/>
                  <a:gd name="connsiteY9" fmla="*/ 74475 h 74475"/>
                  <a:gd name="connsiteX10" fmla="*/ 84823 w 96992"/>
                  <a:gd name="connsiteY10" fmla="*/ 74475 h 74475"/>
                  <a:gd name="connsiteX11" fmla="*/ 84823 w 96992"/>
                  <a:gd name="connsiteY11" fmla="*/ 28129 h 74475"/>
                  <a:gd name="connsiteX12" fmla="*/ 71633 w 96992"/>
                  <a:gd name="connsiteY12" fmla="*/ 10785 h 74475"/>
                  <a:gd name="connsiteX13" fmla="*/ 54581 w 96992"/>
                  <a:gd name="connsiteY13" fmla="*/ 32064 h 74475"/>
                  <a:gd name="connsiteX14" fmla="*/ 54581 w 96992"/>
                  <a:gd name="connsiteY14" fmla="*/ 74475 h 74475"/>
                  <a:gd name="connsiteX15" fmla="*/ 42411 w 96992"/>
                  <a:gd name="connsiteY15" fmla="*/ 74475 h 74475"/>
                  <a:gd name="connsiteX16" fmla="*/ 42411 w 96992"/>
                  <a:gd name="connsiteY16" fmla="*/ 28129 h 74475"/>
                  <a:gd name="connsiteX17" fmla="*/ 29222 w 96992"/>
                  <a:gd name="connsiteY17" fmla="*/ 10785 h 74475"/>
                  <a:gd name="connsiteX18" fmla="*/ 12170 w 96992"/>
                  <a:gd name="connsiteY18" fmla="*/ 32064 h 74475"/>
                  <a:gd name="connsiteX19" fmla="*/ 12170 w 96992"/>
                  <a:gd name="connsiteY19" fmla="*/ 74475 h 74475"/>
                  <a:gd name="connsiteX20" fmla="*/ 0 w 96992"/>
                  <a:gd name="connsiteY20" fmla="*/ 74475 h 74475"/>
                  <a:gd name="connsiteX21" fmla="*/ 0 w 96992"/>
                  <a:gd name="connsiteY21"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6992" h="74475">
                    <a:moveTo>
                      <a:pt x="0" y="1385"/>
                    </a:moveTo>
                    <a:lnTo>
                      <a:pt x="11660" y="1385"/>
                    </a:lnTo>
                    <a:lnTo>
                      <a:pt x="11660" y="16615"/>
                    </a:lnTo>
                    <a:lnTo>
                      <a:pt x="11951" y="16615"/>
                    </a:lnTo>
                    <a:cubicBezTo>
                      <a:pt x="15449" y="5976"/>
                      <a:pt x="23173" y="0"/>
                      <a:pt x="33303" y="0"/>
                    </a:cubicBezTo>
                    <a:cubicBezTo>
                      <a:pt x="43432" y="0"/>
                      <a:pt x="50719" y="5174"/>
                      <a:pt x="53269" y="16615"/>
                    </a:cubicBezTo>
                    <a:lnTo>
                      <a:pt x="53561" y="16615"/>
                    </a:lnTo>
                    <a:cubicBezTo>
                      <a:pt x="56913" y="5101"/>
                      <a:pt x="65585" y="0"/>
                      <a:pt x="75641" y="0"/>
                    </a:cubicBezTo>
                    <a:cubicBezTo>
                      <a:pt x="89341" y="0"/>
                      <a:pt x="96992" y="7651"/>
                      <a:pt x="96992" y="25724"/>
                    </a:cubicBezTo>
                    <a:lnTo>
                      <a:pt x="96992" y="74475"/>
                    </a:lnTo>
                    <a:lnTo>
                      <a:pt x="84823" y="74475"/>
                    </a:lnTo>
                    <a:lnTo>
                      <a:pt x="84823" y="28129"/>
                    </a:lnTo>
                    <a:cubicBezTo>
                      <a:pt x="84823" y="17416"/>
                      <a:pt x="81471" y="10785"/>
                      <a:pt x="71633" y="10785"/>
                    </a:cubicBezTo>
                    <a:cubicBezTo>
                      <a:pt x="61213" y="10785"/>
                      <a:pt x="54581" y="18437"/>
                      <a:pt x="54581" y="32064"/>
                    </a:cubicBezTo>
                    <a:lnTo>
                      <a:pt x="54581" y="74475"/>
                    </a:lnTo>
                    <a:lnTo>
                      <a:pt x="42411" y="74475"/>
                    </a:lnTo>
                    <a:lnTo>
                      <a:pt x="42411" y="28129"/>
                    </a:lnTo>
                    <a:cubicBezTo>
                      <a:pt x="42411" y="17416"/>
                      <a:pt x="39059" y="10785"/>
                      <a:pt x="29222" y="10785"/>
                    </a:cubicBezTo>
                    <a:cubicBezTo>
                      <a:pt x="18874" y="10785"/>
                      <a:pt x="12170" y="18437"/>
                      <a:pt x="12170" y="32064"/>
                    </a:cubicBezTo>
                    <a:lnTo>
                      <a:pt x="12170" y="74475"/>
                    </a:lnTo>
                    <a:lnTo>
                      <a:pt x="0" y="74475"/>
                    </a:lnTo>
                    <a:lnTo>
                      <a:pt x="0"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48" name="Freeform 301">
                <a:extLst>
                  <a:ext uri="{FF2B5EF4-FFF2-40B4-BE49-F238E27FC236}">
                    <a16:creationId xmlns:a16="http://schemas.microsoft.com/office/drawing/2014/main" id="{692DAFE2-BA6B-5A13-A2A2-D3838AEEC1B5}"/>
                  </a:ext>
                </a:extLst>
              </p:cNvPr>
              <p:cNvSpPr/>
              <p:nvPr/>
            </p:nvSpPr>
            <p:spPr>
              <a:xfrm>
                <a:off x="4446165" y="4635463"/>
                <a:ext cx="67333" cy="75859"/>
              </a:xfrm>
              <a:custGeom>
                <a:avLst/>
                <a:gdLst>
                  <a:gd name="connsiteX0" fmla="*/ 73 w 67333"/>
                  <a:gd name="connsiteY0" fmla="*/ 37893 h 75859"/>
                  <a:gd name="connsiteX1" fmla="*/ 35489 w 67333"/>
                  <a:gd name="connsiteY1" fmla="*/ 0 h 75859"/>
                  <a:gd name="connsiteX2" fmla="*/ 67334 w 67333"/>
                  <a:gd name="connsiteY2" fmla="*/ 35270 h 75859"/>
                  <a:gd name="connsiteX3" fmla="*/ 67115 w 67333"/>
                  <a:gd name="connsiteY3" fmla="*/ 40954 h 75859"/>
                  <a:gd name="connsiteX4" fmla="*/ 12826 w 67333"/>
                  <a:gd name="connsiteY4" fmla="*/ 40954 h 75859"/>
                  <a:gd name="connsiteX5" fmla="*/ 36800 w 67333"/>
                  <a:gd name="connsiteY5" fmla="*/ 65512 h 75859"/>
                  <a:gd name="connsiteX6" fmla="*/ 57132 w 67333"/>
                  <a:gd name="connsiteY6" fmla="*/ 56767 h 75859"/>
                  <a:gd name="connsiteX7" fmla="*/ 64783 w 67333"/>
                  <a:gd name="connsiteY7" fmla="*/ 64346 h 75859"/>
                  <a:gd name="connsiteX8" fmla="*/ 36800 w 67333"/>
                  <a:gd name="connsiteY8" fmla="*/ 75860 h 75859"/>
                  <a:gd name="connsiteX9" fmla="*/ 0 w 67333"/>
                  <a:gd name="connsiteY9" fmla="*/ 37893 h 75859"/>
                  <a:gd name="connsiteX10" fmla="*/ 54945 w 67333"/>
                  <a:gd name="connsiteY10" fmla="*/ 31554 h 75859"/>
                  <a:gd name="connsiteX11" fmla="*/ 34906 w 67333"/>
                  <a:gd name="connsiteY11" fmla="*/ 10421 h 75859"/>
                  <a:gd name="connsiteX12" fmla="*/ 13117 w 67333"/>
                  <a:gd name="connsiteY12" fmla="*/ 31554 h 75859"/>
                  <a:gd name="connsiteX13" fmla="*/ 54873 w 67333"/>
                  <a:gd name="connsiteY13" fmla="*/ 31554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333" h="75859">
                    <a:moveTo>
                      <a:pt x="73" y="37893"/>
                    </a:moveTo>
                    <a:cubicBezTo>
                      <a:pt x="73" y="12388"/>
                      <a:pt x="16615" y="0"/>
                      <a:pt x="35489" y="0"/>
                    </a:cubicBezTo>
                    <a:cubicBezTo>
                      <a:pt x="59172" y="0"/>
                      <a:pt x="67334" y="19020"/>
                      <a:pt x="67334" y="35270"/>
                    </a:cubicBezTo>
                    <a:cubicBezTo>
                      <a:pt x="67334" y="37238"/>
                      <a:pt x="67334" y="39205"/>
                      <a:pt x="67115" y="40954"/>
                    </a:cubicBezTo>
                    <a:lnTo>
                      <a:pt x="12826" y="40954"/>
                    </a:lnTo>
                    <a:cubicBezTo>
                      <a:pt x="13700" y="56767"/>
                      <a:pt x="21716" y="65512"/>
                      <a:pt x="36800" y="65512"/>
                    </a:cubicBezTo>
                    <a:cubicBezTo>
                      <a:pt x="45691" y="65512"/>
                      <a:pt x="51812" y="63034"/>
                      <a:pt x="57132" y="56767"/>
                    </a:cubicBezTo>
                    <a:lnTo>
                      <a:pt x="64783" y="64346"/>
                    </a:lnTo>
                    <a:cubicBezTo>
                      <a:pt x="57642" y="72362"/>
                      <a:pt x="49553" y="75860"/>
                      <a:pt x="36800" y="75860"/>
                    </a:cubicBezTo>
                    <a:cubicBezTo>
                      <a:pt x="14720" y="75860"/>
                      <a:pt x="0" y="62597"/>
                      <a:pt x="0" y="37893"/>
                    </a:cubicBezTo>
                    <a:close/>
                    <a:moveTo>
                      <a:pt x="54945" y="31554"/>
                    </a:moveTo>
                    <a:cubicBezTo>
                      <a:pt x="53634" y="17198"/>
                      <a:pt x="46201" y="10421"/>
                      <a:pt x="34906" y="10421"/>
                    </a:cubicBezTo>
                    <a:cubicBezTo>
                      <a:pt x="23610" y="10421"/>
                      <a:pt x="15085" y="17416"/>
                      <a:pt x="13117" y="31554"/>
                    </a:cubicBezTo>
                    <a:lnTo>
                      <a:pt x="54873" y="31554"/>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49" name="Freeform 302">
                <a:extLst>
                  <a:ext uri="{FF2B5EF4-FFF2-40B4-BE49-F238E27FC236}">
                    <a16:creationId xmlns:a16="http://schemas.microsoft.com/office/drawing/2014/main" id="{0F94710D-B76A-0DD8-6C59-0D7D8054CD9D}"/>
                  </a:ext>
                </a:extLst>
              </p:cNvPr>
              <p:cNvSpPr/>
              <p:nvPr/>
            </p:nvSpPr>
            <p:spPr>
              <a:xfrm>
                <a:off x="4530624" y="4635463"/>
                <a:ext cx="58589" cy="74475"/>
              </a:xfrm>
              <a:custGeom>
                <a:avLst/>
                <a:gdLst>
                  <a:gd name="connsiteX0" fmla="*/ 0 w 58589"/>
                  <a:gd name="connsiteY0" fmla="*/ 1385 h 74475"/>
                  <a:gd name="connsiteX1" fmla="*/ 11660 w 58589"/>
                  <a:gd name="connsiteY1" fmla="*/ 1385 h 74475"/>
                  <a:gd name="connsiteX2" fmla="*/ 11660 w 58589"/>
                  <a:gd name="connsiteY2" fmla="*/ 16615 h 74475"/>
                  <a:gd name="connsiteX3" fmla="*/ 11951 w 58589"/>
                  <a:gd name="connsiteY3" fmla="*/ 16615 h 74475"/>
                  <a:gd name="connsiteX4" fmla="*/ 35707 w 58589"/>
                  <a:gd name="connsiteY4" fmla="*/ 0 h 74475"/>
                  <a:gd name="connsiteX5" fmla="*/ 58589 w 58589"/>
                  <a:gd name="connsiteY5" fmla="*/ 25724 h 74475"/>
                  <a:gd name="connsiteX6" fmla="*/ 58589 w 58589"/>
                  <a:gd name="connsiteY6" fmla="*/ 74475 h 74475"/>
                  <a:gd name="connsiteX7" fmla="*/ 46346 w 58589"/>
                  <a:gd name="connsiteY7" fmla="*/ 74475 h 74475"/>
                  <a:gd name="connsiteX8" fmla="*/ 46346 w 58589"/>
                  <a:gd name="connsiteY8" fmla="*/ 28129 h 74475"/>
                  <a:gd name="connsiteX9" fmla="*/ 31262 w 58589"/>
                  <a:gd name="connsiteY9" fmla="*/ 10785 h 74475"/>
                  <a:gd name="connsiteX10" fmla="*/ 12242 w 58589"/>
                  <a:gd name="connsiteY10" fmla="*/ 32064 h 74475"/>
                  <a:gd name="connsiteX11" fmla="*/ 12242 w 58589"/>
                  <a:gd name="connsiteY11" fmla="*/ 74475 h 74475"/>
                  <a:gd name="connsiteX12" fmla="*/ 73 w 58589"/>
                  <a:gd name="connsiteY12" fmla="*/ 74475 h 74475"/>
                  <a:gd name="connsiteX13" fmla="*/ 73 w 58589"/>
                  <a:gd name="connsiteY13"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89" h="74475">
                    <a:moveTo>
                      <a:pt x="0" y="1385"/>
                    </a:moveTo>
                    <a:lnTo>
                      <a:pt x="11660" y="1385"/>
                    </a:lnTo>
                    <a:lnTo>
                      <a:pt x="11660" y="16615"/>
                    </a:lnTo>
                    <a:lnTo>
                      <a:pt x="11951" y="16615"/>
                    </a:lnTo>
                    <a:cubicBezTo>
                      <a:pt x="14866" y="8964"/>
                      <a:pt x="20987" y="0"/>
                      <a:pt x="35707" y="0"/>
                    </a:cubicBezTo>
                    <a:cubicBezTo>
                      <a:pt x="51156" y="0"/>
                      <a:pt x="58589" y="10421"/>
                      <a:pt x="58589" y="25724"/>
                    </a:cubicBezTo>
                    <a:lnTo>
                      <a:pt x="58589" y="74475"/>
                    </a:lnTo>
                    <a:lnTo>
                      <a:pt x="46346" y="74475"/>
                    </a:lnTo>
                    <a:lnTo>
                      <a:pt x="46346" y="28129"/>
                    </a:lnTo>
                    <a:cubicBezTo>
                      <a:pt x="46346" y="17416"/>
                      <a:pt x="42484" y="10785"/>
                      <a:pt x="31262" y="10785"/>
                    </a:cubicBezTo>
                    <a:cubicBezTo>
                      <a:pt x="20040" y="10785"/>
                      <a:pt x="12242" y="18437"/>
                      <a:pt x="12242" y="32064"/>
                    </a:cubicBezTo>
                    <a:lnTo>
                      <a:pt x="12242" y="74475"/>
                    </a:lnTo>
                    <a:lnTo>
                      <a:pt x="73" y="74475"/>
                    </a:lnTo>
                    <a:lnTo>
                      <a:pt x="73"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50" name="Freeform 303">
                <a:extLst>
                  <a:ext uri="{FF2B5EF4-FFF2-40B4-BE49-F238E27FC236}">
                    <a16:creationId xmlns:a16="http://schemas.microsoft.com/office/drawing/2014/main" id="{E15EF21E-881F-EF3A-89F8-07B643302FF1}"/>
                  </a:ext>
                </a:extLst>
              </p:cNvPr>
              <p:cNvSpPr/>
              <p:nvPr/>
            </p:nvSpPr>
            <p:spPr>
              <a:xfrm>
                <a:off x="4600799" y="4619139"/>
                <a:ext cx="39350" cy="91818"/>
              </a:xfrm>
              <a:custGeom>
                <a:avLst/>
                <a:gdLst>
                  <a:gd name="connsiteX0" fmla="*/ 10785 w 39350"/>
                  <a:gd name="connsiteY0" fmla="*/ 74985 h 91818"/>
                  <a:gd name="connsiteX1" fmla="*/ 10785 w 39350"/>
                  <a:gd name="connsiteY1" fmla="*/ 27910 h 91818"/>
                  <a:gd name="connsiteX2" fmla="*/ 0 w 39350"/>
                  <a:gd name="connsiteY2" fmla="*/ 27910 h 91818"/>
                  <a:gd name="connsiteX3" fmla="*/ 0 w 39350"/>
                  <a:gd name="connsiteY3" fmla="*/ 21570 h 91818"/>
                  <a:gd name="connsiteX4" fmla="*/ 21570 w 39350"/>
                  <a:gd name="connsiteY4" fmla="*/ 0 h 91818"/>
                  <a:gd name="connsiteX5" fmla="*/ 22955 w 39350"/>
                  <a:gd name="connsiteY5" fmla="*/ 0 h 91818"/>
                  <a:gd name="connsiteX6" fmla="*/ 22955 w 39350"/>
                  <a:gd name="connsiteY6" fmla="*/ 17708 h 91818"/>
                  <a:gd name="connsiteX7" fmla="*/ 39351 w 39350"/>
                  <a:gd name="connsiteY7" fmla="*/ 17708 h 91818"/>
                  <a:gd name="connsiteX8" fmla="*/ 39351 w 39350"/>
                  <a:gd name="connsiteY8" fmla="*/ 27910 h 91818"/>
                  <a:gd name="connsiteX9" fmla="*/ 22955 w 39350"/>
                  <a:gd name="connsiteY9" fmla="*/ 27910 h 91818"/>
                  <a:gd name="connsiteX10" fmla="*/ 22955 w 39350"/>
                  <a:gd name="connsiteY10" fmla="*/ 72508 h 91818"/>
                  <a:gd name="connsiteX11" fmla="*/ 30971 w 39350"/>
                  <a:gd name="connsiteY11" fmla="*/ 80815 h 91818"/>
                  <a:gd name="connsiteX12" fmla="*/ 39278 w 39350"/>
                  <a:gd name="connsiteY12" fmla="*/ 79649 h 91818"/>
                  <a:gd name="connsiteX13" fmla="*/ 39278 w 39350"/>
                  <a:gd name="connsiteY13" fmla="*/ 90726 h 91818"/>
                  <a:gd name="connsiteX14" fmla="*/ 29149 w 39350"/>
                  <a:gd name="connsiteY14" fmla="*/ 91819 h 91818"/>
                  <a:gd name="connsiteX15" fmla="*/ 10785 w 39350"/>
                  <a:gd name="connsiteY15" fmla="*/ 74985 h 9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50" h="91818">
                    <a:moveTo>
                      <a:pt x="10785" y="74985"/>
                    </a:moveTo>
                    <a:lnTo>
                      <a:pt x="10785" y="27910"/>
                    </a:lnTo>
                    <a:lnTo>
                      <a:pt x="0" y="27910"/>
                    </a:lnTo>
                    <a:lnTo>
                      <a:pt x="0" y="21570"/>
                    </a:lnTo>
                    <a:lnTo>
                      <a:pt x="21570" y="0"/>
                    </a:lnTo>
                    <a:lnTo>
                      <a:pt x="22955" y="0"/>
                    </a:lnTo>
                    <a:lnTo>
                      <a:pt x="22955" y="17708"/>
                    </a:lnTo>
                    <a:lnTo>
                      <a:pt x="39351" y="17708"/>
                    </a:lnTo>
                    <a:lnTo>
                      <a:pt x="39351" y="27910"/>
                    </a:lnTo>
                    <a:lnTo>
                      <a:pt x="22955" y="27910"/>
                    </a:lnTo>
                    <a:lnTo>
                      <a:pt x="22955" y="72508"/>
                    </a:lnTo>
                    <a:cubicBezTo>
                      <a:pt x="22955" y="78993"/>
                      <a:pt x="25068" y="80815"/>
                      <a:pt x="30971" y="80815"/>
                    </a:cubicBezTo>
                    <a:cubicBezTo>
                      <a:pt x="33885" y="80815"/>
                      <a:pt x="36800" y="80378"/>
                      <a:pt x="39278" y="79649"/>
                    </a:cubicBezTo>
                    <a:lnTo>
                      <a:pt x="39278" y="90726"/>
                    </a:lnTo>
                    <a:cubicBezTo>
                      <a:pt x="36655" y="91381"/>
                      <a:pt x="32719" y="91819"/>
                      <a:pt x="29149" y="91819"/>
                    </a:cubicBezTo>
                    <a:cubicBezTo>
                      <a:pt x="16469" y="91819"/>
                      <a:pt x="10785" y="86718"/>
                      <a:pt x="10785" y="7498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grpSp>
          <p:nvGrpSpPr>
            <p:cNvPr id="1651" name="Graphic 2">
              <a:extLst>
                <a:ext uri="{FF2B5EF4-FFF2-40B4-BE49-F238E27FC236}">
                  <a16:creationId xmlns:a16="http://schemas.microsoft.com/office/drawing/2014/main" id="{AC8AEB9F-91E6-681C-6E97-1163B7C80502}"/>
                </a:ext>
              </a:extLst>
            </p:cNvPr>
            <p:cNvGrpSpPr/>
            <p:nvPr/>
          </p:nvGrpSpPr>
          <p:grpSpPr>
            <a:xfrm>
              <a:off x="4525858" y="3446072"/>
              <a:ext cx="808372" cy="296586"/>
              <a:chOff x="4527053" y="3446048"/>
              <a:chExt cx="808585" cy="296661"/>
            </a:xfrm>
            <a:solidFill>
              <a:srgbClr val="00144A"/>
            </a:solidFill>
          </p:grpSpPr>
          <p:sp>
            <p:nvSpPr>
              <p:cNvPr id="1652" name="Freeform 305">
                <a:extLst>
                  <a:ext uri="{FF2B5EF4-FFF2-40B4-BE49-F238E27FC236}">
                    <a16:creationId xmlns:a16="http://schemas.microsoft.com/office/drawing/2014/main" id="{264A1190-16A6-C055-2025-05D4332A2491}"/>
                  </a:ext>
                </a:extLst>
              </p:cNvPr>
              <p:cNvSpPr/>
              <p:nvPr/>
            </p:nvSpPr>
            <p:spPr>
              <a:xfrm>
                <a:off x="4724681" y="3449619"/>
                <a:ext cx="71414" cy="97939"/>
              </a:xfrm>
              <a:custGeom>
                <a:avLst/>
                <a:gdLst>
                  <a:gd name="connsiteX0" fmla="*/ 0 w 71414"/>
                  <a:gd name="connsiteY0" fmla="*/ 82855 h 97939"/>
                  <a:gd name="connsiteX1" fmla="*/ 8817 w 71414"/>
                  <a:gd name="connsiteY1" fmla="*/ 74038 h 97939"/>
                  <a:gd name="connsiteX2" fmla="*/ 35562 w 71414"/>
                  <a:gd name="connsiteY2" fmla="*/ 86717 h 97939"/>
                  <a:gd name="connsiteX3" fmla="*/ 58662 w 71414"/>
                  <a:gd name="connsiteY3" fmla="*/ 71050 h 97939"/>
                  <a:gd name="connsiteX4" fmla="*/ 34541 w 71414"/>
                  <a:gd name="connsiteY4" fmla="*/ 53342 h 97939"/>
                  <a:gd name="connsiteX5" fmla="*/ 3716 w 71414"/>
                  <a:gd name="connsiteY5" fmla="*/ 25505 h 97939"/>
                  <a:gd name="connsiteX6" fmla="*/ 36800 w 71414"/>
                  <a:gd name="connsiteY6" fmla="*/ 0 h 97939"/>
                  <a:gd name="connsiteX7" fmla="*/ 69010 w 71414"/>
                  <a:gd name="connsiteY7" fmla="*/ 13554 h 97939"/>
                  <a:gd name="connsiteX8" fmla="*/ 60411 w 71414"/>
                  <a:gd name="connsiteY8" fmla="*/ 22080 h 97939"/>
                  <a:gd name="connsiteX9" fmla="*/ 36144 w 71414"/>
                  <a:gd name="connsiteY9" fmla="*/ 11222 h 97939"/>
                  <a:gd name="connsiteX10" fmla="*/ 16323 w 71414"/>
                  <a:gd name="connsiteY10" fmla="*/ 25068 h 97939"/>
                  <a:gd name="connsiteX11" fmla="*/ 39132 w 71414"/>
                  <a:gd name="connsiteY11" fmla="*/ 41683 h 97939"/>
                  <a:gd name="connsiteX12" fmla="*/ 71414 w 71414"/>
                  <a:gd name="connsiteY12" fmla="*/ 70321 h 97939"/>
                  <a:gd name="connsiteX13" fmla="*/ 35562 w 71414"/>
                  <a:gd name="connsiteY13" fmla="*/ 97940 h 97939"/>
                  <a:gd name="connsiteX14" fmla="*/ 0 w 71414"/>
                  <a:gd name="connsiteY14" fmla="*/ 82710 h 97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414" h="97939">
                    <a:moveTo>
                      <a:pt x="0" y="82855"/>
                    </a:moveTo>
                    <a:lnTo>
                      <a:pt x="8817" y="74038"/>
                    </a:lnTo>
                    <a:cubicBezTo>
                      <a:pt x="14501" y="81106"/>
                      <a:pt x="21497" y="86717"/>
                      <a:pt x="35562" y="86717"/>
                    </a:cubicBezTo>
                    <a:cubicBezTo>
                      <a:pt x="48241" y="86717"/>
                      <a:pt x="58662" y="82127"/>
                      <a:pt x="58662" y="71050"/>
                    </a:cubicBezTo>
                    <a:cubicBezTo>
                      <a:pt x="58662" y="59974"/>
                      <a:pt x="47148" y="56476"/>
                      <a:pt x="34541" y="53342"/>
                    </a:cubicBezTo>
                    <a:cubicBezTo>
                      <a:pt x="19894" y="49626"/>
                      <a:pt x="3716" y="45181"/>
                      <a:pt x="3716" y="25505"/>
                    </a:cubicBezTo>
                    <a:cubicBezTo>
                      <a:pt x="3716" y="7360"/>
                      <a:pt x="18947" y="0"/>
                      <a:pt x="36800" y="0"/>
                    </a:cubicBezTo>
                    <a:cubicBezTo>
                      <a:pt x="52759" y="0"/>
                      <a:pt x="62597" y="5903"/>
                      <a:pt x="69010" y="13554"/>
                    </a:cubicBezTo>
                    <a:lnTo>
                      <a:pt x="60411" y="22080"/>
                    </a:lnTo>
                    <a:cubicBezTo>
                      <a:pt x="54873" y="15667"/>
                      <a:pt x="47658" y="11222"/>
                      <a:pt x="36144" y="11222"/>
                    </a:cubicBezTo>
                    <a:cubicBezTo>
                      <a:pt x="22590" y="11222"/>
                      <a:pt x="16323" y="17198"/>
                      <a:pt x="16323" y="25068"/>
                    </a:cubicBezTo>
                    <a:cubicBezTo>
                      <a:pt x="16323" y="35634"/>
                      <a:pt x="27108" y="38549"/>
                      <a:pt x="39132" y="41683"/>
                    </a:cubicBezTo>
                    <a:cubicBezTo>
                      <a:pt x="54362" y="45545"/>
                      <a:pt x="71414" y="49990"/>
                      <a:pt x="71414" y="70321"/>
                    </a:cubicBezTo>
                    <a:cubicBezTo>
                      <a:pt x="71414" y="86353"/>
                      <a:pt x="58953" y="97940"/>
                      <a:pt x="35562" y="97940"/>
                    </a:cubicBezTo>
                    <a:cubicBezTo>
                      <a:pt x="20112" y="97940"/>
                      <a:pt x="8016" y="92985"/>
                      <a:pt x="0" y="8271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53" name="Freeform 306">
                <a:extLst>
                  <a:ext uri="{FF2B5EF4-FFF2-40B4-BE49-F238E27FC236}">
                    <a16:creationId xmlns:a16="http://schemas.microsoft.com/office/drawing/2014/main" id="{F8B43134-31C3-BD78-5C0D-20E029903334}"/>
                  </a:ext>
                </a:extLst>
              </p:cNvPr>
              <p:cNvSpPr/>
              <p:nvPr/>
            </p:nvSpPr>
            <p:spPr>
              <a:xfrm>
                <a:off x="4813804" y="3471845"/>
                <a:ext cx="71268" cy="103332"/>
              </a:xfrm>
              <a:custGeom>
                <a:avLst/>
                <a:gdLst>
                  <a:gd name="connsiteX0" fmla="*/ 0 w 71268"/>
                  <a:gd name="connsiteY0" fmla="*/ 1458 h 103332"/>
                  <a:gd name="connsiteX1" fmla="*/ 11660 w 71268"/>
                  <a:gd name="connsiteY1" fmla="*/ 1458 h 103332"/>
                  <a:gd name="connsiteX2" fmla="*/ 11660 w 71268"/>
                  <a:gd name="connsiteY2" fmla="*/ 16906 h 103332"/>
                  <a:gd name="connsiteX3" fmla="*/ 11805 w 71268"/>
                  <a:gd name="connsiteY3" fmla="*/ 16906 h 103332"/>
                  <a:gd name="connsiteX4" fmla="*/ 39132 w 71268"/>
                  <a:gd name="connsiteY4" fmla="*/ 0 h 103332"/>
                  <a:gd name="connsiteX5" fmla="*/ 71269 w 71268"/>
                  <a:gd name="connsiteY5" fmla="*/ 37893 h 103332"/>
                  <a:gd name="connsiteX6" fmla="*/ 39570 w 71268"/>
                  <a:gd name="connsiteY6" fmla="*/ 75860 h 103332"/>
                  <a:gd name="connsiteX7" fmla="*/ 12607 w 71268"/>
                  <a:gd name="connsiteY7" fmla="*/ 59828 h 103332"/>
                  <a:gd name="connsiteX8" fmla="*/ 12243 w 71268"/>
                  <a:gd name="connsiteY8" fmla="*/ 59828 h 103332"/>
                  <a:gd name="connsiteX9" fmla="*/ 12243 w 71268"/>
                  <a:gd name="connsiteY9" fmla="*/ 103332 h 103332"/>
                  <a:gd name="connsiteX10" fmla="*/ 73 w 71268"/>
                  <a:gd name="connsiteY10" fmla="*/ 103332 h 103332"/>
                  <a:gd name="connsiteX11" fmla="*/ 73 w 71268"/>
                  <a:gd name="connsiteY11" fmla="*/ 1458 h 103332"/>
                  <a:gd name="connsiteX12" fmla="*/ 35343 w 71268"/>
                  <a:gd name="connsiteY12" fmla="*/ 65512 h 103332"/>
                  <a:gd name="connsiteX13" fmla="*/ 58443 w 71268"/>
                  <a:gd name="connsiteY13" fmla="*/ 37893 h 103332"/>
                  <a:gd name="connsiteX14" fmla="*/ 35343 w 71268"/>
                  <a:gd name="connsiteY14" fmla="*/ 10348 h 103332"/>
                  <a:gd name="connsiteX15" fmla="*/ 12170 w 71268"/>
                  <a:gd name="connsiteY15" fmla="*/ 37893 h 103332"/>
                  <a:gd name="connsiteX16" fmla="*/ 35343 w 71268"/>
                  <a:gd name="connsiteY16" fmla="*/ 65512 h 103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268" h="103332">
                    <a:moveTo>
                      <a:pt x="0" y="1458"/>
                    </a:moveTo>
                    <a:lnTo>
                      <a:pt x="11660" y="1458"/>
                    </a:lnTo>
                    <a:lnTo>
                      <a:pt x="11660" y="16906"/>
                    </a:lnTo>
                    <a:lnTo>
                      <a:pt x="11805" y="16906"/>
                    </a:lnTo>
                    <a:cubicBezTo>
                      <a:pt x="15303" y="8307"/>
                      <a:pt x="22445" y="0"/>
                      <a:pt x="39132" y="0"/>
                    </a:cubicBezTo>
                    <a:cubicBezTo>
                      <a:pt x="58516" y="0"/>
                      <a:pt x="71269" y="15522"/>
                      <a:pt x="71269" y="37893"/>
                    </a:cubicBezTo>
                    <a:cubicBezTo>
                      <a:pt x="71269" y="60265"/>
                      <a:pt x="58954" y="75860"/>
                      <a:pt x="39570" y="75860"/>
                    </a:cubicBezTo>
                    <a:cubicBezTo>
                      <a:pt x="24922" y="75860"/>
                      <a:pt x="16323" y="68427"/>
                      <a:pt x="12607" y="59828"/>
                    </a:cubicBezTo>
                    <a:lnTo>
                      <a:pt x="12243" y="59828"/>
                    </a:lnTo>
                    <a:lnTo>
                      <a:pt x="12243" y="103332"/>
                    </a:lnTo>
                    <a:lnTo>
                      <a:pt x="73" y="103332"/>
                    </a:lnTo>
                    <a:lnTo>
                      <a:pt x="73" y="1458"/>
                    </a:lnTo>
                    <a:close/>
                    <a:moveTo>
                      <a:pt x="35343" y="65512"/>
                    </a:moveTo>
                    <a:cubicBezTo>
                      <a:pt x="48314" y="65512"/>
                      <a:pt x="58443" y="56257"/>
                      <a:pt x="58443" y="37893"/>
                    </a:cubicBezTo>
                    <a:cubicBezTo>
                      <a:pt x="58443" y="19530"/>
                      <a:pt x="48314" y="10348"/>
                      <a:pt x="35343" y="10348"/>
                    </a:cubicBezTo>
                    <a:cubicBezTo>
                      <a:pt x="22372" y="10348"/>
                      <a:pt x="12170" y="19603"/>
                      <a:pt x="12170" y="37893"/>
                    </a:cubicBezTo>
                    <a:cubicBezTo>
                      <a:pt x="12170" y="56184"/>
                      <a:pt x="22299" y="65512"/>
                      <a:pt x="35343" y="65512"/>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54" name="Freeform 307">
                <a:extLst>
                  <a:ext uri="{FF2B5EF4-FFF2-40B4-BE49-F238E27FC236}">
                    <a16:creationId xmlns:a16="http://schemas.microsoft.com/office/drawing/2014/main" id="{47A0C90F-001A-E428-3A8D-F288563FEB27}"/>
                  </a:ext>
                </a:extLst>
              </p:cNvPr>
              <p:cNvSpPr/>
              <p:nvPr/>
            </p:nvSpPr>
            <p:spPr>
              <a:xfrm>
                <a:off x="4897679" y="3471918"/>
                <a:ext cx="67333" cy="75859"/>
              </a:xfrm>
              <a:custGeom>
                <a:avLst/>
                <a:gdLst>
                  <a:gd name="connsiteX0" fmla="*/ 73 w 67333"/>
                  <a:gd name="connsiteY0" fmla="*/ 37893 h 75859"/>
                  <a:gd name="connsiteX1" fmla="*/ 35489 w 67333"/>
                  <a:gd name="connsiteY1" fmla="*/ 0 h 75859"/>
                  <a:gd name="connsiteX2" fmla="*/ 67334 w 67333"/>
                  <a:gd name="connsiteY2" fmla="*/ 35270 h 75859"/>
                  <a:gd name="connsiteX3" fmla="*/ 67115 w 67333"/>
                  <a:gd name="connsiteY3" fmla="*/ 40954 h 75859"/>
                  <a:gd name="connsiteX4" fmla="*/ 12826 w 67333"/>
                  <a:gd name="connsiteY4" fmla="*/ 40954 h 75859"/>
                  <a:gd name="connsiteX5" fmla="*/ 36800 w 67333"/>
                  <a:gd name="connsiteY5" fmla="*/ 65512 h 75859"/>
                  <a:gd name="connsiteX6" fmla="*/ 57132 w 67333"/>
                  <a:gd name="connsiteY6" fmla="*/ 56767 h 75859"/>
                  <a:gd name="connsiteX7" fmla="*/ 64783 w 67333"/>
                  <a:gd name="connsiteY7" fmla="*/ 64346 h 75859"/>
                  <a:gd name="connsiteX8" fmla="*/ 36800 w 67333"/>
                  <a:gd name="connsiteY8" fmla="*/ 75860 h 75859"/>
                  <a:gd name="connsiteX9" fmla="*/ 0 w 67333"/>
                  <a:gd name="connsiteY9" fmla="*/ 37893 h 75859"/>
                  <a:gd name="connsiteX10" fmla="*/ 54945 w 67333"/>
                  <a:gd name="connsiteY10" fmla="*/ 31481 h 75859"/>
                  <a:gd name="connsiteX11" fmla="*/ 34906 w 67333"/>
                  <a:gd name="connsiteY11" fmla="*/ 10348 h 75859"/>
                  <a:gd name="connsiteX12" fmla="*/ 13117 w 67333"/>
                  <a:gd name="connsiteY12" fmla="*/ 31481 h 75859"/>
                  <a:gd name="connsiteX13" fmla="*/ 54873 w 67333"/>
                  <a:gd name="connsiteY13" fmla="*/ 31481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333" h="75859">
                    <a:moveTo>
                      <a:pt x="73" y="37893"/>
                    </a:moveTo>
                    <a:cubicBezTo>
                      <a:pt x="73" y="12388"/>
                      <a:pt x="16615" y="0"/>
                      <a:pt x="35489" y="0"/>
                    </a:cubicBezTo>
                    <a:cubicBezTo>
                      <a:pt x="59172" y="0"/>
                      <a:pt x="67334" y="19019"/>
                      <a:pt x="67334" y="35270"/>
                    </a:cubicBezTo>
                    <a:cubicBezTo>
                      <a:pt x="67334" y="37237"/>
                      <a:pt x="67334" y="39205"/>
                      <a:pt x="67115" y="40954"/>
                    </a:cubicBezTo>
                    <a:lnTo>
                      <a:pt x="12826" y="40954"/>
                    </a:lnTo>
                    <a:cubicBezTo>
                      <a:pt x="13700" y="56767"/>
                      <a:pt x="21716" y="65512"/>
                      <a:pt x="36800" y="65512"/>
                    </a:cubicBezTo>
                    <a:cubicBezTo>
                      <a:pt x="45691" y="65512"/>
                      <a:pt x="51812" y="63034"/>
                      <a:pt x="57132" y="56767"/>
                    </a:cubicBezTo>
                    <a:lnTo>
                      <a:pt x="64783" y="64346"/>
                    </a:lnTo>
                    <a:cubicBezTo>
                      <a:pt x="57642" y="72362"/>
                      <a:pt x="49553" y="75860"/>
                      <a:pt x="36800" y="75860"/>
                    </a:cubicBezTo>
                    <a:cubicBezTo>
                      <a:pt x="14720" y="75860"/>
                      <a:pt x="0" y="62597"/>
                      <a:pt x="0" y="37893"/>
                    </a:cubicBezTo>
                    <a:close/>
                    <a:moveTo>
                      <a:pt x="54945" y="31481"/>
                    </a:moveTo>
                    <a:cubicBezTo>
                      <a:pt x="53634" y="17125"/>
                      <a:pt x="46201" y="10348"/>
                      <a:pt x="34906" y="10348"/>
                    </a:cubicBezTo>
                    <a:cubicBezTo>
                      <a:pt x="23610" y="10348"/>
                      <a:pt x="15085" y="17344"/>
                      <a:pt x="13117" y="31481"/>
                    </a:cubicBezTo>
                    <a:lnTo>
                      <a:pt x="54873" y="31481"/>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55" name="Freeform 308">
                <a:extLst>
                  <a:ext uri="{FF2B5EF4-FFF2-40B4-BE49-F238E27FC236}">
                    <a16:creationId xmlns:a16="http://schemas.microsoft.com/office/drawing/2014/main" id="{60F5EC78-9125-7D88-F65C-D3D674212CD5}"/>
                  </a:ext>
                </a:extLst>
              </p:cNvPr>
              <p:cNvSpPr/>
              <p:nvPr/>
            </p:nvSpPr>
            <p:spPr>
              <a:xfrm>
                <a:off x="4982211" y="3471918"/>
                <a:ext cx="58589" cy="74475"/>
              </a:xfrm>
              <a:custGeom>
                <a:avLst/>
                <a:gdLst>
                  <a:gd name="connsiteX0" fmla="*/ 0 w 58589"/>
                  <a:gd name="connsiteY0" fmla="*/ 1385 h 74475"/>
                  <a:gd name="connsiteX1" fmla="*/ 11660 w 58589"/>
                  <a:gd name="connsiteY1" fmla="*/ 1385 h 74475"/>
                  <a:gd name="connsiteX2" fmla="*/ 11660 w 58589"/>
                  <a:gd name="connsiteY2" fmla="*/ 16615 h 74475"/>
                  <a:gd name="connsiteX3" fmla="*/ 11951 w 58589"/>
                  <a:gd name="connsiteY3" fmla="*/ 16615 h 74475"/>
                  <a:gd name="connsiteX4" fmla="*/ 35707 w 58589"/>
                  <a:gd name="connsiteY4" fmla="*/ 0 h 74475"/>
                  <a:gd name="connsiteX5" fmla="*/ 58589 w 58589"/>
                  <a:gd name="connsiteY5" fmla="*/ 25724 h 74475"/>
                  <a:gd name="connsiteX6" fmla="*/ 58589 w 58589"/>
                  <a:gd name="connsiteY6" fmla="*/ 74475 h 74475"/>
                  <a:gd name="connsiteX7" fmla="*/ 46346 w 58589"/>
                  <a:gd name="connsiteY7" fmla="*/ 74475 h 74475"/>
                  <a:gd name="connsiteX8" fmla="*/ 46346 w 58589"/>
                  <a:gd name="connsiteY8" fmla="*/ 28128 h 74475"/>
                  <a:gd name="connsiteX9" fmla="*/ 31262 w 58589"/>
                  <a:gd name="connsiteY9" fmla="*/ 10785 h 74475"/>
                  <a:gd name="connsiteX10" fmla="*/ 12242 w 58589"/>
                  <a:gd name="connsiteY10" fmla="*/ 32064 h 74475"/>
                  <a:gd name="connsiteX11" fmla="*/ 12242 w 58589"/>
                  <a:gd name="connsiteY11" fmla="*/ 74475 h 74475"/>
                  <a:gd name="connsiteX12" fmla="*/ 73 w 58589"/>
                  <a:gd name="connsiteY12" fmla="*/ 74475 h 74475"/>
                  <a:gd name="connsiteX13" fmla="*/ 73 w 58589"/>
                  <a:gd name="connsiteY13"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89" h="74475">
                    <a:moveTo>
                      <a:pt x="0" y="1385"/>
                    </a:moveTo>
                    <a:lnTo>
                      <a:pt x="11660" y="1385"/>
                    </a:lnTo>
                    <a:lnTo>
                      <a:pt x="11660" y="16615"/>
                    </a:lnTo>
                    <a:lnTo>
                      <a:pt x="11951" y="16615"/>
                    </a:lnTo>
                    <a:cubicBezTo>
                      <a:pt x="14866" y="8963"/>
                      <a:pt x="20987" y="0"/>
                      <a:pt x="35707" y="0"/>
                    </a:cubicBezTo>
                    <a:cubicBezTo>
                      <a:pt x="51156" y="0"/>
                      <a:pt x="58589" y="10421"/>
                      <a:pt x="58589" y="25724"/>
                    </a:cubicBezTo>
                    <a:lnTo>
                      <a:pt x="58589" y="74475"/>
                    </a:lnTo>
                    <a:lnTo>
                      <a:pt x="46346" y="74475"/>
                    </a:lnTo>
                    <a:lnTo>
                      <a:pt x="46346" y="28128"/>
                    </a:lnTo>
                    <a:cubicBezTo>
                      <a:pt x="46346" y="17416"/>
                      <a:pt x="42484" y="10785"/>
                      <a:pt x="31262" y="10785"/>
                    </a:cubicBezTo>
                    <a:cubicBezTo>
                      <a:pt x="20040" y="10785"/>
                      <a:pt x="12242" y="18437"/>
                      <a:pt x="12242" y="32064"/>
                    </a:cubicBezTo>
                    <a:lnTo>
                      <a:pt x="12242" y="74475"/>
                    </a:lnTo>
                    <a:lnTo>
                      <a:pt x="73" y="74475"/>
                    </a:lnTo>
                    <a:lnTo>
                      <a:pt x="73"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56" name="Freeform 309">
                <a:extLst>
                  <a:ext uri="{FF2B5EF4-FFF2-40B4-BE49-F238E27FC236}">
                    <a16:creationId xmlns:a16="http://schemas.microsoft.com/office/drawing/2014/main" id="{E7AD2EBA-C30A-84ED-AF3E-CB4D73DD4D89}"/>
                  </a:ext>
                </a:extLst>
              </p:cNvPr>
              <p:cNvSpPr/>
              <p:nvPr/>
            </p:nvSpPr>
            <p:spPr>
              <a:xfrm>
                <a:off x="5057196" y="3446048"/>
                <a:ext cx="71195" cy="101802"/>
              </a:xfrm>
              <a:custGeom>
                <a:avLst/>
                <a:gdLst>
                  <a:gd name="connsiteX0" fmla="*/ 73 w 71195"/>
                  <a:gd name="connsiteY0" fmla="*/ 63763 h 101802"/>
                  <a:gd name="connsiteX1" fmla="*/ 31772 w 71195"/>
                  <a:gd name="connsiteY1" fmla="*/ 25869 h 101802"/>
                  <a:gd name="connsiteX2" fmla="*/ 58735 w 71195"/>
                  <a:gd name="connsiteY2" fmla="*/ 41974 h 101802"/>
                  <a:gd name="connsiteX3" fmla="*/ 59026 w 71195"/>
                  <a:gd name="connsiteY3" fmla="*/ 41974 h 101802"/>
                  <a:gd name="connsiteX4" fmla="*/ 59026 w 71195"/>
                  <a:gd name="connsiteY4" fmla="*/ 0 h 101802"/>
                  <a:gd name="connsiteX5" fmla="*/ 71196 w 71195"/>
                  <a:gd name="connsiteY5" fmla="*/ 0 h 101802"/>
                  <a:gd name="connsiteX6" fmla="*/ 71196 w 71195"/>
                  <a:gd name="connsiteY6" fmla="*/ 100417 h 101802"/>
                  <a:gd name="connsiteX7" fmla="*/ 59536 w 71195"/>
                  <a:gd name="connsiteY7" fmla="*/ 100417 h 101802"/>
                  <a:gd name="connsiteX8" fmla="*/ 59536 w 71195"/>
                  <a:gd name="connsiteY8" fmla="*/ 84968 h 101802"/>
                  <a:gd name="connsiteX9" fmla="*/ 59391 w 71195"/>
                  <a:gd name="connsiteY9" fmla="*/ 84968 h 101802"/>
                  <a:gd name="connsiteX10" fmla="*/ 32137 w 71195"/>
                  <a:gd name="connsiteY10" fmla="*/ 101802 h 101802"/>
                  <a:gd name="connsiteX11" fmla="*/ 0 w 71195"/>
                  <a:gd name="connsiteY11" fmla="*/ 63836 h 101802"/>
                  <a:gd name="connsiteX12" fmla="*/ 35926 w 71195"/>
                  <a:gd name="connsiteY12" fmla="*/ 91308 h 101802"/>
                  <a:gd name="connsiteX13" fmla="*/ 59026 w 71195"/>
                  <a:gd name="connsiteY13" fmla="*/ 63690 h 101802"/>
                  <a:gd name="connsiteX14" fmla="*/ 35926 w 71195"/>
                  <a:gd name="connsiteY14" fmla="*/ 36144 h 101802"/>
                  <a:gd name="connsiteX15" fmla="*/ 12825 w 71195"/>
                  <a:gd name="connsiteY15" fmla="*/ 63690 h 101802"/>
                  <a:gd name="connsiteX16" fmla="*/ 35926 w 71195"/>
                  <a:gd name="connsiteY16" fmla="*/ 91308 h 10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195" h="101802">
                    <a:moveTo>
                      <a:pt x="73" y="63763"/>
                    </a:moveTo>
                    <a:cubicBezTo>
                      <a:pt x="73" y="41391"/>
                      <a:pt x="12388" y="25869"/>
                      <a:pt x="31772" y="25869"/>
                    </a:cubicBezTo>
                    <a:cubicBezTo>
                      <a:pt x="46419" y="25869"/>
                      <a:pt x="55018" y="33375"/>
                      <a:pt x="58735" y="41974"/>
                    </a:cubicBezTo>
                    <a:lnTo>
                      <a:pt x="59026" y="41974"/>
                    </a:lnTo>
                    <a:lnTo>
                      <a:pt x="59026" y="0"/>
                    </a:lnTo>
                    <a:lnTo>
                      <a:pt x="71196" y="0"/>
                    </a:lnTo>
                    <a:lnTo>
                      <a:pt x="71196" y="100417"/>
                    </a:lnTo>
                    <a:lnTo>
                      <a:pt x="59536" y="100417"/>
                    </a:lnTo>
                    <a:lnTo>
                      <a:pt x="59536" y="84968"/>
                    </a:lnTo>
                    <a:lnTo>
                      <a:pt x="59391" y="84968"/>
                    </a:lnTo>
                    <a:cubicBezTo>
                      <a:pt x="55966" y="93567"/>
                      <a:pt x="48751" y="101802"/>
                      <a:pt x="32137" y="101802"/>
                    </a:cubicBezTo>
                    <a:cubicBezTo>
                      <a:pt x="12753" y="101802"/>
                      <a:pt x="0" y="86353"/>
                      <a:pt x="0" y="63836"/>
                    </a:cubicBezTo>
                    <a:close/>
                    <a:moveTo>
                      <a:pt x="35926" y="91308"/>
                    </a:moveTo>
                    <a:cubicBezTo>
                      <a:pt x="48970" y="91308"/>
                      <a:pt x="59026" y="82054"/>
                      <a:pt x="59026" y="63690"/>
                    </a:cubicBezTo>
                    <a:cubicBezTo>
                      <a:pt x="59026" y="45326"/>
                      <a:pt x="48970" y="36144"/>
                      <a:pt x="35926" y="36144"/>
                    </a:cubicBezTo>
                    <a:cubicBezTo>
                      <a:pt x="22882" y="36144"/>
                      <a:pt x="12825" y="45399"/>
                      <a:pt x="12825" y="63690"/>
                    </a:cubicBezTo>
                    <a:cubicBezTo>
                      <a:pt x="12825" y="81981"/>
                      <a:pt x="22955" y="91308"/>
                      <a:pt x="35926" y="91308"/>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57" name="Freeform 310">
                <a:extLst>
                  <a:ext uri="{FF2B5EF4-FFF2-40B4-BE49-F238E27FC236}">
                    <a16:creationId xmlns:a16="http://schemas.microsoft.com/office/drawing/2014/main" id="{A256A925-3AA3-F3D3-B131-19156F69919D}"/>
                  </a:ext>
                </a:extLst>
              </p:cNvPr>
              <p:cNvSpPr/>
              <p:nvPr/>
            </p:nvSpPr>
            <p:spPr>
              <a:xfrm>
                <a:off x="4527053" y="3638065"/>
                <a:ext cx="96992" cy="74547"/>
              </a:xfrm>
              <a:custGeom>
                <a:avLst/>
                <a:gdLst>
                  <a:gd name="connsiteX0" fmla="*/ 0 w 96992"/>
                  <a:gd name="connsiteY0" fmla="*/ 1385 h 74547"/>
                  <a:gd name="connsiteX1" fmla="*/ 11659 w 96992"/>
                  <a:gd name="connsiteY1" fmla="*/ 1385 h 74547"/>
                  <a:gd name="connsiteX2" fmla="*/ 11659 w 96992"/>
                  <a:gd name="connsiteY2" fmla="*/ 16615 h 74547"/>
                  <a:gd name="connsiteX3" fmla="*/ 11951 w 96992"/>
                  <a:gd name="connsiteY3" fmla="*/ 16615 h 74547"/>
                  <a:gd name="connsiteX4" fmla="*/ 33302 w 96992"/>
                  <a:gd name="connsiteY4" fmla="*/ 0 h 74547"/>
                  <a:gd name="connsiteX5" fmla="*/ 53269 w 96992"/>
                  <a:gd name="connsiteY5" fmla="*/ 16615 h 74547"/>
                  <a:gd name="connsiteX6" fmla="*/ 53561 w 96992"/>
                  <a:gd name="connsiteY6" fmla="*/ 16615 h 74547"/>
                  <a:gd name="connsiteX7" fmla="*/ 75641 w 96992"/>
                  <a:gd name="connsiteY7" fmla="*/ 0 h 74547"/>
                  <a:gd name="connsiteX8" fmla="*/ 96992 w 96992"/>
                  <a:gd name="connsiteY8" fmla="*/ 25797 h 74547"/>
                  <a:gd name="connsiteX9" fmla="*/ 96992 w 96992"/>
                  <a:gd name="connsiteY9" fmla="*/ 74548 h 74547"/>
                  <a:gd name="connsiteX10" fmla="*/ 84823 w 96992"/>
                  <a:gd name="connsiteY10" fmla="*/ 74548 h 74547"/>
                  <a:gd name="connsiteX11" fmla="*/ 84823 w 96992"/>
                  <a:gd name="connsiteY11" fmla="*/ 28202 h 74547"/>
                  <a:gd name="connsiteX12" fmla="*/ 71633 w 96992"/>
                  <a:gd name="connsiteY12" fmla="*/ 10858 h 74547"/>
                  <a:gd name="connsiteX13" fmla="*/ 54581 w 96992"/>
                  <a:gd name="connsiteY13" fmla="*/ 32137 h 74547"/>
                  <a:gd name="connsiteX14" fmla="*/ 54581 w 96992"/>
                  <a:gd name="connsiteY14" fmla="*/ 74548 h 74547"/>
                  <a:gd name="connsiteX15" fmla="*/ 42411 w 96992"/>
                  <a:gd name="connsiteY15" fmla="*/ 74548 h 74547"/>
                  <a:gd name="connsiteX16" fmla="*/ 42411 w 96992"/>
                  <a:gd name="connsiteY16" fmla="*/ 28202 h 74547"/>
                  <a:gd name="connsiteX17" fmla="*/ 29221 w 96992"/>
                  <a:gd name="connsiteY17" fmla="*/ 10858 h 74547"/>
                  <a:gd name="connsiteX18" fmla="*/ 12169 w 96992"/>
                  <a:gd name="connsiteY18" fmla="*/ 32137 h 74547"/>
                  <a:gd name="connsiteX19" fmla="*/ 12169 w 96992"/>
                  <a:gd name="connsiteY19" fmla="*/ 74548 h 74547"/>
                  <a:gd name="connsiteX20" fmla="*/ 0 w 96992"/>
                  <a:gd name="connsiteY20" fmla="*/ 74548 h 74547"/>
                  <a:gd name="connsiteX21" fmla="*/ 0 w 96992"/>
                  <a:gd name="connsiteY21" fmla="*/ 1458 h 7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6992" h="74547">
                    <a:moveTo>
                      <a:pt x="0" y="1385"/>
                    </a:moveTo>
                    <a:lnTo>
                      <a:pt x="11659" y="1385"/>
                    </a:lnTo>
                    <a:lnTo>
                      <a:pt x="11659" y="16615"/>
                    </a:lnTo>
                    <a:lnTo>
                      <a:pt x="11951" y="16615"/>
                    </a:lnTo>
                    <a:cubicBezTo>
                      <a:pt x="15449" y="5903"/>
                      <a:pt x="23173" y="0"/>
                      <a:pt x="33302" y="0"/>
                    </a:cubicBezTo>
                    <a:cubicBezTo>
                      <a:pt x="43432" y="0"/>
                      <a:pt x="50719" y="5174"/>
                      <a:pt x="53269" y="16615"/>
                    </a:cubicBezTo>
                    <a:lnTo>
                      <a:pt x="53561" y="16615"/>
                    </a:lnTo>
                    <a:cubicBezTo>
                      <a:pt x="56913" y="5101"/>
                      <a:pt x="65585" y="0"/>
                      <a:pt x="75641" y="0"/>
                    </a:cubicBezTo>
                    <a:cubicBezTo>
                      <a:pt x="89341" y="0"/>
                      <a:pt x="96992" y="7652"/>
                      <a:pt x="96992" y="25797"/>
                    </a:cubicBezTo>
                    <a:lnTo>
                      <a:pt x="96992" y="74548"/>
                    </a:lnTo>
                    <a:lnTo>
                      <a:pt x="84823" y="74548"/>
                    </a:lnTo>
                    <a:lnTo>
                      <a:pt x="84823" y="28202"/>
                    </a:lnTo>
                    <a:cubicBezTo>
                      <a:pt x="84823" y="17489"/>
                      <a:pt x="81471" y="10858"/>
                      <a:pt x="71633" y="10858"/>
                    </a:cubicBezTo>
                    <a:cubicBezTo>
                      <a:pt x="61212" y="10858"/>
                      <a:pt x="54581" y="18510"/>
                      <a:pt x="54581" y="32137"/>
                    </a:cubicBezTo>
                    <a:lnTo>
                      <a:pt x="54581" y="74548"/>
                    </a:lnTo>
                    <a:lnTo>
                      <a:pt x="42411" y="74548"/>
                    </a:lnTo>
                    <a:lnTo>
                      <a:pt x="42411" y="28202"/>
                    </a:lnTo>
                    <a:cubicBezTo>
                      <a:pt x="42411" y="17489"/>
                      <a:pt x="39059" y="10858"/>
                      <a:pt x="29221" y="10858"/>
                    </a:cubicBezTo>
                    <a:cubicBezTo>
                      <a:pt x="18874" y="10858"/>
                      <a:pt x="12169" y="18510"/>
                      <a:pt x="12169" y="32137"/>
                    </a:cubicBezTo>
                    <a:lnTo>
                      <a:pt x="12169" y="74548"/>
                    </a:lnTo>
                    <a:lnTo>
                      <a:pt x="0" y="74548"/>
                    </a:lnTo>
                    <a:lnTo>
                      <a:pt x="0" y="1458"/>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58" name="Freeform 311">
                <a:extLst>
                  <a:ext uri="{FF2B5EF4-FFF2-40B4-BE49-F238E27FC236}">
                    <a16:creationId xmlns:a16="http://schemas.microsoft.com/office/drawing/2014/main" id="{480C792E-7E2A-6EDF-D0D3-128AB9C5BE76}"/>
                  </a:ext>
                </a:extLst>
              </p:cNvPr>
              <p:cNvSpPr/>
              <p:nvPr/>
            </p:nvSpPr>
            <p:spPr>
              <a:xfrm>
                <a:off x="4641389" y="3637993"/>
                <a:ext cx="58443" cy="75859"/>
              </a:xfrm>
              <a:custGeom>
                <a:avLst/>
                <a:gdLst>
                  <a:gd name="connsiteX0" fmla="*/ 73 w 58443"/>
                  <a:gd name="connsiteY0" fmla="*/ 54581 h 75859"/>
                  <a:gd name="connsiteX1" fmla="*/ 33302 w 58443"/>
                  <a:gd name="connsiteY1" fmla="*/ 31043 h 75859"/>
                  <a:gd name="connsiteX2" fmla="*/ 46273 w 58443"/>
                  <a:gd name="connsiteY2" fmla="*/ 31043 h 75859"/>
                  <a:gd name="connsiteX3" fmla="*/ 46273 w 58443"/>
                  <a:gd name="connsiteY3" fmla="*/ 26015 h 75859"/>
                  <a:gd name="connsiteX4" fmla="*/ 31480 w 58443"/>
                  <a:gd name="connsiteY4" fmla="*/ 10275 h 75859"/>
                  <a:gd name="connsiteX5" fmla="*/ 10785 w 58443"/>
                  <a:gd name="connsiteY5" fmla="*/ 20987 h 75859"/>
                  <a:gd name="connsiteX6" fmla="*/ 2915 w 58443"/>
                  <a:gd name="connsiteY6" fmla="*/ 13117 h 75859"/>
                  <a:gd name="connsiteX7" fmla="*/ 32282 w 58443"/>
                  <a:gd name="connsiteY7" fmla="*/ 0 h 75859"/>
                  <a:gd name="connsiteX8" fmla="*/ 58443 w 58443"/>
                  <a:gd name="connsiteY8" fmla="*/ 26015 h 75859"/>
                  <a:gd name="connsiteX9" fmla="*/ 58443 w 58443"/>
                  <a:gd name="connsiteY9" fmla="*/ 74475 h 75859"/>
                  <a:gd name="connsiteX10" fmla="*/ 46784 w 58443"/>
                  <a:gd name="connsiteY10" fmla="*/ 74475 h 75859"/>
                  <a:gd name="connsiteX11" fmla="*/ 46784 w 58443"/>
                  <a:gd name="connsiteY11" fmla="*/ 60921 h 75859"/>
                  <a:gd name="connsiteX12" fmla="*/ 46492 w 58443"/>
                  <a:gd name="connsiteY12" fmla="*/ 60921 h 75859"/>
                  <a:gd name="connsiteX13" fmla="*/ 22299 w 58443"/>
                  <a:gd name="connsiteY13" fmla="*/ 75860 h 75859"/>
                  <a:gd name="connsiteX14" fmla="*/ 0 w 58443"/>
                  <a:gd name="connsiteY14" fmla="*/ 54581 h 75859"/>
                  <a:gd name="connsiteX15" fmla="*/ 25651 w 58443"/>
                  <a:gd name="connsiteY15" fmla="*/ 65657 h 75859"/>
                  <a:gd name="connsiteX16" fmla="*/ 46273 w 58443"/>
                  <a:gd name="connsiteY16" fmla="*/ 47294 h 75859"/>
                  <a:gd name="connsiteX17" fmla="*/ 46273 w 58443"/>
                  <a:gd name="connsiteY17" fmla="*/ 40225 h 75859"/>
                  <a:gd name="connsiteX18" fmla="*/ 34905 w 58443"/>
                  <a:gd name="connsiteY18" fmla="*/ 40225 h 75859"/>
                  <a:gd name="connsiteX19" fmla="*/ 12607 w 58443"/>
                  <a:gd name="connsiteY19" fmla="*/ 54362 h 75859"/>
                  <a:gd name="connsiteX20" fmla="*/ 25651 w 58443"/>
                  <a:gd name="connsiteY20" fmla="*/ 65730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443" h="75859">
                    <a:moveTo>
                      <a:pt x="73" y="54581"/>
                    </a:moveTo>
                    <a:cubicBezTo>
                      <a:pt x="73" y="37529"/>
                      <a:pt x="14647" y="31043"/>
                      <a:pt x="33302" y="31043"/>
                    </a:cubicBezTo>
                    <a:lnTo>
                      <a:pt x="46273" y="31043"/>
                    </a:lnTo>
                    <a:lnTo>
                      <a:pt x="46273" y="26015"/>
                    </a:lnTo>
                    <a:cubicBezTo>
                      <a:pt x="46273" y="15959"/>
                      <a:pt x="41537" y="10275"/>
                      <a:pt x="31480" y="10275"/>
                    </a:cubicBezTo>
                    <a:cubicBezTo>
                      <a:pt x="22080" y="10275"/>
                      <a:pt x="15667" y="14428"/>
                      <a:pt x="10785" y="20987"/>
                    </a:cubicBezTo>
                    <a:lnTo>
                      <a:pt x="2915" y="13117"/>
                    </a:lnTo>
                    <a:cubicBezTo>
                      <a:pt x="8672" y="6194"/>
                      <a:pt x="17635" y="0"/>
                      <a:pt x="32282" y="0"/>
                    </a:cubicBezTo>
                    <a:cubicBezTo>
                      <a:pt x="49626" y="0"/>
                      <a:pt x="58443" y="10566"/>
                      <a:pt x="58443" y="26015"/>
                    </a:cubicBezTo>
                    <a:lnTo>
                      <a:pt x="58443" y="74475"/>
                    </a:lnTo>
                    <a:lnTo>
                      <a:pt x="46784" y="74475"/>
                    </a:lnTo>
                    <a:lnTo>
                      <a:pt x="46784" y="60921"/>
                    </a:lnTo>
                    <a:lnTo>
                      <a:pt x="46492" y="60921"/>
                    </a:lnTo>
                    <a:cubicBezTo>
                      <a:pt x="41610" y="71341"/>
                      <a:pt x="34177" y="75860"/>
                      <a:pt x="22299" y="75860"/>
                    </a:cubicBezTo>
                    <a:cubicBezTo>
                      <a:pt x="9400" y="75860"/>
                      <a:pt x="0" y="68281"/>
                      <a:pt x="0" y="54581"/>
                    </a:cubicBezTo>
                    <a:close/>
                    <a:moveTo>
                      <a:pt x="25651" y="65657"/>
                    </a:moveTo>
                    <a:cubicBezTo>
                      <a:pt x="39132" y="65657"/>
                      <a:pt x="46273" y="56403"/>
                      <a:pt x="46273" y="47294"/>
                    </a:cubicBezTo>
                    <a:lnTo>
                      <a:pt x="46273" y="40225"/>
                    </a:lnTo>
                    <a:lnTo>
                      <a:pt x="34905" y="40225"/>
                    </a:lnTo>
                    <a:cubicBezTo>
                      <a:pt x="23392" y="40225"/>
                      <a:pt x="12607" y="42703"/>
                      <a:pt x="12607" y="54362"/>
                    </a:cubicBezTo>
                    <a:cubicBezTo>
                      <a:pt x="12607" y="61285"/>
                      <a:pt x="17489" y="65730"/>
                      <a:pt x="25651" y="6573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59" name="Freeform 312">
                <a:extLst>
                  <a:ext uri="{FF2B5EF4-FFF2-40B4-BE49-F238E27FC236}">
                    <a16:creationId xmlns:a16="http://schemas.microsoft.com/office/drawing/2014/main" id="{2750E922-6EC2-A2B0-0183-C2FF2241CD16}"/>
                  </a:ext>
                </a:extLst>
              </p:cNvPr>
              <p:cNvSpPr/>
              <p:nvPr/>
            </p:nvSpPr>
            <p:spPr>
              <a:xfrm>
                <a:off x="4720892" y="3638065"/>
                <a:ext cx="58589" cy="74547"/>
              </a:xfrm>
              <a:custGeom>
                <a:avLst/>
                <a:gdLst>
                  <a:gd name="connsiteX0" fmla="*/ 0 w 58589"/>
                  <a:gd name="connsiteY0" fmla="*/ 1385 h 74547"/>
                  <a:gd name="connsiteX1" fmla="*/ 11660 w 58589"/>
                  <a:gd name="connsiteY1" fmla="*/ 1385 h 74547"/>
                  <a:gd name="connsiteX2" fmla="*/ 11660 w 58589"/>
                  <a:gd name="connsiteY2" fmla="*/ 16615 h 74547"/>
                  <a:gd name="connsiteX3" fmla="*/ 11951 w 58589"/>
                  <a:gd name="connsiteY3" fmla="*/ 16615 h 74547"/>
                  <a:gd name="connsiteX4" fmla="*/ 35707 w 58589"/>
                  <a:gd name="connsiteY4" fmla="*/ 0 h 74547"/>
                  <a:gd name="connsiteX5" fmla="*/ 58589 w 58589"/>
                  <a:gd name="connsiteY5" fmla="*/ 25797 h 74547"/>
                  <a:gd name="connsiteX6" fmla="*/ 58589 w 58589"/>
                  <a:gd name="connsiteY6" fmla="*/ 74548 h 74547"/>
                  <a:gd name="connsiteX7" fmla="*/ 46347 w 58589"/>
                  <a:gd name="connsiteY7" fmla="*/ 74548 h 74547"/>
                  <a:gd name="connsiteX8" fmla="*/ 46347 w 58589"/>
                  <a:gd name="connsiteY8" fmla="*/ 28202 h 74547"/>
                  <a:gd name="connsiteX9" fmla="*/ 31262 w 58589"/>
                  <a:gd name="connsiteY9" fmla="*/ 10858 h 74547"/>
                  <a:gd name="connsiteX10" fmla="*/ 12243 w 58589"/>
                  <a:gd name="connsiteY10" fmla="*/ 32137 h 74547"/>
                  <a:gd name="connsiteX11" fmla="*/ 12243 w 58589"/>
                  <a:gd name="connsiteY11" fmla="*/ 74548 h 74547"/>
                  <a:gd name="connsiteX12" fmla="*/ 73 w 58589"/>
                  <a:gd name="connsiteY12" fmla="*/ 74548 h 74547"/>
                  <a:gd name="connsiteX13" fmla="*/ 73 w 58589"/>
                  <a:gd name="connsiteY13" fmla="*/ 1458 h 7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89" h="74547">
                    <a:moveTo>
                      <a:pt x="0" y="1385"/>
                    </a:moveTo>
                    <a:lnTo>
                      <a:pt x="11660" y="1385"/>
                    </a:lnTo>
                    <a:lnTo>
                      <a:pt x="11660" y="16615"/>
                    </a:lnTo>
                    <a:lnTo>
                      <a:pt x="11951" y="16615"/>
                    </a:lnTo>
                    <a:cubicBezTo>
                      <a:pt x="14866" y="8963"/>
                      <a:pt x="20987" y="0"/>
                      <a:pt x="35707" y="0"/>
                    </a:cubicBezTo>
                    <a:cubicBezTo>
                      <a:pt x="51156" y="0"/>
                      <a:pt x="58589" y="10421"/>
                      <a:pt x="58589" y="25797"/>
                    </a:cubicBezTo>
                    <a:lnTo>
                      <a:pt x="58589" y="74548"/>
                    </a:lnTo>
                    <a:lnTo>
                      <a:pt x="46347" y="74548"/>
                    </a:lnTo>
                    <a:lnTo>
                      <a:pt x="46347" y="28202"/>
                    </a:lnTo>
                    <a:cubicBezTo>
                      <a:pt x="46347" y="17489"/>
                      <a:pt x="42484" y="10858"/>
                      <a:pt x="31262" y="10858"/>
                    </a:cubicBezTo>
                    <a:cubicBezTo>
                      <a:pt x="20040" y="10858"/>
                      <a:pt x="12243" y="18510"/>
                      <a:pt x="12243" y="32137"/>
                    </a:cubicBezTo>
                    <a:lnTo>
                      <a:pt x="12243" y="74548"/>
                    </a:lnTo>
                    <a:lnTo>
                      <a:pt x="73" y="74548"/>
                    </a:lnTo>
                    <a:lnTo>
                      <a:pt x="73" y="1458"/>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60" name="Freeform 313">
                <a:extLst>
                  <a:ext uri="{FF2B5EF4-FFF2-40B4-BE49-F238E27FC236}">
                    <a16:creationId xmlns:a16="http://schemas.microsoft.com/office/drawing/2014/main" id="{1F653037-8DC7-993A-2065-97798B456604}"/>
                  </a:ext>
                </a:extLst>
              </p:cNvPr>
              <p:cNvSpPr/>
              <p:nvPr/>
            </p:nvSpPr>
            <p:spPr>
              <a:xfrm>
                <a:off x="4796679" y="3637993"/>
                <a:ext cx="58443" cy="75859"/>
              </a:xfrm>
              <a:custGeom>
                <a:avLst/>
                <a:gdLst>
                  <a:gd name="connsiteX0" fmla="*/ 73 w 58443"/>
                  <a:gd name="connsiteY0" fmla="*/ 54581 h 75859"/>
                  <a:gd name="connsiteX1" fmla="*/ 33302 w 58443"/>
                  <a:gd name="connsiteY1" fmla="*/ 31043 h 75859"/>
                  <a:gd name="connsiteX2" fmla="*/ 46273 w 58443"/>
                  <a:gd name="connsiteY2" fmla="*/ 31043 h 75859"/>
                  <a:gd name="connsiteX3" fmla="*/ 46273 w 58443"/>
                  <a:gd name="connsiteY3" fmla="*/ 26015 h 75859"/>
                  <a:gd name="connsiteX4" fmla="*/ 31480 w 58443"/>
                  <a:gd name="connsiteY4" fmla="*/ 10275 h 75859"/>
                  <a:gd name="connsiteX5" fmla="*/ 10785 w 58443"/>
                  <a:gd name="connsiteY5" fmla="*/ 20987 h 75859"/>
                  <a:gd name="connsiteX6" fmla="*/ 2915 w 58443"/>
                  <a:gd name="connsiteY6" fmla="*/ 13117 h 75859"/>
                  <a:gd name="connsiteX7" fmla="*/ 32282 w 58443"/>
                  <a:gd name="connsiteY7" fmla="*/ 0 h 75859"/>
                  <a:gd name="connsiteX8" fmla="*/ 58443 w 58443"/>
                  <a:gd name="connsiteY8" fmla="*/ 26015 h 75859"/>
                  <a:gd name="connsiteX9" fmla="*/ 58443 w 58443"/>
                  <a:gd name="connsiteY9" fmla="*/ 74475 h 75859"/>
                  <a:gd name="connsiteX10" fmla="*/ 46784 w 58443"/>
                  <a:gd name="connsiteY10" fmla="*/ 74475 h 75859"/>
                  <a:gd name="connsiteX11" fmla="*/ 46784 w 58443"/>
                  <a:gd name="connsiteY11" fmla="*/ 60921 h 75859"/>
                  <a:gd name="connsiteX12" fmla="*/ 46492 w 58443"/>
                  <a:gd name="connsiteY12" fmla="*/ 60921 h 75859"/>
                  <a:gd name="connsiteX13" fmla="*/ 22299 w 58443"/>
                  <a:gd name="connsiteY13" fmla="*/ 75860 h 75859"/>
                  <a:gd name="connsiteX14" fmla="*/ 0 w 58443"/>
                  <a:gd name="connsiteY14" fmla="*/ 54581 h 75859"/>
                  <a:gd name="connsiteX15" fmla="*/ 25724 w 58443"/>
                  <a:gd name="connsiteY15" fmla="*/ 65657 h 75859"/>
                  <a:gd name="connsiteX16" fmla="*/ 46346 w 58443"/>
                  <a:gd name="connsiteY16" fmla="*/ 47294 h 75859"/>
                  <a:gd name="connsiteX17" fmla="*/ 46346 w 58443"/>
                  <a:gd name="connsiteY17" fmla="*/ 40225 h 75859"/>
                  <a:gd name="connsiteX18" fmla="*/ 34978 w 58443"/>
                  <a:gd name="connsiteY18" fmla="*/ 40225 h 75859"/>
                  <a:gd name="connsiteX19" fmla="*/ 12680 w 58443"/>
                  <a:gd name="connsiteY19" fmla="*/ 54362 h 75859"/>
                  <a:gd name="connsiteX20" fmla="*/ 25724 w 58443"/>
                  <a:gd name="connsiteY20" fmla="*/ 65730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443" h="75859">
                    <a:moveTo>
                      <a:pt x="73" y="54581"/>
                    </a:moveTo>
                    <a:cubicBezTo>
                      <a:pt x="73" y="37529"/>
                      <a:pt x="14647" y="31043"/>
                      <a:pt x="33302" y="31043"/>
                    </a:cubicBezTo>
                    <a:lnTo>
                      <a:pt x="46273" y="31043"/>
                    </a:lnTo>
                    <a:lnTo>
                      <a:pt x="46273" y="26015"/>
                    </a:lnTo>
                    <a:cubicBezTo>
                      <a:pt x="46273" y="15959"/>
                      <a:pt x="41537" y="10275"/>
                      <a:pt x="31480" y="10275"/>
                    </a:cubicBezTo>
                    <a:cubicBezTo>
                      <a:pt x="22080" y="10275"/>
                      <a:pt x="15667" y="14428"/>
                      <a:pt x="10785" y="20987"/>
                    </a:cubicBezTo>
                    <a:lnTo>
                      <a:pt x="2915" y="13117"/>
                    </a:lnTo>
                    <a:cubicBezTo>
                      <a:pt x="8672" y="6194"/>
                      <a:pt x="17635" y="0"/>
                      <a:pt x="32282" y="0"/>
                    </a:cubicBezTo>
                    <a:cubicBezTo>
                      <a:pt x="49626" y="0"/>
                      <a:pt x="58443" y="10566"/>
                      <a:pt x="58443" y="26015"/>
                    </a:cubicBezTo>
                    <a:lnTo>
                      <a:pt x="58443" y="74475"/>
                    </a:lnTo>
                    <a:lnTo>
                      <a:pt x="46784" y="74475"/>
                    </a:lnTo>
                    <a:lnTo>
                      <a:pt x="46784" y="60921"/>
                    </a:lnTo>
                    <a:lnTo>
                      <a:pt x="46492" y="60921"/>
                    </a:lnTo>
                    <a:cubicBezTo>
                      <a:pt x="41610" y="71341"/>
                      <a:pt x="34177" y="75860"/>
                      <a:pt x="22299" y="75860"/>
                    </a:cubicBezTo>
                    <a:cubicBezTo>
                      <a:pt x="9400" y="75860"/>
                      <a:pt x="0" y="68281"/>
                      <a:pt x="0" y="54581"/>
                    </a:cubicBezTo>
                    <a:close/>
                    <a:moveTo>
                      <a:pt x="25724" y="65657"/>
                    </a:moveTo>
                    <a:cubicBezTo>
                      <a:pt x="39205" y="65657"/>
                      <a:pt x="46346" y="56403"/>
                      <a:pt x="46346" y="47294"/>
                    </a:cubicBezTo>
                    <a:lnTo>
                      <a:pt x="46346" y="40225"/>
                    </a:lnTo>
                    <a:lnTo>
                      <a:pt x="34978" y="40225"/>
                    </a:lnTo>
                    <a:cubicBezTo>
                      <a:pt x="23465" y="40225"/>
                      <a:pt x="12680" y="42703"/>
                      <a:pt x="12680" y="54362"/>
                    </a:cubicBezTo>
                    <a:cubicBezTo>
                      <a:pt x="12680" y="61285"/>
                      <a:pt x="17562" y="65730"/>
                      <a:pt x="25724" y="6573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61" name="Freeform 314">
                <a:extLst>
                  <a:ext uri="{FF2B5EF4-FFF2-40B4-BE49-F238E27FC236}">
                    <a16:creationId xmlns:a16="http://schemas.microsoft.com/office/drawing/2014/main" id="{D00B4217-EC0E-BB85-3CBB-882D9D59B604}"/>
                  </a:ext>
                </a:extLst>
              </p:cNvPr>
              <p:cNvSpPr/>
              <p:nvPr/>
            </p:nvSpPr>
            <p:spPr>
              <a:xfrm>
                <a:off x="4869842" y="3629904"/>
                <a:ext cx="68281" cy="112805"/>
              </a:xfrm>
              <a:custGeom>
                <a:avLst/>
                <a:gdLst>
                  <a:gd name="connsiteX0" fmla="*/ 0 w 68281"/>
                  <a:gd name="connsiteY0" fmla="*/ 94369 h 112805"/>
                  <a:gd name="connsiteX1" fmla="*/ 13117 w 68281"/>
                  <a:gd name="connsiteY1" fmla="*/ 78556 h 112805"/>
                  <a:gd name="connsiteX2" fmla="*/ 5101 w 68281"/>
                  <a:gd name="connsiteY2" fmla="*/ 68354 h 112805"/>
                  <a:gd name="connsiteX3" fmla="*/ 15230 w 68281"/>
                  <a:gd name="connsiteY3" fmla="*/ 55820 h 112805"/>
                  <a:gd name="connsiteX4" fmla="*/ 3425 w 68281"/>
                  <a:gd name="connsiteY4" fmla="*/ 34177 h 112805"/>
                  <a:gd name="connsiteX5" fmla="*/ 32064 w 68281"/>
                  <a:gd name="connsiteY5" fmla="*/ 8162 h 112805"/>
                  <a:gd name="connsiteX6" fmla="*/ 48751 w 68281"/>
                  <a:gd name="connsiteY6" fmla="*/ 12097 h 112805"/>
                  <a:gd name="connsiteX7" fmla="*/ 64565 w 68281"/>
                  <a:gd name="connsiteY7" fmla="*/ 0 h 112805"/>
                  <a:gd name="connsiteX8" fmla="*/ 66969 w 68281"/>
                  <a:gd name="connsiteY8" fmla="*/ 0 h 112805"/>
                  <a:gd name="connsiteX9" fmla="*/ 66969 w 68281"/>
                  <a:gd name="connsiteY9" fmla="*/ 12242 h 112805"/>
                  <a:gd name="connsiteX10" fmla="*/ 64492 w 68281"/>
                  <a:gd name="connsiteY10" fmla="*/ 12242 h 112805"/>
                  <a:gd name="connsiteX11" fmla="*/ 52686 w 68281"/>
                  <a:gd name="connsiteY11" fmla="*/ 14866 h 112805"/>
                  <a:gd name="connsiteX12" fmla="*/ 60557 w 68281"/>
                  <a:gd name="connsiteY12" fmla="*/ 34177 h 112805"/>
                  <a:gd name="connsiteX13" fmla="*/ 31772 w 68281"/>
                  <a:gd name="connsiteY13" fmla="*/ 59682 h 112805"/>
                  <a:gd name="connsiteX14" fmla="*/ 19093 w 68281"/>
                  <a:gd name="connsiteY14" fmla="*/ 57496 h 112805"/>
                  <a:gd name="connsiteX15" fmla="*/ 16615 w 68281"/>
                  <a:gd name="connsiteY15" fmla="*/ 62451 h 112805"/>
                  <a:gd name="connsiteX16" fmla="*/ 36436 w 68281"/>
                  <a:gd name="connsiteY16" fmla="*/ 70103 h 112805"/>
                  <a:gd name="connsiteX17" fmla="*/ 68281 w 68281"/>
                  <a:gd name="connsiteY17" fmla="*/ 89560 h 112805"/>
                  <a:gd name="connsiteX18" fmla="*/ 32501 w 68281"/>
                  <a:gd name="connsiteY18" fmla="*/ 112806 h 112805"/>
                  <a:gd name="connsiteX19" fmla="*/ 146 w 68281"/>
                  <a:gd name="connsiteY19" fmla="*/ 94442 h 112805"/>
                  <a:gd name="connsiteX20" fmla="*/ 32938 w 68281"/>
                  <a:gd name="connsiteY20" fmla="*/ 103114 h 112805"/>
                  <a:gd name="connsiteX21" fmla="*/ 55383 w 68281"/>
                  <a:gd name="connsiteY21" fmla="*/ 90944 h 112805"/>
                  <a:gd name="connsiteX22" fmla="*/ 32938 w 68281"/>
                  <a:gd name="connsiteY22" fmla="*/ 81544 h 112805"/>
                  <a:gd name="connsiteX23" fmla="*/ 17781 w 68281"/>
                  <a:gd name="connsiteY23" fmla="*/ 79940 h 112805"/>
                  <a:gd name="connsiteX24" fmla="*/ 11878 w 68281"/>
                  <a:gd name="connsiteY24" fmla="*/ 90944 h 112805"/>
                  <a:gd name="connsiteX25" fmla="*/ 32938 w 68281"/>
                  <a:gd name="connsiteY25" fmla="*/ 103114 h 112805"/>
                  <a:gd name="connsiteX26" fmla="*/ 31626 w 68281"/>
                  <a:gd name="connsiteY26" fmla="*/ 50063 h 112805"/>
                  <a:gd name="connsiteX27" fmla="*/ 48095 w 68281"/>
                  <a:gd name="connsiteY27" fmla="*/ 34104 h 112805"/>
                  <a:gd name="connsiteX28" fmla="*/ 32282 w 68281"/>
                  <a:gd name="connsiteY28" fmla="*/ 17635 h 112805"/>
                  <a:gd name="connsiteX29" fmla="*/ 15959 w 68281"/>
                  <a:gd name="connsiteY29" fmla="*/ 34104 h 112805"/>
                  <a:gd name="connsiteX30" fmla="*/ 31554 w 68281"/>
                  <a:gd name="connsiteY30" fmla="*/ 50063 h 112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8281" h="112805">
                    <a:moveTo>
                      <a:pt x="0" y="94369"/>
                    </a:moveTo>
                    <a:cubicBezTo>
                      <a:pt x="0" y="86135"/>
                      <a:pt x="6121" y="80669"/>
                      <a:pt x="13117" y="78556"/>
                    </a:cubicBezTo>
                    <a:cubicBezTo>
                      <a:pt x="8235" y="76734"/>
                      <a:pt x="5101" y="73601"/>
                      <a:pt x="5101" y="68354"/>
                    </a:cubicBezTo>
                    <a:cubicBezTo>
                      <a:pt x="5101" y="62597"/>
                      <a:pt x="8818" y="58079"/>
                      <a:pt x="15230" y="55820"/>
                    </a:cubicBezTo>
                    <a:cubicBezTo>
                      <a:pt x="7652" y="51520"/>
                      <a:pt x="3425" y="43869"/>
                      <a:pt x="3425" y="34177"/>
                    </a:cubicBezTo>
                    <a:cubicBezTo>
                      <a:pt x="3425" y="20040"/>
                      <a:pt x="13044" y="8162"/>
                      <a:pt x="32064" y="8162"/>
                    </a:cubicBezTo>
                    <a:cubicBezTo>
                      <a:pt x="38986" y="8162"/>
                      <a:pt x="44525" y="9619"/>
                      <a:pt x="48751" y="12097"/>
                    </a:cubicBezTo>
                    <a:cubicBezTo>
                      <a:pt x="51885" y="4591"/>
                      <a:pt x="56038" y="0"/>
                      <a:pt x="64565" y="0"/>
                    </a:cubicBezTo>
                    <a:lnTo>
                      <a:pt x="66969" y="0"/>
                    </a:lnTo>
                    <a:lnTo>
                      <a:pt x="66969" y="12242"/>
                    </a:lnTo>
                    <a:lnTo>
                      <a:pt x="64492" y="12242"/>
                    </a:lnTo>
                    <a:cubicBezTo>
                      <a:pt x="58006" y="12242"/>
                      <a:pt x="55018" y="13190"/>
                      <a:pt x="52686" y="14866"/>
                    </a:cubicBezTo>
                    <a:cubicBezTo>
                      <a:pt x="58006" y="19675"/>
                      <a:pt x="60557" y="26671"/>
                      <a:pt x="60557" y="34177"/>
                    </a:cubicBezTo>
                    <a:cubicBezTo>
                      <a:pt x="60557" y="47877"/>
                      <a:pt x="50646" y="59682"/>
                      <a:pt x="31772" y="59682"/>
                    </a:cubicBezTo>
                    <a:cubicBezTo>
                      <a:pt x="26963" y="59682"/>
                      <a:pt x="22736" y="58953"/>
                      <a:pt x="19093" y="57496"/>
                    </a:cubicBezTo>
                    <a:cubicBezTo>
                      <a:pt x="17562" y="58662"/>
                      <a:pt x="16615" y="60192"/>
                      <a:pt x="16615" y="62451"/>
                    </a:cubicBezTo>
                    <a:cubicBezTo>
                      <a:pt x="16615" y="68427"/>
                      <a:pt x="23392" y="69374"/>
                      <a:pt x="36436" y="70103"/>
                    </a:cubicBezTo>
                    <a:cubicBezTo>
                      <a:pt x="52614" y="70904"/>
                      <a:pt x="68281" y="72435"/>
                      <a:pt x="68281" y="89560"/>
                    </a:cubicBezTo>
                    <a:cubicBezTo>
                      <a:pt x="68281" y="105810"/>
                      <a:pt x="55747" y="112806"/>
                      <a:pt x="32501" y="112806"/>
                    </a:cubicBezTo>
                    <a:cubicBezTo>
                      <a:pt x="9255" y="112806"/>
                      <a:pt x="146" y="104863"/>
                      <a:pt x="146" y="94442"/>
                    </a:cubicBezTo>
                    <a:close/>
                    <a:moveTo>
                      <a:pt x="32938" y="103114"/>
                    </a:moveTo>
                    <a:cubicBezTo>
                      <a:pt x="47075" y="103114"/>
                      <a:pt x="55383" y="100345"/>
                      <a:pt x="55383" y="90944"/>
                    </a:cubicBezTo>
                    <a:cubicBezTo>
                      <a:pt x="55383" y="83292"/>
                      <a:pt x="48460" y="82199"/>
                      <a:pt x="32938" y="81544"/>
                    </a:cubicBezTo>
                    <a:cubicBezTo>
                      <a:pt x="27546" y="81252"/>
                      <a:pt x="22226" y="80888"/>
                      <a:pt x="17781" y="79940"/>
                    </a:cubicBezTo>
                    <a:cubicBezTo>
                      <a:pt x="14356" y="82345"/>
                      <a:pt x="11878" y="85989"/>
                      <a:pt x="11878" y="90944"/>
                    </a:cubicBezTo>
                    <a:cubicBezTo>
                      <a:pt x="11878" y="99689"/>
                      <a:pt x="17708" y="103114"/>
                      <a:pt x="32938" y="103114"/>
                    </a:cubicBezTo>
                    <a:close/>
                    <a:moveTo>
                      <a:pt x="31626" y="50063"/>
                    </a:moveTo>
                    <a:cubicBezTo>
                      <a:pt x="41756" y="50063"/>
                      <a:pt x="48095" y="43505"/>
                      <a:pt x="48095" y="34104"/>
                    </a:cubicBezTo>
                    <a:cubicBezTo>
                      <a:pt x="48095" y="24048"/>
                      <a:pt x="42120" y="17635"/>
                      <a:pt x="32282" y="17635"/>
                    </a:cubicBezTo>
                    <a:cubicBezTo>
                      <a:pt x="22445" y="17635"/>
                      <a:pt x="15959" y="24048"/>
                      <a:pt x="15959" y="34104"/>
                    </a:cubicBezTo>
                    <a:cubicBezTo>
                      <a:pt x="15959" y="44889"/>
                      <a:pt x="22590" y="50063"/>
                      <a:pt x="31554" y="50063"/>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62" name="Freeform 315">
                <a:extLst>
                  <a:ext uri="{FF2B5EF4-FFF2-40B4-BE49-F238E27FC236}">
                    <a16:creationId xmlns:a16="http://schemas.microsoft.com/office/drawing/2014/main" id="{C63095DC-B65E-805D-C14A-1C97F9A4B228}"/>
                  </a:ext>
                </a:extLst>
              </p:cNvPr>
              <p:cNvSpPr/>
              <p:nvPr/>
            </p:nvSpPr>
            <p:spPr>
              <a:xfrm>
                <a:off x="4943589" y="3637993"/>
                <a:ext cx="67333" cy="75859"/>
              </a:xfrm>
              <a:custGeom>
                <a:avLst/>
                <a:gdLst>
                  <a:gd name="connsiteX0" fmla="*/ 73 w 67333"/>
                  <a:gd name="connsiteY0" fmla="*/ 37966 h 75859"/>
                  <a:gd name="connsiteX1" fmla="*/ 35489 w 67333"/>
                  <a:gd name="connsiteY1" fmla="*/ 0 h 75859"/>
                  <a:gd name="connsiteX2" fmla="*/ 67334 w 67333"/>
                  <a:gd name="connsiteY2" fmla="*/ 35270 h 75859"/>
                  <a:gd name="connsiteX3" fmla="*/ 67115 w 67333"/>
                  <a:gd name="connsiteY3" fmla="*/ 40954 h 75859"/>
                  <a:gd name="connsiteX4" fmla="*/ 12825 w 67333"/>
                  <a:gd name="connsiteY4" fmla="*/ 40954 h 75859"/>
                  <a:gd name="connsiteX5" fmla="*/ 36800 w 67333"/>
                  <a:gd name="connsiteY5" fmla="*/ 65512 h 75859"/>
                  <a:gd name="connsiteX6" fmla="*/ 57132 w 67333"/>
                  <a:gd name="connsiteY6" fmla="*/ 56767 h 75859"/>
                  <a:gd name="connsiteX7" fmla="*/ 64783 w 67333"/>
                  <a:gd name="connsiteY7" fmla="*/ 64346 h 75859"/>
                  <a:gd name="connsiteX8" fmla="*/ 36800 w 67333"/>
                  <a:gd name="connsiteY8" fmla="*/ 75860 h 75859"/>
                  <a:gd name="connsiteX9" fmla="*/ 0 w 67333"/>
                  <a:gd name="connsiteY9" fmla="*/ 37966 h 75859"/>
                  <a:gd name="connsiteX10" fmla="*/ 55018 w 67333"/>
                  <a:gd name="connsiteY10" fmla="*/ 31553 h 75859"/>
                  <a:gd name="connsiteX11" fmla="*/ 34978 w 67333"/>
                  <a:gd name="connsiteY11" fmla="*/ 10421 h 75859"/>
                  <a:gd name="connsiteX12" fmla="*/ 13190 w 67333"/>
                  <a:gd name="connsiteY12" fmla="*/ 31553 h 75859"/>
                  <a:gd name="connsiteX13" fmla="*/ 54945 w 67333"/>
                  <a:gd name="connsiteY13" fmla="*/ 31553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333" h="75859">
                    <a:moveTo>
                      <a:pt x="73" y="37966"/>
                    </a:moveTo>
                    <a:cubicBezTo>
                      <a:pt x="73" y="12461"/>
                      <a:pt x="16615" y="0"/>
                      <a:pt x="35489" y="0"/>
                    </a:cubicBezTo>
                    <a:cubicBezTo>
                      <a:pt x="59172" y="0"/>
                      <a:pt x="67334" y="19019"/>
                      <a:pt x="67334" y="35270"/>
                    </a:cubicBezTo>
                    <a:cubicBezTo>
                      <a:pt x="67334" y="37237"/>
                      <a:pt x="67334" y="39205"/>
                      <a:pt x="67115" y="40954"/>
                    </a:cubicBezTo>
                    <a:lnTo>
                      <a:pt x="12825" y="40954"/>
                    </a:lnTo>
                    <a:cubicBezTo>
                      <a:pt x="13700" y="56767"/>
                      <a:pt x="21716" y="65512"/>
                      <a:pt x="36800" y="65512"/>
                    </a:cubicBezTo>
                    <a:cubicBezTo>
                      <a:pt x="45691" y="65512"/>
                      <a:pt x="51812" y="63034"/>
                      <a:pt x="57132" y="56767"/>
                    </a:cubicBezTo>
                    <a:lnTo>
                      <a:pt x="64783" y="64346"/>
                    </a:lnTo>
                    <a:cubicBezTo>
                      <a:pt x="57641" y="72362"/>
                      <a:pt x="49553" y="75860"/>
                      <a:pt x="36800" y="75860"/>
                    </a:cubicBezTo>
                    <a:cubicBezTo>
                      <a:pt x="14720" y="75860"/>
                      <a:pt x="0" y="62597"/>
                      <a:pt x="0" y="37966"/>
                    </a:cubicBezTo>
                    <a:close/>
                    <a:moveTo>
                      <a:pt x="55018" y="31553"/>
                    </a:moveTo>
                    <a:cubicBezTo>
                      <a:pt x="53707" y="17198"/>
                      <a:pt x="46273" y="10421"/>
                      <a:pt x="34978" y="10421"/>
                    </a:cubicBezTo>
                    <a:cubicBezTo>
                      <a:pt x="23683" y="10421"/>
                      <a:pt x="15157" y="17416"/>
                      <a:pt x="13190" y="31553"/>
                    </a:cubicBezTo>
                    <a:lnTo>
                      <a:pt x="54945" y="31553"/>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63" name="Freeform 316">
                <a:extLst>
                  <a:ext uri="{FF2B5EF4-FFF2-40B4-BE49-F238E27FC236}">
                    <a16:creationId xmlns:a16="http://schemas.microsoft.com/office/drawing/2014/main" id="{F8E579E7-51AA-DF85-2704-CCB969036626}"/>
                  </a:ext>
                </a:extLst>
              </p:cNvPr>
              <p:cNvSpPr/>
              <p:nvPr/>
            </p:nvSpPr>
            <p:spPr>
              <a:xfrm>
                <a:off x="5028120" y="3638065"/>
                <a:ext cx="96992" cy="74547"/>
              </a:xfrm>
              <a:custGeom>
                <a:avLst/>
                <a:gdLst>
                  <a:gd name="connsiteX0" fmla="*/ 0 w 96992"/>
                  <a:gd name="connsiteY0" fmla="*/ 1385 h 74547"/>
                  <a:gd name="connsiteX1" fmla="*/ 11660 w 96992"/>
                  <a:gd name="connsiteY1" fmla="*/ 1385 h 74547"/>
                  <a:gd name="connsiteX2" fmla="*/ 11660 w 96992"/>
                  <a:gd name="connsiteY2" fmla="*/ 16615 h 74547"/>
                  <a:gd name="connsiteX3" fmla="*/ 11951 w 96992"/>
                  <a:gd name="connsiteY3" fmla="*/ 16615 h 74547"/>
                  <a:gd name="connsiteX4" fmla="*/ 33303 w 96992"/>
                  <a:gd name="connsiteY4" fmla="*/ 0 h 74547"/>
                  <a:gd name="connsiteX5" fmla="*/ 53269 w 96992"/>
                  <a:gd name="connsiteY5" fmla="*/ 16615 h 74547"/>
                  <a:gd name="connsiteX6" fmla="*/ 53561 w 96992"/>
                  <a:gd name="connsiteY6" fmla="*/ 16615 h 74547"/>
                  <a:gd name="connsiteX7" fmla="*/ 75641 w 96992"/>
                  <a:gd name="connsiteY7" fmla="*/ 0 h 74547"/>
                  <a:gd name="connsiteX8" fmla="*/ 96992 w 96992"/>
                  <a:gd name="connsiteY8" fmla="*/ 25797 h 74547"/>
                  <a:gd name="connsiteX9" fmla="*/ 96992 w 96992"/>
                  <a:gd name="connsiteY9" fmla="*/ 74548 h 74547"/>
                  <a:gd name="connsiteX10" fmla="*/ 84823 w 96992"/>
                  <a:gd name="connsiteY10" fmla="*/ 74548 h 74547"/>
                  <a:gd name="connsiteX11" fmla="*/ 84823 w 96992"/>
                  <a:gd name="connsiteY11" fmla="*/ 28202 h 74547"/>
                  <a:gd name="connsiteX12" fmla="*/ 71633 w 96992"/>
                  <a:gd name="connsiteY12" fmla="*/ 10858 h 74547"/>
                  <a:gd name="connsiteX13" fmla="*/ 54581 w 96992"/>
                  <a:gd name="connsiteY13" fmla="*/ 32137 h 74547"/>
                  <a:gd name="connsiteX14" fmla="*/ 54581 w 96992"/>
                  <a:gd name="connsiteY14" fmla="*/ 74548 h 74547"/>
                  <a:gd name="connsiteX15" fmla="*/ 42411 w 96992"/>
                  <a:gd name="connsiteY15" fmla="*/ 74548 h 74547"/>
                  <a:gd name="connsiteX16" fmla="*/ 42411 w 96992"/>
                  <a:gd name="connsiteY16" fmla="*/ 28202 h 74547"/>
                  <a:gd name="connsiteX17" fmla="*/ 29222 w 96992"/>
                  <a:gd name="connsiteY17" fmla="*/ 10858 h 74547"/>
                  <a:gd name="connsiteX18" fmla="*/ 12170 w 96992"/>
                  <a:gd name="connsiteY18" fmla="*/ 32137 h 74547"/>
                  <a:gd name="connsiteX19" fmla="*/ 12170 w 96992"/>
                  <a:gd name="connsiteY19" fmla="*/ 74548 h 74547"/>
                  <a:gd name="connsiteX20" fmla="*/ 0 w 96992"/>
                  <a:gd name="connsiteY20" fmla="*/ 74548 h 74547"/>
                  <a:gd name="connsiteX21" fmla="*/ 0 w 96992"/>
                  <a:gd name="connsiteY21" fmla="*/ 1458 h 7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6992" h="74547">
                    <a:moveTo>
                      <a:pt x="0" y="1385"/>
                    </a:moveTo>
                    <a:lnTo>
                      <a:pt x="11660" y="1385"/>
                    </a:lnTo>
                    <a:lnTo>
                      <a:pt x="11660" y="16615"/>
                    </a:lnTo>
                    <a:lnTo>
                      <a:pt x="11951" y="16615"/>
                    </a:lnTo>
                    <a:cubicBezTo>
                      <a:pt x="15449" y="5903"/>
                      <a:pt x="23173" y="0"/>
                      <a:pt x="33303" y="0"/>
                    </a:cubicBezTo>
                    <a:cubicBezTo>
                      <a:pt x="43432" y="0"/>
                      <a:pt x="50719" y="5174"/>
                      <a:pt x="53269" y="16615"/>
                    </a:cubicBezTo>
                    <a:lnTo>
                      <a:pt x="53561" y="16615"/>
                    </a:lnTo>
                    <a:cubicBezTo>
                      <a:pt x="56913" y="5101"/>
                      <a:pt x="65585" y="0"/>
                      <a:pt x="75641" y="0"/>
                    </a:cubicBezTo>
                    <a:cubicBezTo>
                      <a:pt x="89341" y="0"/>
                      <a:pt x="96992" y="7652"/>
                      <a:pt x="96992" y="25797"/>
                    </a:cubicBezTo>
                    <a:lnTo>
                      <a:pt x="96992" y="74548"/>
                    </a:lnTo>
                    <a:lnTo>
                      <a:pt x="84823" y="74548"/>
                    </a:lnTo>
                    <a:lnTo>
                      <a:pt x="84823" y="28202"/>
                    </a:lnTo>
                    <a:cubicBezTo>
                      <a:pt x="84823" y="17489"/>
                      <a:pt x="81471" y="10858"/>
                      <a:pt x="71633" y="10858"/>
                    </a:cubicBezTo>
                    <a:cubicBezTo>
                      <a:pt x="61213" y="10858"/>
                      <a:pt x="54581" y="18510"/>
                      <a:pt x="54581" y="32137"/>
                    </a:cubicBezTo>
                    <a:lnTo>
                      <a:pt x="54581" y="74548"/>
                    </a:lnTo>
                    <a:lnTo>
                      <a:pt x="42411" y="74548"/>
                    </a:lnTo>
                    <a:lnTo>
                      <a:pt x="42411" y="28202"/>
                    </a:lnTo>
                    <a:cubicBezTo>
                      <a:pt x="42411" y="17489"/>
                      <a:pt x="39059" y="10858"/>
                      <a:pt x="29222" y="10858"/>
                    </a:cubicBezTo>
                    <a:cubicBezTo>
                      <a:pt x="18874" y="10858"/>
                      <a:pt x="12170" y="18510"/>
                      <a:pt x="12170" y="32137"/>
                    </a:cubicBezTo>
                    <a:lnTo>
                      <a:pt x="12170" y="74548"/>
                    </a:lnTo>
                    <a:lnTo>
                      <a:pt x="0" y="74548"/>
                    </a:lnTo>
                    <a:lnTo>
                      <a:pt x="0" y="1458"/>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64" name="Freeform 317">
                <a:extLst>
                  <a:ext uri="{FF2B5EF4-FFF2-40B4-BE49-F238E27FC236}">
                    <a16:creationId xmlns:a16="http://schemas.microsoft.com/office/drawing/2014/main" id="{64F5A7BF-3D10-358A-A983-BE17EB56D0C9}"/>
                  </a:ext>
                </a:extLst>
              </p:cNvPr>
              <p:cNvSpPr/>
              <p:nvPr/>
            </p:nvSpPr>
            <p:spPr>
              <a:xfrm>
                <a:off x="5141654" y="3637993"/>
                <a:ext cx="67333" cy="75859"/>
              </a:xfrm>
              <a:custGeom>
                <a:avLst/>
                <a:gdLst>
                  <a:gd name="connsiteX0" fmla="*/ 73 w 67333"/>
                  <a:gd name="connsiteY0" fmla="*/ 37966 h 75859"/>
                  <a:gd name="connsiteX1" fmla="*/ 35489 w 67333"/>
                  <a:gd name="connsiteY1" fmla="*/ 0 h 75859"/>
                  <a:gd name="connsiteX2" fmla="*/ 67334 w 67333"/>
                  <a:gd name="connsiteY2" fmla="*/ 35270 h 75859"/>
                  <a:gd name="connsiteX3" fmla="*/ 67115 w 67333"/>
                  <a:gd name="connsiteY3" fmla="*/ 40954 h 75859"/>
                  <a:gd name="connsiteX4" fmla="*/ 12825 w 67333"/>
                  <a:gd name="connsiteY4" fmla="*/ 40954 h 75859"/>
                  <a:gd name="connsiteX5" fmla="*/ 36800 w 67333"/>
                  <a:gd name="connsiteY5" fmla="*/ 65512 h 75859"/>
                  <a:gd name="connsiteX6" fmla="*/ 57131 w 67333"/>
                  <a:gd name="connsiteY6" fmla="*/ 56767 h 75859"/>
                  <a:gd name="connsiteX7" fmla="*/ 64783 w 67333"/>
                  <a:gd name="connsiteY7" fmla="*/ 64346 h 75859"/>
                  <a:gd name="connsiteX8" fmla="*/ 36800 w 67333"/>
                  <a:gd name="connsiteY8" fmla="*/ 75860 h 75859"/>
                  <a:gd name="connsiteX9" fmla="*/ 0 w 67333"/>
                  <a:gd name="connsiteY9" fmla="*/ 37966 h 75859"/>
                  <a:gd name="connsiteX10" fmla="*/ 54945 w 67333"/>
                  <a:gd name="connsiteY10" fmla="*/ 31553 h 75859"/>
                  <a:gd name="connsiteX11" fmla="*/ 34905 w 67333"/>
                  <a:gd name="connsiteY11" fmla="*/ 10421 h 75859"/>
                  <a:gd name="connsiteX12" fmla="*/ 13117 w 67333"/>
                  <a:gd name="connsiteY12" fmla="*/ 31553 h 75859"/>
                  <a:gd name="connsiteX13" fmla="*/ 54872 w 67333"/>
                  <a:gd name="connsiteY13" fmla="*/ 31553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333" h="75859">
                    <a:moveTo>
                      <a:pt x="73" y="37966"/>
                    </a:moveTo>
                    <a:cubicBezTo>
                      <a:pt x="73" y="12461"/>
                      <a:pt x="16615" y="0"/>
                      <a:pt x="35489" y="0"/>
                    </a:cubicBezTo>
                    <a:cubicBezTo>
                      <a:pt x="59172" y="0"/>
                      <a:pt x="67334" y="19019"/>
                      <a:pt x="67334" y="35270"/>
                    </a:cubicBezTo>
                    <a:cubicBezTo>
                      <a:pt x="67334" y="37237"/>
                      <a:pt x="67334" y="39205"/>
                      <a:pt x="67115" y="40954"/>
                    </a:cubicBezTo>
                    <a:lnTo>
                      <a:pt x="12825" y="40954"/>
                    </a:lnTo>
                    <a:cubicBezTo>
                      <a:pt x="13700" y="56767"/>
                      <a:pt x="21716" y="65512"/>
                      <a:pt x="36800" y="65512"/>
                    </a:cubicBezTo>
                    <a:cubicBezTo>
                      <a:pt x="45691" y="65512"/>
                      <a:pt x="51812" y="63034"/>
                      <a:pt x="57131" y="56767"/>
                    </a:cubicBezTo>
                    <a:lnTo>
                      <a:pt x="64783" y="64346"/>
                    </a:lnTo>
                    <a:cubicBezTo>
                      <a:pt x="57641" y="72362"/>
                      <a:pt x="49553" y="75860"/>
                      <a:pt x="36800" y="75860"/>
                    </a:cubicBezTo>
                    <a:cubicBezTo>
                      <a:pt x="14720" y="75860"/>
                      <a:pt x="0" y="62597"/>
                      <a:pt x="0" y="37966"/>
                    </a:cubicBezTo>
                    <a:close/>
                    <a:moveTo>
                      <a:pt x="54945" y="31553"/>
                    </a:moveTo>
                    <a:cubicBezTo>
                      <a:pt x="53634" y="17198"/>
                      <a:pt x="46201" y="10421"/>
                      <a:pt x="34905" y="10421"/>
                    </a:cubicBezTo>
                    <a:cubicBezTo>
                      <a:pt x="23610" y="10421"/>
                      <a:pt x="15085" y="17416"/>
                      <a:pt x="13117" y="31553"/>
                    </a:cubicBezTo>
                    <a:lnTo>
                      <a:pt x="54872" y="31553"/>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65" name="Freeform 318">
                <a:extLst>
                  <a:ext uri="{FF2B5EF4-FFF2-40B4-BE49-F238E27FC236}">
                    <a16:creationId xmlns:a16="http://schemas.microsoft.com/office/drawing/2014/main" id="{13998C67-21CE-5FD1-3100-0D19763242E0}"/>
                  </a:ext>
                </a:extLst>
              </p:cNvPr>
              <p:cNvSpPr/>
              <p:nvPr/>
            </p:nvSpPr>
            <p:spPr>
              <a:xfrm>
                <a:off x="5226113" y="3638065"/>
                <a:ext cx="58589" cy="74547"/>
              </a:xfrm>
              <a:custGeom>
                <a:avLst/>
                <a:gdLst>
                  <a:gd name="connsiteX0" fmla="*/ 0 w 58589"/>
                  <a:gd name="connsiteY0" fmla="*/ 1385 h 74547"/>
                  <a:gd name="connsiteX1" fmla="*/ 11660 w 58589"/>
                  <a:gd name="connsiteY1" fmla="*/ 1385 h 74547"/>
                  <a:gd name="connsiteX2" fmla="*/ 11660 w 58589"/>
                  <a:gd name="connsiteY2" fmla="*/ 16615 h 74547"/>
                  <a:gd name="connsiteX3" fmla="*/ 11951 w 58589"/>
                  <a:gd name="connsiteY3" fmla="*/ 16615 h 74547"/>
                  <a:gd name="connsiteX4" fmla="*/ 35707 w 58589"/>
                  <a:gd name="connsiteY4" fmla="*/ 0 h 74547"/>
                  <a:gd name="connsiteX5" fmla="*/ 58589 w 58589"/>
                  <a:gd name="connsiteY5" fmla="*/ 25797 h 74547"/>
                  <a:gd name="connsiteX6" fmla="*/ 58589 w 58589"/>
                  <a:gd name="connsiteY6" fmla="*/ 74548 h 74547"/>
                  <a:gd name="connsiteX7" fmla="*/ 46347 w 58589"/>
                  <a:gd name="connsiteY7" fmla="*/ 74548 h 74547"/>
                  <a:gd name="connsiteX8" fmla="*/ 46347 w 58589"/>
                  <a:gd name="connsiteY8" fmla="*/ 28202 h 74547"/>
                  <a:gd name="connsiteX9" fmla="*/ 31262 w 58589"/>
                  <a:gd name="connsiteY9" fmla="*/ 10858 h 74547"/>
                  <a:gd name="connsiteX10" fmla="*/ 12243 w 58589"/>
                  <a:gd name="connsiteY10" fmla="*/ 32137 h 74547"/>
                  <a:gd name="connsiteX11" fmla="*/ 12243 w 58589"/>
                  <a:gd name="connsiteY11" fmla="*/ 74548 h 74547"/>
                  <a:gd name="connsiteX12" fmla="*/ 73 w 58589"/>
                  <a:gd name="connsiteY12" fmla="*/ 74548 h 74547"/>
                  <a:gd name="connsiteX13" fmla="*/ 73 w 58589"/>
                  <a:gd name="connsiteY13" fmla="*/ 1458 h 7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89" h="74547">
                    <a:moveTo>
                      <a:pt x="0" y="1385"/>
                    </a:moveTo>
                    <a:lnTo>
                      <a:pt x="11660" y="1385"/>
                    </a:lnTo>
                    <a:lnTo>
                      <a:pt x="11660" y="16615"/>
                    </a:lnTo>
                    <a:lnTo>
                      <a:pt x="11951" y="16615"/>
                    </a:lnTo>
                    <a:cubicBezTo>
                      <a:pt x="14866" y="8963"/>
                      <a:pt x="20987" y="0"/>
                      <a:pt x="35707" y="0"/>
                    </a:cubicBezTo>
                    <a:cubicBezTo>
                      <a:pt x="51156" y="0"/>
                      <a:pt x="58589" y="10421"/>
                      <a:pt x="58589" y="25797"/>
                    </a:cubicBezTo>
                    <a:lnTo>
                      <a:pt x="58589" y="74548"/>
                    </a:lnTo>
                    <a:lnTo>
                      <a:pt x="46347" y="74548"/>
                    </a:lnTo>
                    <a:lnTo>
                      <a:pt x="46347" y="28202"/>
                    </a:lnTo>
                    <a:cubicBezTo>
                      <a:pt x="46347" y="17489"/>
                      <a:pt x="42484" y="10858"/>
                      <a:pt x="31262" y="10858"/>
                    </a:cubicBezTo>
                    <a:cubicBezTo>
                      <a:pt x="20040" y="10858"/>
                      <a:pt x="12243" y="18510"/>
                      <a:pt x="12243" y="32137"/>
                    </a:cubicBezTo>
                    <a:lnTo>
                      <a:pt x="12243" y="74548"/>
                    </a:lnTo>
                    <a:lnTo>
                      <a:pt x="73" y="74548"/>
                    </a:lnTo>
                    <a:lnTo>
                      <a:pt x="73" y="1458"/>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66" name="Freeform 319">
                <a:extLst>
                  <a:ext uri="{FF2B5EF4-FFF2-40B4-BE49-F238E27FC236}">
                    <a16:creationId xmlns:a16="http://schemas.microsoft.com/office/drawing/2014/main" id="{0792A1EE-A854-0623-DEC9-4F1FCAC96B23}"/>
                  </a:ext>
                </a:extLst>
              </p:cNvPr>
              <p:cNvSpPr/>
              <p:nvPr/>
            </p:nvSpPr>
            <p:spPr>
              <a:xfrm>
                <a:off x="5296288" y="3621669"/>
                <a:ext cx="39350" cy="91818"/>
              </a:xfrm>
              <a:custGeom>
                <a:avLst/>
                <a:gdLst>
                  <a:gd name="connsiteX0" fmla="*/ 10785 w 39350"/>
                  <a:gd name="connsiteY0" fmla="*/ 75058 h 91818"/>
                  <a:gd name="connsiteX1" fmla="*/ 10785 w 39350"/>
                  <a:gd name="connsiteY1" fmla="*/ 27910 h 91818"/>
                  <a:gd name="connsiteX2" fmla="*/ 0 w 39350"/>
                  <a:gd name="connsiteY2" fmla="*/ 27910 h 91818"/>
                  <a:gd name="connsiteX3" fmla="*/ 0 w 39350"/>
                  <a:gd name="connsiteY3" fmla="*/ 21570 h 91818"/>
                  <a:gd name="connsiteX4" fmla="*/ 21570 w 39350"/>
                  <a:gd name="connsiteY4" fmla="*/ 0 h 91818"/>
                  <a:gd name="connsiteX5" fmla="*/ 22955 w 39350"/>
                  <a:gd name="connsiteY5" fmla="*/ 0 h 91818"/>
                  <a:gd name="connsiteX6" fmla="*/ 22955 w 39350"/>
                  <a:gd name="connsiteY6" fmla="*/ 17708 h 91818"/>
                  <a:gd name="connsiteX7" fmla="*/ 39351 w 39350"/>
                  <a:gd name="connsiteY7" fmla="*/ 17708 h 91818"/>
                  <a:gd name="connsiteX8" fmla="*/ 39351 w 39350"/>
                  <a:gd name="connsiteY8" fmla="*/ 27910 h 91818"/>
                  <a:gd name="connsiteX9" fmla="*/ 22955 w 39350"/>
                  <a:gd name="connsiteY9" fmla="*/ 27910 h 91818"/>
                  <a:gd name="connsiteX10" fmla="*/ 22955 w 39350"/>
                  <a:gd name="connsiteY10" fmla="*/ 72508 h 91818"/>
                  <a:gd name="connsiteX11" fmla="*/ 30971 w 39350"/>
                  <a:gd name="connsiteY11" fmla="*/ 80815 h 91818"/>
                  <a:gd name="connsiteX12" fmla="*/ 39278 w 39350"/>
                  <a:gd name="connsiteY12" fmla="*/ 79649 h 91818"/>
                  <a:gd name="connsiteX13" fmla="*/ 39278 w 39350"/>
                  <a:gd name="connsiteY13" fmla="*/ 90726 h 91818"/>
                  <a:gd name="connsiteX14" fmla="*/ 29149 w 39350"/>
                  <a:gd name="connsiteY14" fmla="*/ 91819 h 91818"/>
                  <a:gd name="connsiteX15" fmla="*/ 10785 w 39350"/>
                  <a:gd name="connsiteY15" fmla="*/ 74985 h 9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50" h="91818">
                    <a:moveTo>
                      <a:pt x="10785" y="75058"/>
                    </a:moveTo>
                    <a:lnTo>
                      <a:pt x="10785" y="27910"/>
                    </a:lnTo>
                    <a:lnTo>
                      <a:pt x="0" y="27910"/>
                    </a:lnTo>
                    <a:lnTo>
                      <a:pt x="0" y="21570"/>
                    </a:lnTo>
                    <a:lnTo>
                      <a:pt x="21570" y="0"/>
                    </a:lnTo>
                    <a:lnTo>
                      <a:pt x="22955" y="0"/>
                    </a:lnTo>
                    <a:lnTo>
                      <a:pt x="22955" y="17708"/>
                    </a:lnTo>
                    <a:lnTo>
                      <a:pt x="39351" y="17708"/>
                    </a:lnTo>
                    <a:lnTo>
                      <a:pt x="39351" y="27910"/>
                    </a:lnTo>
                    <a:lnTo>
                      <a:pt x="22955" y="27910"/>
                    </a:lnTo>
                    <a:lnTo>
                      <a:pt x="22955" y="72508"/>
                    </a:lnTo>
                    <a:cubicBezTo>
                      <a:pt x="22955" y="78993"/>
                      <a:pt x="25068" y="80815"/>
                      <a:pt x="30971" y="80815"/>
                    </a:cubicBezTo>
                    <a:cubicBezTo>
                      <a:pt x="33886" y="80815"/>
                      <a:pt x="36801" y="80378"/>
                      <a:pt x="39278" y="79649"/>
                    </a:cubicBezTo>
                    <a:lnTo>
                      <a:pt x="39278" y="90726"/>
                    </a:lnTo>
                    <a:cubicBezTo>
                      <a:pt x="36655" y="91381"/>
                      <a:pt x="32720" y="91819"/>
                      <a:pt x="29149" y="91819"/>
                    </a:cubicBezTo>
                    <a:cubicBezTo>
                      <a:pt x="16469" y="91819"/>
                      <a:pt x="10785" y="86718"/>
                      <a:pt x="10785" y="7498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grpSp>
          <p:nvGrpSpPr>
            <p:cNvPr id="1667" name="Graphic 2">
              <a:extLst>
                <a:ext uri="{FF2B5EF4-FFF2-40B4-BE49-F238E27FC236}">
                  <a16:creationId xmlns:a16="http://schemas.microsoft.com/office/drawing/2014/main" id="{200AE040-FEB9-5567-DF7B-D664052FF9D0}"/>
                </a:ext>
              </a:extLst>
            </p:cNvPr>
            <p:cNvGrpSpPr/>
            <p:nvPr/>
          </p:nvGrpSpPr>
          <p:grpSpPr>
            <a:xfrm>
              <a:off x="6935412" y="3349595"/>
              <a:ext cx="808375" cy="457517"/>
              <a:chOff x="6937217" y="3349566"/>
              <a:chExt cx="808586" cy="457635"/>
            </a:xfrm>
            <a:solidFill>
              <a:srgbClr val="00144A"/>
            </a:solidFill>
          </p:grpSpPr>
          <p:sp>
            <p:nvSpPr>
              <p:cNvPr id="1668" name="Freeform 321">
                <a:extLst>
                  <a:ext uri="{FF2B5EF4-FFF2-40B4-BE49-F238E27FC236}">
                    <a16:creationId xmlns:a16="http://schemas.microsoft.com/office/drawing/2014/main" id="{D13E7B89-C32C-76CE-9D09-C21D53DE3A66}"/>
                  </a:ext>
                </a:extLst>
              </p:cNvPr>
              <p:cNvSpPr/>
              <p:nvPr/>
            </p:nvSpPr>
            <p:spPr>
              <a:xfrm>
                <a:off x="7126538" y="3349566"/>
                <a:ext cx="73163" cy="95243"/>
              </a:xfrm>
              <a:custGeom>
                <a:avLst/>
                <a:gdLst>
                  <a:gd name="connsiteX0" fmla="*/ 0 w 73163"/>
                  <a:gd name="connsiteY0" fmla="*/ 0 h 95243"/>
                  <a:gd name="connsiteX1" fmla="*/ 12826 w 73163"/>
                  <a:gd name="connsiteY1" fmla="*/ 0 h 95243"/>
                  <a:gd name="connsiteX2" fmla="*/ 12826 w 73163"/>
                  <a:gd name="connsiteY2" fmla="*/ 39642 h 95243"/>
                  <a:gd name="connsiteX3" fmla="*/ 60338 w 73163"/>
                  <a:gd name="connsiteY3" fmla="*/ 39642 h 95243"/>
                  <a:gd name="connsiteX4" fmla="*/ 60338 w 73163"/>
                  <a:gd name="connsiteY4" fmla="*/ 0 h 95243"/>
                  <a:gd name="connsiteX5" fmla="*/ 73163 w 73163"/>
                  <a:gd name="connsiteY5" fmla="*/ 0 h 95243"/>
                  <a:gd name="connsiteX6" fmla="*/ 73163 w 73163"/>
                  <a:gd name="connsiteY6" fmla="*/ 95244 h 95243"/>
                  <a:gd name="connsiteX7" fmla="*/ 60338 w 73163"/>
                  <a:gd name="connsiteY7" fmla="*/ 95244 h 95243"/>
                  <a:gd name="connsiteX8" fmla="*/ 60338 w 73163"/>
                  <a:gd name="connsiteY8" fmla="*/ 51812 h 95243"/>
                  <a:gd name="connsiteX9" fmla="*/ 12826 w 73163"/>
                  <a:gd name="connsiteY9" fmla="*/ 51812 h 95243"/>
                  <a:gd name="connsiteX10" fmla="*/ 12826 w 73163"/>
                  <a:gd name="connsiteY10" fmla="*/ 95244 h 95243"/>
                  <a:gd name="connsiteX11" fmla="*/ 0 w 73163"/>
                  <a:gd name="connsiteY11" fmla="*/ 95244 h 95243"/>
                  <a:gd name="connsiteX12" fmla="*/ 0 w 73163"/>
                  <a:gd name="connsiteY12" fmla="*/ 0 h 95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163" h="95243">
                    <a:moveTo>
                      <a:pt x="0" y="0"/>
                    </a:moveTo>
                    <a:lnTo>
                      <a:pt x="12826" y="0"/>
                    </a:lnTo>
                    <a:lnTo>
                      <a:pt x="12826" y="39642"/>
                    </a:lnTo>
                    <a:lnTo>
                      <a:pt x="60338" y="39642"/>
                    </a:lnTo>
                    <a:lnTo>
                      <a:pt x="60338" y="0"/>
                    </a:lnTo>
                    <a:lnTo>
                      <a:pt x="73163" y="0"/>
                    </a:lnTo>
                    <a:lnTo>
                      <a:pt x="73163" y="95244"/>
                    </a:lnTo>
                    <a:lnTo>
                      <a:pt x="60338" y="95244"/>
                    </a:lnTo>
                    <a:lnTo>
                      <a:pt x="60338" y="51812"/>
                    </a:lnTo>
                    <a:lnTo>
                      <a:pt x="12826" y="51812"/>
                    </a:lnTo>
                    <a:lnTo>
                      <a:pt x="12826" y="95244"/>
                    </a:lnTo>
                    <a:lnTo>
                      <a:pt x="0" y="95244"/>
                    </a:lnTo>
                    <a:lnTo>
                      <a:pt x="0"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69" name="Freeform 322">
                <a:extLst>
                  <a:ext uri="{FF2B5EF4-FFF2-40B4-BE49-F238E27FC236}">
                    <a16:creationId xmlns:a16="http://schemas.microsoft.com/office/drawing/2014/main" id="{4CBB354C-F794-A967-62A9-00F0AAC21BEC}"/>
                  </a:ext>
                </a:extLst>
              </p:cNvPr>
              <p:cNvSpPr/>
              <p:nvPr/>
            </p:nvSpPr>
            <p:spPr>
              <a:xfrm>
                <a:off x="7222656" y="3371719"/>
                <a:ext cx="58515" cy="74475"/>
              </a:xfrm>
              <a:custGeom>
                <a:avLst/>
                <a:gdLst>
                  <a:gd name="connsiteX0" fmla="*/ 73 w 58515"/>
                  <a:gd name="connsiteY0" fmla="*/ 48751 h 74475"/>
                  <a:gd name="connsiteX1" fmla="*/ 73 w 58515"/>
                  <a:gd name="connsiteY1" fmla="*/ 0 h 74475"/>
                  <a:gd name="connsiteX2" fmla="*/ 12242 w 58515"/>
                  <a:gd name="connsiteY2" fmla="*/ 0 h 74475"/>
                  <a:gd name="connsiteX3" fmla="*/ 12242 w 58515"/>
                  <a:gd name="connsiteY3" fmla="*/ 46419 h 74475"/>
                  <a:gd name="connsiteX4" fmla="*/ 27400 w 58515"/>
                  <a:gd name="connsiteY4" fmla="*/ 63763 h 74475"/>
                  <a:gd name="connsiteX5" fmla="*/ 46346 w 58515"/>
                  <a:gd name="connsiteY5" fmla="*/ 42411 h 74475"/>
                  <a:gd name="connsiteX6" fmla="*/ 46346 w 58515"/>
                  <a:gd name="connsiteY6" fmla="*/ 73 h 74475"/>
                  <a:gd name="connsiteX7" fmla="*/ 58516 w 58515"/>
                  <a:gd name="connsiteY7" fmla="*/ 73 h 74475"/>
                  <a:gd name="connsiteX8" fmla="*/ 58516 w 58515"/>
                  <a:gd name="connsiteY8" fmla="*/ 73163 h 74475"/>
                  <a:gd name="connsiteX9" fmla="*/ 46857 w 58515"/>
                  <a:gd name="connsiteY9" fmla="*/ 73163 h 74475"/>
                  <a:gd name="connsiteX10" fmla="*/ 46857 w 58515"/>
                  <a:gd name="connsiteY10" fmla="*/ 57933 h 74475"/>
                  <a:gd name="connsiteX11" fmla="*/ 46565 w 58515"/>
                  <a:gd name="connsiteY11" fmla="*/ 57933 h 74475"/>
                  <a:gd name="connsiteX12" fmla="*/ 22882 w 58515"/>
                  <a:gd name="connsiteY12" fmla="*/ 74475 h 74475"/>
                  <a:gd name="connsiteX13" fmla="*/ 0 w 58515"/>
                  <a:gd name="connsiteY13" fmla="*/ 48751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15" h="74475">
                    <a:moveTo>
                      <a:pt x="73" y="48751"/>
                    </a:moveTo>
                    <a:lnTo>
                      <a:pt x="73" y="0"/>
                    </a:lnTo>
                    <a:lnTo>
                      <a:pt x="12242" y="0"/>
                    </a:lnTo>
                    <a:lnTo>
                      <a:pt x="12242" y="46419"/>
                    </a:lnTo>
                    <a:cubicBezTo>
                      <a:pt x="12242" y="57059"/>
                      <a:pt x="16177" y="63763"/>
                      <a:pt x="27400" y="63763"/>
                    </a:cubicBezTo>
                    <a:cubicBezTo>
                      <a:pt x="38622" y="63763"/>
                      <a:pt x="46346" y="56111"/>
                      <a:pt x="46346" y="42411"/>
                    </a:cubicBezTo>
                    <a:lnTo>
                      <a:pt x="46346" y="73"/>
                    </a:lnTo>
                    <a:lnTo>
                      <a:pt x="58516" y="73"/>
                    </a:lnTo>
                    <a:lnTo>
                      <a:pt x="58516" y="73163"/>
                    </a:lnTo>
                    <a:lnTo>
                      <a:pt x="46857" y="73163"/>
                    </a:lnTo>
                    <a:lnTo>
                      <a:pt x="46857" y="57933"/>
                    </a:lnTo>
                    <a:lnTo>
                      <a:pt x="46565" y="57933"/>
                    </a:lnTo>
                    <a:cubicBezTo>
                      <a:pt x="43650" y="65512"/>
                      <a:pt x="37602" y="74475"/>
                      <a:pt x="22882" y="74475"/>
                    </a:cubicBezTo>
                    <a:cubicBezTo>
                      <a:pt x="7433" y="74475"/>
                      <a:pt x="0" y="64127"/>
                      <a:pt x="0" y="4875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70" name="Freeform 323">
                <a:extLst>
                  <a:ext uri="{FF2B5EF4-FFF2-40B4-BE49-F238E27FC236}">
                    <a16:creationId xmlns:a16="http://schemas.microsoft.com/office/drawing/2014/main" id="{71332271-75A7-B0CF-F781-52311F96860B}"/>
                  </a:ext>
                </a:extLst>
              </p:cNvPr>
              <p:cNvSpPr/>
              <p:nvPr/>
            </p:nvSpPr>
            <p:spPr>
              <a:xfrm>
                <a:off x="7302743" y="3370334"/>
                <a:ext cx="96992" cy="74475"/>
              </a:xfrm>
              <a:custGeom>
                <a:avLst/>
                <a:gdLst>
                  <a:gd name="connsiteX0" fmla="*/ 0 w 96992"/>
                  <a:gd name="connsiteY0" fmla="*/ 1385 h 74475"/>
                  <a:gd name="connsiteX1" fmla="*/ 11659 w 96992"/>
                  <a:gd name="connsiteY1" fmla="*/ 1385 h 74475"/>
                  <a:gd name="connsiteX2" fmla="*/ 11659 w 96992"/>
                  <a:gd name="connsiteY2" fmla="*/ 16615 h 74475"/>
                  <a:gd name="connsiteX3" fmla="*/ 11951 w 96992"/>
                  <a:gd name="connsiteY3" fmla="*/ 16615 h 74475"/>
                  <a:gd name="connsiteX4" fmla="*/ 33303 w 96992"/>
                  <a:gd name="connsiteY4" fmla="*/ 0 h 74475"/>
                  <a:gd name="connsiteX5" fmla="*/ 53269 w 96992"/>
                  <a:gd name="connsiteY5" fmla="*/ 16615 h 74475"/>
                  <a:gd name="connsiteX6" fmla="*/ 53561 w 96992"/>
                  <a:gd name="connsiteY6" fmla="*/ 16615 h 74475"/>
                  <a:gd name="connsiteX7" fmla="*/ 75641 w 96992"/>
                  <a:gd name="connsiteY7" fmla="*/ 0 h 74475"/>
                  <a:gd name="connsiteX8" fmla="*/ 96992 w 96992"/>
                  <a:gd name="connsiteY8" fmla="*/ 25724 h 74475"/>
                  <a:gd name="connsiteX9" fmla="*/ 96992 w 96992"/>
                  <a:gd name="connsiteY9" fmla="*/ 74475 h 74475"/>
                  <a:gd name="connsiteX10" fmla="*/ 84823 w 96992"/>
                  <a:gd name="connsiteY10" fmla="*/ 74475 h 74475"/>
                  <a:gd name="connsiteX11" fmla="*/ 84823 w 96992"/>
                  <a:gd name="connsiteY11" fmla="*/ 28129 h 74475"/>
                  <a:gd name="connsiteX12" fmla="*/ 71633 w 96992"/>
                  <a:gd name="connsiteY12" fmla="*/ 10785 h 74475"/>
                  <a:gd name="connsiteX13" fmla="*/ 54581 w 96992"/>
                  <a:gd name="connsiteY13" fmla="*/ 32064 h 74475"/>
                  <a:gd name="connsiteX14" fmla="*/ 54581 w 96992"/>
                  <a:gd name="connsiteY14" fmla="*/ 74475 h 74475"/>
                  <a:gd name="connsiteX15" fmla="*/ 42411 w 96992"/>
                  <a:gd name="connsiteY15" fmla="*/ 74475 h 74475"/>
                  <a:gd name="connsiteX16" fmla="*/ 42411 w 96992"/>
                  <a:gd name="connsiteY16" fmla="*/ 28129 h 74475"/>
                  <a:gd name="connsiteX17" fmla="*/ 29222 w 96992"/>
                  <a:gd name="connsiteY17" fmla="*/ 10785 h 74475"/>
                  <a:gd name="connsiteX18" fmla="*/ 12169 w 96992"/>
                  <a:gd name="connsiteY18" fmla="*/ 32064 h 74475"/>
                  <a:gd name="connsiteX19" fmla="*/ 12169 w 96992"/>
                  <a:gd name="connsiteY19" fmla="*/ 74475 h 74475"/>
                  <a:gd name="connsiteX20" fmla="*/ 0 w 96992"/>
                  <a:gd name="connsiteY20" fmla="*/ 74475 h 74475"/>
                  <a:gd name="connsiteX21" fmla="*/ 0 w 96992"/>
                  <a:gd name="connsiteY21"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6992" h="74475">
                    <a:moveTo>
                      <a:pt x="0" y="1385"/>
                    </a:moveTo>
                    <a:lnTo>
                      <a:pt x="11659" y="1385"/>
                    </a:lnTo>
                    <a:lnTo>
                      <a:pt x="11659" y="16615"/>
                    </a:lnTo>
                    <a:lnTo>
                      <a:pt x="11951" y="16615"/>
                    </a:lnTo>
                    <a:cubicBezTo>
                      <a:pt x="15449" y="5903"/>
                      <a:pt x="23173" y="0"/>
                      <a:pt x="33303" y="0"/>
                    </a:cubicBezTo>
                    <a:cubicBezTo>
                      <a:pt x="43432" y="0"/>
                      <a:pt x="50719" y="5174"/>
                      <a:pt x="53269" y="16615"/>
                    </a:cubicBezTo>
                    <a:lnTo>
                      <a:pt x="53561" y="16615"/>
                    </a:lnTo>
                    <a:cubicBezTo>
                      <a:pt x="56913" y="5101"/>
                      <a:pt x="65585" y="0"/>
                      <a:pt x="75641" y="0"/>
                    </a:cubicBezTo>
                    <a:cubicBezTo>
                      <a:pt x="89341" y="0"/>
                      <a:pt x="96992" y="7651"/>
                      <a:pt x="96992" y="25724"/>
                    </a:cubicBezTo>
                    <a:lnTo>
                      <a:pt x="96992" y="74475"/>
                    </a:lnTo>
                    <a:lnTo>
                      <a:pt x="84823" y="74475"/>
                    </a:lnTo>
                    <a:lnTo>
                      <a:pt x="84823" y="28129"/>
                    </a:lnTo>
                    <a:cubicBezTo>
                      <a:pt x="84823" y="17416"/>
                      <a:pt x="81471" y="10785"/>
                      <a:pt x="71633" y="10785"/>
                    </a:cubicBezTo>
                    <a:cubicBezTo>
                      <a:pt x="61213" y="10785"/>
                      <a:pt x="54581" y="18437"/>
                      <a:pt x="54581" y="32064"/>
                    </a:cubicBezTo>
                    <a:lnTo>
                      <a:pt x="54581" y="74475"/>
                    </a:lnTo>
                    <a:lnTo>
                      <a:pt x="42411" y="74475"/>
                    </a:lnTo>
                    <a:lnTo>
                      <a:pt x="42411" y="28129"/>
                    </a:lnTo>
                    <a:cubicBezTo>
                      <a:pt x="42411" y="17416"/>
                      <a:pt x="39059" y="10785"/>
                      <a:pt x="29222" y="10785"/>
                    </a:cubicBezTo>
                    <a:cubicBezTo>
                      <a:pt x="18874" y="10785"/>
                      <a:pt x="12169" y="18437"/>
                      <a:pt x="12169" y="32064"/>
                    </a:cubicBezTo>
                    <a:lnTo>
                      <a:pt x="12169" y="74475"/>
                    </a:lnTo>
                    <a:lnTo>
                      <a:pt x="0" y="74475"/>
                    </a:lnTo>
                    <a:lnTo>
                      <a:pt x="0"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71" name="Freeform 324">
                <a:extLst>
                  <a:ext uri="{FF2B5EF4-FFF2-40B4-BE49-F238E27FC236}">
                    <a16:creationId xmlns:a16="http://schemas.microsoft.com/office/drawing/2014/main" id="{402A68E9-DD95-C66D-A6F1-D6AEA145C1E6}"/>
                  </a:ext>
                </a:extLst>
              </p:cNvPr>
              <p:cNvSpPr/>
              <p:nvPr/>
            </p:nvSpPr>
            <p:spPr>
              <a:xfrm>
                <a:off x="7417079" y="3370261"/>
                <a:ext cx="58443" cy="75786"/>
              </a:xfrm>
              <a:custGeom>
                <a:avLst/>
                <a:gdLst>
                  <a:gd name="connsiteX0" fmla="*/ 73 w 58443"/>
                  <a:gd name="connsiteY0" fmla="*/ 54581 h 75786"/>
                  <a:gd name="connsiteX1" fmla="*/ 33303 w 58443"/>
                  <a:gd name="connsiteY1" fmla="*/ 31043 h 75786"/>
                  <a:gd name="connsiteX2" fmla="*/ 46273 w 58443"/>
                  <a:gd name="connsiteY2" fmla="*/ 31043 h 75786"/>
                  <a:gd name="connsiteX3" fmla="*/ 46273 w 58443"/>
                  <a:gd name="connsiteY3" fmla="*/ 26015 h 75786"/>
                  <a:gd name="connsiteX4" fmla="*/ 31481 w 58443"/>
                  <a:gd name="connsiteY4" fmla="*/ 10275 h 75786"/>
                  <a:gd name="connsiteX5" fmla="*/ 10785 w 58443"/>
                  <a:gd name="connsiteY5" fmla="*/ 20987 h 75786"/>
                  <a:gd name="connsiteX6" fmla="*/ 2915 w 58443"/>
                  <a:gd name="connsiteY6" fmla="*/ 13117 h 75786"/>
                  <a:gd name="connsiteX7" fmla="*/ 32282 w 58443"/>
                  <a:gd name="connsiteY7" fmla="*/ 0 h 75786"/>
                  <a:gd name="connsiteX8" fmla="*/ 58443 w 58443"/>
                  <a:gd name="connsiteY8" fmla="*/ 26015 h 75786"/>
                  <a:gd name="connsiteX9" fmla="*/ 58443 w 58443"/>
                  <a:gd name="connsiteY9" fmla="*/ 74475 h 75786"/>
                  <a:gd name="connsiteX10" fmla="*/ 46784 w 58443"/>
                  <a:gd name="connsiteY10" fmla="*/ 74475 h 75786"/>
                  <a:gd name="connsiteX11" fmla="*/ 46784 w 58443"/>
                  <a:gd name="connsiteY11" fmla="*/ 60848 h 75786"/>
                  <a:gd name="connsiteX12" fmla="*/ 46492 w 58443"/>
                  <a:gd name="connsiteY12" fmla="*/ 60848 h 75786"/>
                  <a:gd name="connsiteX13" fmla="*/ 22299 w 58443"/>
                  <a:gd name="connsiteY13" fmla="*/ 75787 h 75786"/>
                  <a:gd name="connsiteX14" fmla="*/ 0 w 58443"/>
                  <a:gd name="connsiteY14" fmla="*/ 54508 h 75786"/>
                  <a:gd name="connsiteX15" fmla="*/ 25651 w 58443"/>
                  <a:gd name="connsiteY15" fmla="*/ 65658 h 75786"/>
                  <a:gd name="connsiteX16" fmla="*/ 46273 w 58443"/>
                  <a:gd name="connsiteY16" fmla="*/ 47294 h 75786"/>
                  <a:gd name="connsiteX17" fmla="*/ 46273 w 58443"/>
                  <a:gd name="connsiteY17" fmla="*/ 40225 h 75786"/>
                  <a:gd name="connsiteX18" fmla="*/ 34905 w 58443"/>
                  <a:gd name="connsiteY18" fmla="*/ 40225 h 75786"/>
                  <a:gd name="connsiteX19" fmla="*/ 12607 w 58443"/>
                  <a:gd name="connsiteY19" fmla="*/ 54363 h 75786"/>
                  <a:gd name="connsiteX20" fmla="*/ 25651 w 58443"/>
                  <a:gd name="connsiteY20" fmla="*/ 65731 h 7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443" h="75786">
                    <a:moveTo>
                      <a:pt x="73" y="54581"/>
                    </a:moveTo>
                    <a:cubicBezTo>
                      <a:pt x="73" y="37529"/>
                      <a:pt x="14647" y="31043"/>
                      <a:pt x="33303" y="31043"/>
                    </a:cubicBezTo>
                    <a:lnTo>
                      <a:pt x="46273" y="31043"/>
                    </a:lnTo>
                    <a:lnTo>
                      <a:pt x="46273" y="26015"/>
                    </a:lnTo>
                    <a:cubicBezTo>
                      <a:pt x="46273" y="15959"/>
                      <a:pt x="41537" y="10275"/>
                      <a:pt x="31481" y="10275"/>
                    </a:cubicBezTo>
                    <a:cubicBezTo>
                      <a:pt x="22080" y="10275"/>
                      <a:pt x="15667" y="14429"/>
                      <a:pt x="10785" y="20987"/>
                    </a:cubicBezTo>
                    <a:lnTo>
                      <a:pt x="2915" y="13117"/>
                    </a:lnTo>
                    <a:cubicBezTo>
                      <a:pt x="8672" y="6194"/>
                      <a:pt x="17635" y="0"/>
                      <a:pt x="32282" y="0"/>
                    </a:cubicBezTo>
                    <a:cubicBezTo>
                      <a:pt x="49626" y="0"/>
                      <a:pt x="58443" y="10567"/>
                      <a:pt x="58443" y="26015"/>
                    </a:cubicBezTo>
                    <a:lnTo>
                      <a:pt x="58443" y="74475"/>
                    </a:lnTo>
                    <a:lnTo>
                      <a:pt x="46784" y="74475"/>
                    </a:lnTo>
                    <a:lnTo>
                      <a:pt x="46784" y="60848"/>
                    </a:lnTo>
                    <a:lnTo>
                      <a:pt x="46492" y="60848"/>
                    </a:lnTo>
                    <a:cubicBezTo>
                      <a:pt x="41610" y="71269"/>
                      <a:pt x="34177" y="75787"/>
                      <a:pt x="22299" y="75787"/>
                    </a:cubicBezTo>
                    <a:cubicBezTo>
                      <a:pt x="9400" y="75787"/>
                      <a:pt x="0" y="68208"/>
                      <a:pt x="0" y="54508"/>
                    </a:cubicBezTo>
                    <a:close/>
                    <a:moveTo>
                      <a:pt x="25651" y="65658"/>
                    </a:moveTo>
                    <a:cubicBezTo>
                      <a:pt x="39132" y="65658"/>
                      <a:pt x="46273" y="56403"/>
                      <a:pt x="46273" y="47294"/>
                    </a:cubicBezTo>
                    <a:lnTo>
                      <a:pt x="46273" y="40225"/>
                    </a:lnTo>
                    <a:lnTo>
                      <a:pt x="34905" y="40225"/>
                    </a:lnTo>
                    <a:cubicBezTo>
                      <a:pt x="23392" y="40225"/>
                      <a:pt x="12607" y="42703"/>
                      <a:pt x="12607" y="54363"/>
                    </a:cubicBezTo>
                    <a:cubicBezTo>
                      <a:pt x="12607" y="61285"/>
                      <a:pt x="17489" y="65731"/>
                      <a:pt x="25651" y="6573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72" name="Freeform 325">
                <a:extLst>
                  <a:ext uri="{FF2B5EF4-FFF2-40B4-BE49-F238E27FC236}">
                    <a16:creationId xmlns:a16="http://schemas.microsoft.com/office/drawing/2014/main" id="{1FD54191-2C66-5D11-974A-10A2457C994C}"/>
                  </a:ext>
                </a:extLst>
              </p:cNvPr>
              <p:cNvSpPr/>
              <p:nvPr/>
            </p:nvSpPr>
            <p:spPr>
              <a:xfrm>
                <a:off x="7496582" y="3370334"/>
                <a:ext cx="58589" cy="74475"/>
              </a:xfrm>
              <a:custGeom>
                <a:avLst/>
                <a:gdLst>
                  <a:gd name="connsiteX0" fmla="*/ 0 w 58589"/>
                  <a:gd name="connsiteY0" fmla="*/ 1385 h 74475"/>
                  <a:gd name="connsiteX1" fmla="*/ 11660 w 58589"/>
                  <a:gd name="connsiteY1" fmla="*/ 1385 h 74475"/>
                  <a:gd name="connsiteX2" fmla="*/ 11660 w 58589"/>
                  <a:gd name="connsiteY2" fmla="*/ 16615 h 74475"/>
                  <a:gd name="connsiteX3" fmla="*/ 11951 w 58589"/>
                  <a:gd name="connsiteY3" fmla="*/ 16615 h 74475"/>
                  <a:gd name="connsiteX4" fmla="*/ 35707 w 58589"/>
                  <a:gd name="connsiteY4" fmla="*/ 0 h 74475"/>
                  <a:gd name="connsiteX5" fmla="*/ 58589 w 58589"/>
                  <a:gd name="connsiteY5" fmla="*/ 25724 h 74475"/>
                  <a:gd name="connsiteX6" fmla="*/ 58589 w 58589"/>
                  <a:gd name="connsiteY6" fmla="*/ 74475 h 74475"/>
                  <a:gd name="connsiteX7" fmla="*/ 46347 w 58589"/>
                  <a:gd name="connsiteY7" fmla="*/ 74475 h 74475"/>
                  <a:gd name="connsiteX8" fmla="*/ 46347 w 58589"/>
                  <a:gd name="connsiteY8" fmla="*/ 28129 h 74475"/>
                  <a:gd name="connsiteX9" fmla="*/ 31262 w 58589"/>
                  <a:gd name="connsiteY9" fmla="*/ 10785 h 74475"/>
                  <a:gd name="connsiteX10" fmla="*/ 12242 w 58589"/>
                  <a:gd name="connsiteY10" fmla="*/ 32064 h 74475"/>
                  <a:gd name="connsiteX11" fmla="*/ 12242 w 58589"/>
                  <a:gd name="connsiteY11" fmla="*/ 74475 h 74475"/>
                  <a:gd name="connsiteX12" fmla="*/ 73 w 58589"/>
                  <a:gd name="connsiteY12" fmla="*/ 74475 h 74475"/>
                  <a:gd name="connsiteX13" fmla="*/ 73 w 58589"/>
                  <a:gd name="connsiteY13"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89" h="74475">
                    <a:moveTo>
                      <a:pt x="0" y="1385"/>
                    </a:moveTo>
                    <a:lnTo>
                      <a:pt x="11660" y="1385"/>
                    </a:lnTo>
                    <a:lnTo>
                      <a:pt x="11660" y="16615"/>
                    </a:lnTo>
                    <a:lnTo>
                      <a:pt x="11951" y="16615"/>
                    </a:lnTo>
                    <a:cubicBezTo>
                      <a:pt x="14866" y="8963"/>
                      <a:pt x="20987" y="0"/>
                      <a:pt x="35707" y="0"/>
                    </a:cubicBezTo>
                    <a:cubicBezTo>
                      <a:pt x="51156" y="0"/>
                      <a:pt x="58589" y="10421"/>
                      <a:pt x="58589" y="25724"/>
                    </a:cubicBezTo>
                    <a:lnTo>
                      <a:pt x="58589" y="74475"/>
                    </a:lnTo>
                    <a:lnTo>
                      <a:pt x="46347" y="74475"/>
                    </a:lnTo>
                    <a:lnTo>
                      <a:pt x="46347" y="28129"/>
                    </a:lnTo>
                    <a:cubicBezTo>
                      <a:pt x="46347" y="17416"/>
                      <a:pt x="42484" y="10785"/>
                      <a:pt x="31262" y="10785"/>
                    </a:cubicBezTo>
                    <a:cubicBezTo>
                      <a:pt x="20040" y="10785"/>
                      <a:pt x="12242" y="18437"/>
                      <a:pt x="12242" y="32064"/>
                    </a:cubicBezTo>
                    <a:lnTo>
                      <a:pt x="12242" y="74475"/>
                    </a:lnTo>
                    <a:lnTo>
                      <a:pt x="73" y="74475"/>
                    </a:lnTo>
                    <a:lnTo>
                      <a:pt x="73"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73" name="Freeform 326">
                <a:extLst>
                  <a:ext uri="{FF2B5EF4-FFF2-40B4-BE49-F238E27FC236}">
                    <a16:creationId xmlns:a16="http://schemas.microsoft.com/office/drawing/2014/main" id="{77BF243D-7798-ECA9-43CD-F9F9F3C3D2C0}"/>
                  </a:ext>
                </a:extLst>
              </p:cNvPr>
              <p:cNvSpPr/>
              <p:nvPr/>
            </p:nvSpPr>
            <p:spPr>
              <a:xfrm>
                <a:off x="7129453" y="3536409"/>
                <a:ext cx="63690" cy="75932"/>
              </a:xfrm>
              <a:custGeom>
                <a:avLst/>
                <a:gdLst>
                  <a:gd name="connsiteX0" fmla="*/ 0 w 63690"/>
                  <a:gd name="connsiteY0" fmla="*/ 37966 h 75932"/>
                  <a:gd name="connsiteX1" fmla="*/ 35124 w 63690"/>
                  <a:gd name="connsiteY1" fmla="*/ 0 h 75932"/>
                  <a:gd name="connsiteX2" fmla="*/ 63690 w 63690"/>
                  <a:gd name="connsiteY2" fmla="*/ 13919 h 75932"/>
                  <a:gd name="connsiteX3" fmla="*/ 55091 w 63690"/>
                  <a:gd name="connsiteY3" fmla="*/ 20841 h 75932"/>
                  <a:gd name="connsiteX4" fmla="*/ 35416 w 63690"/>
                  <a:gd name="connsiteY4" fmla="*/ 10421 h 75932"/>
                  <a:gd name="connsiteX5" fmla="*/ 12680 w 63690"/>
                  <a:gd name="connsiteY5" fmla="*/ 37966 h 75932"/>
                  <a:gd name="connsiteX6" fmla="*/ 35416 w 63690"/>
                  <a:gd name="connsiteY6" fmla="*/ 65585 h 75932"/>
                  <a:gd name="connsiteX7" fmla="*/ 55091 w 63690"/>
                  <a:gd name="connsiteY7" fmla="*/ 55164 h 75932"/>
                  <a:gd name="connsiteX8" fmla="*/ 63690 w 63690"/>
                  <a:gd name="connsiteY8" fmla="*/ 62087 h 75932"/>
                  <a:gd name="connsiteX9" fmla="*/ 35124 w 63690"/>
                  <a:gd name="connsiteY9" fmla="*/ 75932 h 75932"/>
                  <a:gd name="connsiteX10" fmla="*/ 0 w 63690"/>
                  <a:gd name="connsiteY10" fmla="*/ 38039 h 7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690" h="75932">
                    <a:moveTo>
                      <a:pt x="0" y="37966"/>
                    </a:moveTo>
                    <a:cubicBezTo>
                      <a:pt x="0" y="13335"/>
                      <a:pt x="15230" y="0"/>
                      <a:pt x="35124" y="0"/>
                    </a:cubicBezTo>
                    <a:cubicBezTo>
                      <a:pt x="48169" y="0"/>
                      <a:pt x="57933" y="5538"/>
                      <a:pt x="63690" y="13919"/>
                    </a:cubicBezTo>
                    <a:lnTo>
                      <a:pt x="55091" y="20841"/>
                    </a:lnTo>
                    <a:cubicBezTo>
                      <a:pt x="50646" y="14356"/>
                      <a:pt x="44379" y="10421"/>
                      <a:pt x="35416" y="10421"/>
                    </a:cubicBezTo>
                    <a:cubicBezTo>
                      <a:pt x="22080" y="10421"/>
                      <a:pt x="12680" y="19675"/>
                      <a:pt x="12680" y="37966"/>
                    </a:cubicBezTo>
                    <a:cubicBezTo>
                      <a:pt x="12680" y="56257"/>
                      <a:pt x="22080" y="65585"/>
                      <a:pt x="35416" y="65585"/>
                    </a:cubicBezTo>
                    <a:cubicBezTo>
                      <a:pt x="44379" y="65585"/>
                      <a:pt x="50646" y="61650"/>
                      <a:pt x="55091" y="55164"/>
                    </a:cubicBezTo>
                    <a:lnTo>
                      <a:pt x="63690" y="62087"/>
                    </a:lnTo>
                    <a:cubicBezTo>
                      <a:pt x="57933" y="70467"/>
                      <a:pt x="48241" y="75932"/>
                      <a:pt x="35124" y="75932"/>
                    </a:cubicBezTo>
                    <a:cubicBezTo>
                      <a:pt x="15157" y="75932"/>
                      <a:pt x="0" y="62670"/>
                      <a:pt x="0" y="3803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74" name="Freeform 327">
                <a:extLst>
                  <a:ext uri="{FF2B5EF4-FFF2-40B4-BE49-F238E27FC236}">
                    <a16:creationId xmlns:a16="http://schemas.microsoft.com/office/drawing/2014/main" id="{BA06091C-0194-E061-018D-96ECE4E90F5F}"/>
                  </a:ext>
                </a:extLst>
              </p:cNvPr>
              <p:cNvSpPr/>
              <p:nvPr/>
            </p:nvSpPr>
            <p:spPr>
              <a:xfrm>
                <a:off x="7203054" y="3536409"/>
                <a:ext cx="58442" cy="75859"/>
              </a:xfrm>
              <a:custGeom>
                <a:avLst/>
                <a:gdLst>
                  <a:gd name="connsiteX0" fmla="*/ 73 w 58442"/>
                  <a:gd name="connsiteY0" fmla="*/ 54581 h 75859"/>
                  <a:gd name="connsiteX1" fmla="*/ 33303 w 58442"/>
                  <a:gd name="connsiteY1" fmla="*/ 31043 h 75859"/>
                  <a:gd name="connsiteX2" fmla="*/ 46273 w 58442"/>
                  <a:gd name="connsiteY2" fmla="*/ 31043 h 75859"/>
                  <a:gd name="connsiteX3" fmla="*/ 46273 w 58442"/>
                  <a:gd name="connsiteY3" fmla="*/ 26015 h 75859"/>
                  <a:gd name="connsiteX4" fmla="*/ 31481 w 58442"/>
                  <a:gd name="connsiteY4" fmla="*/ 10275 h 75859"/>
                  <a:gd name="connsiteX5" fmla="*/ 10785 w 58442"/>
                  <a:gd name="connsiteY5" fmla="*/ 20987 h 75859"/>
                  <a:gd name="connsiteX6" fmla="*/ 2915 w 58442"/>
                  <a:gd name="connsiteY6" fmla="*/ 13117 h 75859"/>
                  <a:gd name="connsiteX7" fmla="*/ 32282 w 58442"/>
                  <a:gd name="connsiteY7" fmla="*/ 0 h 75859"/>
                  <a:gd name="connsiteX8" fmla="*/ 58443 w 58442"/>
                  <a:gd name="connsiteY8" fmla="*/ 26015 h 75859"/>
                  <a:gd name="connsiteX9" fmla="*/ 58443 w 58442"/>
                  <a:gd name="connsiteY9" fmla="*/ 74475 h 75859"/>
                  <a:gd name="connsiteX10" fmla="*/ 46784 w 58442"/>
                  <a:gd name="connsiteY10" fmla="*/ 74475 h 75859"/>
                  <a:gd name="connsiteX11" fmla="*/ 46784 w 58442"/>
                  <a:gd name="connsiteY11" fmla="*/ 60921 h 75859"/>
                  <a:gd name="connsiteX12" fmla="*/ 46492 w 58442"/>
                  <a:gd name="connsiteY12" fmla="*/ 60921 h 75859"/>
                  <a:gd name="connsiteX13" fmla="*/ 22299 w 58442"/>
                  <a:gd name="connsiteY13" fmla="*/ 75860 h 75859"/>
                  <a:gd name="connsiteX14" fmla="*/ 0 w 58442"/>
                  <a:gd name="connsiteY14" fmla="*/ 54581 h 75859"/>
                  <a:gd name="connsiteX15" fmla="*/ 25651 w 58442"/>
                  <a:gd name="connsiteY15" fmla="*/ 65657 h 75859"/>
                  <a:gd name="connsiteX16" fmla="*/ 46273 w 58442"/>
                  <a:gd name="connsiteY16" fmla="*/ 47294 h 75859"/>
                  <a:gd name="connsiteX17" fmla="*/ 46273 w 58442"/>
                  <a:gd name="connsiteY17" fmla="*/ 40225 h 75859"/>
                  <a:gd name="connsiteX18" fmla="*/ 34905 w 58442"/>
                  <a:gd name="connsiteY18" fmla="*/ 40225 h 75859"/>
                  <a:gd name="connsiteX19" fmla="*/ 12607 w 58442"/>
                  <a:gd name="connsiteY19" fmla="*/ 54362 h 75859"/>
                  <a:gd name="connsiteX20" fmla="*/ 25651 w 58442"/>
                  <a:gd name="connsiteY20" fmla="*/ 65730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442" h="75859">
                    <a:moveTo>
                      <a:pt x="73" y="54581"/>
                    </a:moveTo>
                    <a:cubicBezTo>
                      <a:pt x="73" y="37529"/>
                      <a:pt x="14574" y="31043"/>
                      <a:pt x="33303" y="31043"/>
                    </a:cubicBezTo>
                    <a:lnTo>
                      <a:pt x="46273" y="31043"/>
                    </a:lnTo>
                    <a:lnTo>
                      <a:pt x="46273" y="26015"/>
                    </a:lnTo>
                    <a:cubicBezTo>
                      <a:pt x="46273" y="15959"/>
                      <a:pt x="41537" y="10275"/>
                      <a:pt x="31481" y="10275"/>
                    </a:cubicBezTo>
                    <a:cubicBezTo>
                      <a:pt x="22080" y="10275"/>
                      <a:pt x="15667" y="14428"/>
                      <a:pt x="10785" y="20987"/>
                    </a:cubicBezTo>
                    <a:lnTo>
                      <a:pt x="2915" y="13117"/>
                    </a:lnTo>
                    <a:cubicBezTo>
                      <a:pt x="8672" y="6194"/>
                      <a:pt x="17635" y="0"/>
                      <a:pt x="32282" y="0"/>
                    </a:cubicBezTo>
                    <a:cubicBezTo>
                      <a:pt x="49626" y="0"/>
                      <a:pt x="58443" y="10566"/>
                      <a:pt x="58443" y="26015"/>
                    </a:cubicBezTo>
                    <a:lnTo>
                      <a:pt x="58443" y="74475"/>
                    </a:lnTo>
                    <a:lnTo>
                      <a:pt x="46784" y="74475"/>
                    </a:lnTo>
                    <a:lnTo>
                      <a:pt x="46784" y="60921"/>
                    </a:lnTo>
                    <a:lnTo>
                      <a:pt x="46492" y="60921"/>
                    </a:lnTo>
                    <a:cubicBezTo>
                      <a:pt x="41610" y="71342"/>
                      <a:pt x="34177" y="75860"/>
                      <a:pt x="22299" y="75860"/>
                    </a:cubicBezTo>
                    <a:cubicBezTo>
                      <a:pt x="9400" y="75860"/>
                      <a:pt x="0" y="68281"/>
                      <a:pt x="0" y="54581"/>
                    </a:cubicBezTo>
                    <a:close/>
                    <a:moveTo>
                      <a:pt x="25651" y="65657"/>
                    </a:moveTo>
                    <a:cubicBezTo>
                      <a:pt x="39132" y="65657"/>
                      <a:pt x="46273" y="56403"/>
                      <a:pt x="46273" y="47294"/>
                    </a:cubicBezTo>
                    <a:lnTo>
                      <a:pt x="46273" y="40225"/>
                    </a:lnTo>
                    <a:lnTo>
                      <a:pt x="34905" y="40225"/>
                    </a:lnTo>
                    <a:cubicBezTo>
                      <a:pt x="23392" y="40225"/>
                      <a:pt x="12607" y="42703"/>
                      <a:pt x="12607" y="54362"/>
                    </a:cubicBezTo>
                    <a:cubicBezTo>
                      <a:pt x="12607" y="61285"/>
                      <a:pt x="17489" y="65730"/>
                      <a:pt x="25651" y="6573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75" name="Freeform 328">
                <a:extLst>
                  <a:ext uri="{FF2B5EF4-FFF2-40B4-BE49-F238E27FC236}">
                    <a16:creationId xmlns:a16="http://schemas.microsoft.com/office/drawing/2014/main" id="{4A7C70DB-8F19-F90B-8FEE-6BDF9B0E0646}"/>
                  </a:ext>
                </a:extLst>
              </p:cNvPr>
              <p:cNvSpPr/>
              <p:nvPr/>
            </p:nvSpPr>
            <p:spPr>
              <a:xfrm>
                <a:off x="7282557" y="3536409"/>
                <a:ext cx="71268" cy="103259"/>
              </a:xfrm>
              <a:custGeom>
                <a:avLst/>
                <a:gdLst>
                  <a:gd name="connsiteX0" fmla="*/ 0 w 71268"/>
                  <a:gd name="connsiteY0" fmla="*/ 1457 h 103259"/>
                  <a:gd name="connsiteX1" fmla="*/ 11660 w 71268"/>
                  <a:gd name="connsiteY1" fmla="*/ 1457 h 103259"/>
                  <a:gd name="connsiteX2" fmla="*/ 11660 w 71268"/>
                  <a:gd name="connsiteY2" fmla="*/ 16906 h 103259"/>
                  <a:gd name="connsiteX3" fmla="*/ 11805 w 71268"/>
                  <a:gd name="connsiteY3" fmla="*/ 16906 h 103259"/>
                  <a:gd name="connsiteX4" fmla="*/ 39132 w 71268"/>
                  <a:gd name="connsiteY4" fmla="*/ 0 h 103259"/>
                  <a:gd name="connsiteX5" fmla="*/ 71269 w 71268"/>
                  <a:gd name="connsiteY5" fmla="*/ 37966 h 103259"/>
                  <a:gd name="connsiteX6" fmla="*/ 39569 w 71268"/>
                  <a:gd name="connsiteY6" fmla="*/ 75860 h 103259"/>
                  <a:gd name="connsiteX7" fmla="*/ 12607 w 71268"/>
                  <a:gd name="connsiteY7" fmla="*/ 59828 h 103259"/>
                  <a:gd name="connsiteX8" fmla="*/ 12242 w 71268"/>
                  <a:gd name="connsiteY8" fmla="*/ 59828 h 103259"/>
                  <a:gd name="connsiteX9" fmla="*/ 12242 w 71268"/>
                  <a:gd name="connsiteY9" fmla="*/ 103259 h 103259"/>
                  <a:gd name="connsiteX10" fmla="*/ 73 w 71268"/>
                  <a:gd name="connsiteY10" fmla="*/ 103259 h 103259"/>
                  <a:gd name="connsiteX11" fmla="*/ 73 w 71268"/>
                  <a:gd name="connsiteY11" fmla="*/ 1385 h 103259"/>
                  <a:gd name="connsiteX12" fmla="*/ 35343 w 71268"/>
                  <a:gd name="connsiteY12" fmla="*/ 65512 h 103259"/>
                  <a:gd name="connsiteX13" fmla="*/ 58443 w 71268"/>
                  <a:gd name="connsiteY13" fmla="*/ 37893 h 103259"/>
                  <a:gd name="connsiteX14" fmla="*/ 35343 w 71268"/>
                  <a:gd name="connsiteY14" fmla="*/ 10348 h 103259"/>
                  <a:gd name="connsiteX15" fmla="*/ 12170 w 71268"/>
                  <a:gd name="connsiteY15" fmla="*/ 37893 h 103259"/>
                  <a:gd name="connsiteX16" fmla="*/ 35343 w 71268"/>
                  <a:gd name="connsiteY16" fmla="*/ 65512 h 10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268" h="103259">
                    <a:moveTo>
                      <a:pt x="0" y="1457"/>
                    </a:moveTo>
                    <a:lnTo>
                      <a:pt x="11660" y="1457"/>
                    </a:lnTo>
                    <a:lnTo>
                      <a:pt x="11660" y="16906"/>
                    </a:lnTo>
                    <a:lnTo>
                      <a:pt x="11805" y="16906"/>
                    </a:lnTo>
                    <a:cubicBezTo>
                      <a:pt x="15303" y="8307"/>
                      <a:pt x="22445" y="0"/>
                      <a:pt x="39132" y="0"/>
                    </a:cubicBezTo>
                    <a:cubicBezTo>
                      <a:pt x="58516" y="0"/>
                      <a:pt x="71269" y="15522"/>
                      <a:pt x="71269" y="37966"/>
                    </a:cubicBezTo>
                    <a:cubicBezTo>
                      <a:pt x="71269" y="60411"/>
                      <a:pt x="58954" y="75860"/>
                      <a:pt x="39569" y="75860"/>
                    </a:cubicBezTo>
                    <a:cubicBezTo>
                      <a:pt x="24923" y="75860"/>
                      <a:pt x="16323" y="68427"/>
                      <a:pt x="12607" y="59828"/>
                    </a:cubicBezTo>
                    <a:lnTo>
                      <a:pt x="12242" y="59828"/>
                    </a:lnTo>
                    <a:lnTo>
                      <a:pt x="12242" y="103259"/>
                    </a:lnTo>
                    <a:lnTo>
                      <a:pt x="73" y="103259"/>
                    </a:lnTo>
                    <a:lnTo>
                      <a:pt x="73" y="1385"/>
                    </a:lnTo>
                    <a:close/>
                    <a:moveTo>
                      <a:pt x="35343" y="65512"/>
                    </a:moveTo>
                    <a:cubicBezTo>
                      <a:pt x="48314" y="65512"/>
                      <a:pt x="58443" y="56257"/>
                      <a:pt x="58443" y="37893"/>
                    </a:cubicBezTo>
                    <a:cubicBezTo>
                      <a:pt x="58443" y="19530"/>
                      <a:pt x="48314" y="10348"/>
                      <a:pt x="35343" y="10348"/>
                    </a:cubicBezTo>
                    <a:cubicBezTo>
                      <a:pt x="22372" y="10348"/>
                      <a:pt x="12170" y="19603"/>
                      <a:pt x="12170" y="37893"/>
                    </a:cubicBezTo>
                    <a:cubicBezTo>
                      <a:pt x="12170" y="56184"/>
                      <a:pt x="22299" y="65512"/>
                      <a:pt x="35343" y="65512"/>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76" name="Freeform 329">
                <a:extLst>
                  <a:ext uri="{FF2B5EF4-FFF2-40B4-BE49-F238E27FC236}">
                    <a16:creationId xmlns:a16="http://schemas.microsoft.com/office/drawing/2014/main" id="{B56EBE1B-58E7-3550-02E2-CBEFBF23EA6D}"/>
                  </a:ext>
                </a:extLst>
              </p:cNvPr>
              <p:cNvSpPr/>
              <p:nvPr/>
            </p:nvSpPr>
            <p:spPr>
              <a:xfrm>
                <a:off x="7368910" y="3507916"/>
                <a:ext cx="16250" cy="103040"/>
              </a:xfrm>
              <a:custGeom>
                <a:avLst/>
                <a:gdLst>
                  <a:gd name="connsiteX0" fmla="*/ 8089 w 16250"/>
                  <a:gd name="connsiteY0" fmla="*/ 0 h 103040"/>
                  <a:gd name="connsiteX1" fmla="*/ 16250 w 16250"/>
                  <a:gd name="connsiteY1" fmla="*/ 8162 h 103040"/>
                  <a:gd name="connsiteX2" fmla="*/ 8089 w 16250"/>
                  <a:gd name="connsiteY2" fmla="*/ 16323 h 103040"/>
                  <a:gd name="connsiteX3" fmla="*/ 0 w 16250"/>
                  <a:gd name="connsiteY3" fmla="*/ 8162 h 103040"/>
                  <a:gd name="connsiteX4" fmla="*/ 8089 w 16250"/>
                  <a:gd name="connsiteY4" fmla="*/ 0 h 103040"/>
                  <a:gd name="connsiteX5" fmla="*/ 1967 w 16250"/>
                  <a:gd name="connsiteY5" fmla="*/ 29950 h 103040"/>
                  <a:gd name="connsiteX6" fmla="*/ 14137 w 16250"/>
                  <a:gd name="connsiteY6" fmla="*/ 29950 h 103040"/>
                  <a:gd name="connsiteX7" fmla="*/ 14137 w 16250"/>
                  <a:gd name="connsiteY7" fmla="*/ 103041 h 103040"/>
                  <a:gd name="connsiteX8" fmla="*/ 1967 w 16250"/>
                  <a:gd name="connsiteY8" fmla="*/ 103041 h 103040"/>
                  <a:gd name="connsiteX9" fmla="*/ 1967 w 16250"/>
                  <a:gd name="connsiteY9" fmla="*/ 29950 h 10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50" h="103040">
                    <a:moveTo>
                      <a:pt x="8089" y="0"/>
                    </a:moveTo>
                    <a:cubicBezTo>
                      <a:pt x="12825" y="0"/>
                      <a:pt x="16250" y="3425"/>
                      <a:pt x="16250" y="8162"/>
                    </a:cubicBezTo>
                    <a:cubicBezTo>
                      <a:pt x="16250" y="12898"/>
                      <a:pt x="12825" y="16323"/>
                      <a:pt x="8089" y="16323"/>
                    </a:cubicBezTo>
                    <a:cubicBezTo>
                      <a:pt x="3352" y="16323"/>
                      <a:pt x="0" y="12898"/>
                      <a:pt x="0" y="8162"/>
                    </a:cubicBezTo>
                    <a:cubicBezTo>
                      <a:pt x="0" y="3425"/>
                      <a:pt x="3425" y="0"/>
                      <a:pt x="8089" y="0"/>
                    </a:cubicBezTo>
                    <a:close/>
                    <a:moveTo>
                      <a:pt x="1967" y="29950"/>
                    </a:moveTo>
                    <a:lnTo>
                      <a:pt x="14137" y="29950"/>
                    </a:lnTo>
                    <a:lnTo>
                      <a:pt x="14137" y="103041"/>
                    </a:lnTo>
                    <a:lnTo>
                      <a:pt x="1967" y="103041"/>
                    </a:lnTo>
                    <a:lnTo>
                      <a:pt x="1967" y="2995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77" name="Freeform 330">
                <a:extLst>
                  <a:ext uri="{FF2B5EF4-FFF2-40B4-BE49-F238E27FC236}">
                    <a16:creationId xmlns:a16="http://schemas.microsoft.com/office/drawing/2014/main" id="{34960122-9B11-01CF-E3FD-9354F64DC447}"/>
                  </a:ext>
                </a:extLst>
              </p:cNvPr>
              <p:cNvSpPr/>
              <p:nvPr/>
            </p:nvSpPr>
            <p:spPr>
              <a:xfrm>
                <a:off x="7395363" y="3520159"/>
                <a:ext cx="39350" cy="91818"/>
              </a:xfrm>
              <a:custGeom>
                <a:avLst/>
                <a:gdLst>
                  <a:gd name="connsiteX0" fmla="*/ 10785 w 39350"/>
                  <a:gd name="connsiteY0" fmla="*/ 75058 h 91818"/>
                  <a:gd name="connsiteX1" fmla="*/ 10785 w 39350"/>
                  <a:gd name="connsiteY1" fmla="*/ 27910 h 91818"/>
                  <a:gd name="connsiteX2" fmla="*/ 0 w 39350"/>
                  <a:gd name="connsiteY2" fmla="*/ 27910 h 91818"/>
                  <a:gd name="connsiteX3" fmla="*/ 0 w 39350"/>
                  <a:gd name="connsiteY3" fmla="*/ 21570 h 91818"/>
                  <a:gd name="connsiteX4" fmla="*/ 21570 w 39350"/>
                  <a:gd name="connsiteY4" fmla="*/ 0 h 91818"/>
                  <a:gd name="connsiteX5" fmla="*/ 22954 w 39350"/>
                  <a:gd name="connsiteY5" fmla="*/ 0 h 91818"/>
                  <a:gd name="connsiteX6" fmla="*/ 22954 w 39350"/>
                  <a:gd name="connsiteY6" fmla="*/ 17708 h 91818"/>
                  <a:gd name="connsiteX7" fmla="*/ 39351 w 39350"/>
                  <a:gd name="connsiteY7" fmla="*/ 17708 h 91818"/>
                  <a:gd name="connsiteX8" fmla="*/ 39351 w 39350"/>
                  <a:gd name="connsiteY8" fmla="*/ 27910 h 91818"/>
                  <a:gd name="connsiteX9" fmla="*/ 22954 w 39350"/>
                  <a:gd name="connsiteY9" fmla="*/ 27910 h 91818"/>
                  <a:gd name="connsiteX10" fmla="*/ 22954 w 39350"/>
                  <a:gd name="connsiteY10" fmla="*/ 72508 h 91818"/>
                  <a:gd name="connsiteX11" fmla="*/ 30971 w 39350"/>
                  <a:gd name="connsiteY11" fmla="*/ 80815 h 91818"/>
                  <a:gd name="connsiteX12" fmla="*/ 39278 w 39350"/>
                  <a:gd name="connsiteY12" fmla="*/ 79649 h 91818"/>
                  <a:gd name="connsiteX13" fmla="*/ 39278 w 39350"/>
                  <a:gd name="connsiteY13" fmla="*/ 90726 h 91818"/>
                  <a:gd name="connsiteX14" fmla="*/ 29149 w 39350"/>
                  <a:gd name="connsiteY14" fmla="*/ 91819 h 91818"/>
                  <a:gd name="connsiteX15" fmla="*/ 10785 w 39350"/>
                  <a:gd name="connsiteY15" fmla="*/ 74985 h 9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50" h="91818">
                    <a:moveTo>
                      <a:pt x="10785" y="75058"/>
                    </a:moveTo>
                    <a:lnTo>
                      <a:pt x="10785" y="27910"/>
                    </a:lnTo>
                    <a:lnTo>
                      <a:pt x="0" y="27910"/>
                    </a:lnTo>
                    <a:lnTo>
                      <a:pt x="0" y="21570"/>
                    </a:lnTo>
                    <a:lnTo>
                      <a:pt x="21570" y="0"/>
                    </a:lnTo>
                    <a:lnTo>
                      <a:pt x="22954" y="0"/>
                    </a:lnTo>
                    <a:lnTo>
                      <a:pt x="22954" y="17708"/>
                    </a:lnTo>
                    <a:lnTo>
                      <a:pt x="39351" y="17708"/>
                    </a:lnTo>
                    <a:lnTo>
                      <a:pt x="39351" y="27910"/>
                    </a:lnTo>
                    <a:lnTo>
                      <a:pt x="22954" y="27910"/>
                    </a:lnTo>
                    <a:lnTo>
                      <a:pt x="22954" y="72508"/>
                    </a:lnTo>
                    <a:cubicBezTo>
                      <a:pt x="22954" y="78993"/>
                      <a:pt x="25068" y="80815"/>
                      <a:pt x="30971" y="80815"/>
                    </a:cubicBezTo>
                    <a:cubicBezTo>
                      <a:pt x="33885" y="80815"/>
                      <a:pt x="36800" y="80378"/>
                      <a:pt x="39278" y="79649"/>
                    </a:cubicBezTo>
                    <a:lnTo>
                      <a:pt x="39278" y="90726"/>
                    </a:lnTo>
                    <a:cubicBezTo>
                      <a:pt x="36654" y="91381"/>
                      <a:pt x="32719" y="91819"/>
                      <a:pt x="29149" y="91819"/>
                    </a:cubicBezTo>
                    <a:cubicBezTo>
                      <a:pt x="16469" y="91819"/>
                      <a:pt x="10785" y="86717"/>
                      <a:pt x="10785" y="7498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78" name="Freeform 331">
                <a:extLst>
                  <a:ext uri="{FF2B5EF4-FFF2-40B4-BE49-F238E27FC236}">
                    <a16:creationId xmlns:a16="http://schemas.microsoft.com/office/drawing/2014/main" id="{561A0354-22B2-53DF-21CE-D43D601E6411}"/>
                  </a:ext>
                </a:extLst>
              </p:cNvPr>
              <p:cNvSpPr/>
              <p:nvPr/>
            </p:nvSpPr>
            <p:spPr>
              <a:xfrm>
                <a:off x="7447248" y="3536409"/>
                <a:ext cx="58442" cy="75859"/>
              </a:xfrm>
              <a:custGeom>
                <a:avLst/>
                <a:gdLst>
                  <a:gd name="connsiteX0" fmla="*/ 72 w 58442"/>
                  <a:gd name="connsiteY0" fmla="*/ 54581 h 75859"/>
                  <a:gd name="connsiteX1" fmla="*/ 33303 w 58442"/>
                  <a:gd name="connsiteY1" fmla="*/ 31043 h 75859"/>
                  <a:gd name="connsiteX2" fmla="*/ 46273 w 58442"/>
                  <a:gd name="connsiteY2" fmla="*/ 31043 h 75859"/>
                  <a:gd name="connsiteX3" fmla="*/ 46273 w 58442"/>
                  <a:gd name="connsiteY3" fmla="*/ 26015 h 75859"/>
                  <a:gd name="connsiteX4" fmla="*/ 31481 w 58442"/>
                  <a:gd name="connsiteY4" fmla="*/ 10275 h 75859"/>
                  <a:gd name="connsiteX5" fmla="*/ 10785 w 58442"/>
                  <a:gd name="connsiteY5" fmla="*/ 20987 h 75859"/>
                  <a:gd name="connsiteX6" fmla="*/ 2915 w 58442"/>
                  <a:gd name="connsiteY6" fmla="*/ 13117 h 75859"/>
                  <a:gd name="connsiteX7" fmla="*/ 32282 w 58442"/>
                  <a:gd name="connsiteY7" fmla="*/ 0 h 75859"/>
                  <a:gd name="connsiteX8" fmla="*/ 58443 w 58442"/>
                  <a:gd name="connsiteY8" fmla="*/ 26015 h 75859"/>
                  <a:gd name="connsiteX9" fmla="*/ 58443 w 58442"/>
                  <a:gd name="connsiteY9" fmla="*/ 74475 h 75859"/>
                  <a:gd name="connsiteX10" fmla="*/ 46784 w 58442"/>
                  <a:gd name="connsiteY10" fmla="*/ 74475 h 75859"/>
                  <a:gd name="connsiteX11" fmla="*/ 46784 w 58442"/>
                  <a:gd name="connsiteY11" fmla="*/ 60921 h 75859"/>
                  <a:gd name="connsiteX12" fmla="*/ 46492 w 58442"/>
                  <a:gd name="connsiteY12" fmla="*/ 60921 h 75859"/>
                  <a:gd name="connsiteX13" fmla="*/ 22299 w 58442"/>
                  <a:gd name="connsiteY13" fmla="*/ 75860 h 75859"/>
                  <a:gd name="connsiteX14" fmla="*/ 0 w 58442"/>
                  <a:gd name="connsiteY14" fmla="*/ 54581 h 75859"/>
                  <a:gd name="connsiteX15" fmla="*/ 25651 w 58442"/>
                  <a:gd name="connsiteY15" fmla="*/ 65657 h 75859"/>
                  <a:gd name="connsiteX16" fmla="*/ 46273 w 58442"/>
                  <a:gd name="connsiteY16" fmla="*/ 47294 h 75859"/>
                  <a:gd name="connsiteX17" fmla="*/ 46273 w 58442"/>
                  <a:gd name="connsiteY17" fmla="*/ 40225 h 75859"/>
                  <a:gd name="connsiteX18" fmla="*/ 34905 w 58442"/>
                  <a:gd name="connsiteY18" fmla="*/ 40225 h 75859"/>
                  <a:gd name="connsiteX19" fmla="*/ 12607 w 58442"/>
                  <a:gd name="connsiteY19" fmla="*/ 54362 h 75859"/>
                  <a:gd name="connsiteX20" fmla="*/ 25651 w 58442"/>
                  <a:gd name="connsiteY20" fmla="*/ 65730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442" h="75859">
                    <a:moveTo>
                      <a:pt x="72" y="54581"/>
                    </a:moveTo>
                    <a:cubicBezTo>
                      <a:pt x="72" y="37529"/>
                      <a:pt x="14647" y="31043"/>
                      <a:pt x="33303" y="31043"/>
                    </a:cubicBezTo>
                    <a:lnTo>
                      <a:pt x="46273" y="31043"/>
                    </a:lnTo>
                    <a:lnTo>
                      <a:pt x="46273" y="26015"/>
                    </a:lnTo>
                    <a:cubicBezTo>
                      <a:pt x="46273" y="15959"/>
                      <a:pt x="41537" y="10275"/>
                      <a:pt x="31481" y="10275"/>
                    </a:cubicBezTo>
                    <a:cubicBezTo>
                      <a:pt x="22080" y="10275"/>
                      <a:pt x="15667" y="14428"/>
                      <a:pt x="10785" y="20987"/>
                    </a:cubicBezTo>
                    <a:lnTo>
                      <a:pt x="2915" y="13117"/>
                    </a:lnTo>
                    <a:cubicBezTo>
                      <a:pt x="8672" y="6194"/>
                      <a:pt x="17635" y="0"/>
                      <a:pt x="32282" y="0"/>
                    </a:cubicBezTo>
                    <a:cubicBezTo>
                      <a:pt x="49626" y="0"/>
                      <a:pt x="58443" y="10566"/>
                      <a:pt x="58443" y="26015"/>
                    </a:cubicBezTo>
                    <a:lnTo>
                      <a:pt x="58443" y="74475"/>
                    </a:lnTo>
                    <a:lnTo>
                      <a:pt x="46784" y="74475"/>
                    </a:lnTo>
                    <a:lnTo>
                      <a:pt x="46784" y="60921"/>
                    </a:lnTo>
                    <a:lnTo>
                      <a:pt x="46492" y="60921"/>
                    </a:lnTo>
                    <a:cubicBezTo>
                      <a:pt x="41610" y="71342"/>
                      <a:pt x="34177" y="75860"/>
                      <a:pt x="22299" y="75860"/>
                    </a:cubicBezTo>
                    <a:cubicBezTo>
                      <a:pt x="9400" y="75860"/>
                      <a:pt x="0" y="68281"/>
                      <a:pt x="0" y="54581"/>
                    </a:cubicBezTo>
                    <a:close/>
                    <a:moveTo>
                      <a:pt x="25651" y="65657"/>
                    </a:moveTo>
                    <a:cubicBezTo>
                      <a:pt x="39132" y="65657"/>
                      <a:pt x="46273" y="56403"/>
                      <a:pt x="46273" y="47294"/>
                    </a:cubicBezTo>
                    <a:lnTo>
                      <a:pt x="46273" y="40225"/>
                    </a:lnTo>
                    <a:lnTo>
                      <a:pt x="34905" y="40225"/>
                    </a:lnTo>
                    <a:cubicBezTo>
                      <a:pt x="23392" y="40225"/>
                      <a:pt x="12607" y="42703"/>
                      <a:pt x="12607" y="54362"/>
                    </a:cubicBezTo>
                    <a:cubicBezTo>
                      <a:pt x="12607" y="61285"/>
                      <a:pt x="17489" y="65730"/>
                      <a:pt x="25651" y="6573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79" name="Freeform 332">
                <a:extLst>
                  <a:ext uri="{FF2B5EF4-FFF2-40B4-BE49-F238E27FC236}">
                    <a16:creationId xmlns:a16="http://schemas.microsoft.com/office/drawing/2014/main" id="{3CD7F773-6AE2-C7F1-FA00-7429E3E48455}"/>
                  </a:ext>
                </a:extLst>
              </p:cNvPr>
              <p:cNvSpPr/>
              <p:nvPr/>
            </p:nvSpPr>
            <p:spPr>
              <a:xfrm>
                <a:off x="7526168" y="3510613"/>
                <a:ext cx="25651" cy="101437"/>
              </a:xfrm>
              <a:custGeom>
                <a:avLst/>
                <a:gdLst>
                  <a:gd name="connsiteX0" fmla="*/ 0 w 25651"/>
                  <a:gd name="connsiteY0" fmla="*/ 83730 h 101437"/>
                  <a:gd name="connsiteX1" fmla="*/ 0 w 25651"/>
                  <a:gd name="connsiteY1" fmla="*/ 0 h 101437"/>
                  <a:gd name="connsiteX2" fmla="*/ 12170 w 25651"/>
                  <a:gd name="connsiteY2" fmla="*/ 0 h 101437"/>
                  <a:gd name="connsiteX3" fmla="*/ 12170 w 25651"/>
                  <a:gd name="connsiteY3" fmla="*/ 81835 h 101437"/>
                  <a:gd name="connsiteX4" fmla="*/ 19165 w 25651"/>
                  <a:gd name="connsiteY4" fmla="*/ 90434 h 101437"/>
                  <a:gd name="connsiteX5" fmla="*/ 25651 w 25651"/>
                  <a:gd name="connsiteY5" fmla="*/ 89560 h 101437"/>
                  <a:gd name="connsiteX6" fmla="*/ 25651 w 25651"/>
                  <a:gd name="connsiteY6" fmla="*/ 100344 h 101437"/>
                  <a:gd name="connsiteX7" fmla="*/ 16761 w 25651"/>
                  <a:gd name="connsiteY7" fmla="*/ 101438 h 101437"/>
                  <a:gd name="connsiteX8" fmla="*/ 0 w 25651"/>
                  <a:gd name="connsiteY8" fmla="*/ 83730 h 10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51" h="101437">
                    <a:moveTo>
                      <a:pt x="0" y="83730"/>
                    </a:moveTo>
                    <a:lnTo>
                      <a:pt x="0" y="0"/>
                    </a:lnTo>
                    <a:lnTo>
                      <a:pt x="12170" y="0"/>
                    </a:lnTo>
                    <a:lnTo>
                      <a:pt x="12170" y="81835"/>
                    </a:lnTo>
                    <a:cubicBezTo>
                      <a:pt x="12170" y="88467"/>
                      <a:pt x="13700" y="90434"/>
                      <a:pt x="19165" y="90434"/>
                    </a:cubicBezTo>
                    <a:cubicBezTo>
                      <a:pt x="21643" y="90434"/>
                      <a:pt x="23683" y="89997"/>
                      <a:pt x="25651" y="89560"/>
                    </a:cubicBezTo>
                    <a:lnTo>
                      <a:pt x="25651" y="100344"/>
                    </a:lnTo>
                    <a:cubicBezTo>
                      <a:pt x="23246" y="101001"/>
                      <a:pt x="19967" y="101438"/>
                      <a:pt x="16761" y="101438"/>
                    </a:cubicBezTo>
                    <a:cubicBezTo>
                      <a:pt x="4737" y="101438"/>
                      <a:pt x="0" y="95462"/>
                      <a:pt x="0" y="8373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80" name="Freeform 333">
                <a:extLst>
                  <a:ext uri="{FF2B5EF4-FFF2-40B4-BE49-F238E27FC236}">
                    <a16:creationId xmlns:a16="http://schemas.microsoft.com/office/drawing/2014/main" id="{F5C07D61-A815-4447-9D23-BB276CA33875}"/>
                  </a:ext>
                </a:extLst>
              </p:cNvPr>
              <p:cNvSpPr/>
              <p:nvPr/>
            </p:nvSpPr>
            <p:spPr>
              <a:xfrm>
                <a:off x="6937217" y="3702630"/>
                <a:ext cx="96992" cy="74475"/>
              </a:xfrm>
              <a:custGeom>
                <a:avLst/>
                <a:gdLst>
                  <a:gd name="connsiteX0" fmla="*/ 0 w 96992"/>
                  <a:gd name="connsiteY0" fmla="*/ 1385 h 74475"/>
                  <a:gd name="connsiteX1" fmla="*/ 11660 w 96992"/>
                  <a:gd name="connsiteY1" fmla="*/ 1385 h 74475"/>
                  <a:gd name="connsiteX2" fmla="*/ 11660 w 96992"/>
                  <a:gd name="connsiteY2" fmla="*/ 16615 h 74475"/>
                  <a:gd name="connsiteX3" fmla="*/ 11951 w 96992"/>
                  <a:gd name="connsiteY3" fmla="*/ 16615 h 74475"/>
                  <a:gd name="connsiteX4" fmla="*/ 33303 w 96992"/>
                  <a:gd name="connsiteY4" fmla="*/ 0 h 74475"/>
                  <a:gd name="connsiteX5" fmla="*/ 53270 w 96992"/>
                  <a:gd name="connsiteY5" fmla="*/ 16615 h 74475"/>
                  <a:gd name="connsiteX6" fmla="*/ 53561 w 96992"/>
                  <a:gd name="connsiteY6" fmla="*/ 16615 h 74475"/>
                  <a:gd name="connsiteX7" fmla="*/ 75641 w 96992"/>
                  <a:gd name="connsiteY7" fmla="*/ 0 h 74475"/>
                  <a:gd name="connsiteX8" fmla="*/ 96993 w 96992"/>
                  <a:gd name="connsiteY8" fmla="*/ 25724 h 74475"/>
                  <a:gd name="connsiteX9" fmla="*/ 96993 w 96992"/>
                  <a:gd name="connsiteY9" fmla="*/ 74475 h 74475"/>
                  <a:gd name="connsiteX10" fmla="*/ 84823 w 96992"/>
                  <a:gd name="connsiteY10" fmla="*/ 74475 h 74475"/>
                  <a:gd name="connsiteX11" fmla="*/ 84823 w 96992"/>
                  <a:gd name="connsiteY11" fmla="*/ 28128 h 74475"/>
                  <a:gd name="connsiteX12" fmla="*/ 71633 w 96992"/>
                  <a:gd name="connsiteY12" fmla="*/ 10785 h 74475"/>
                  <a:gd name="connsiteX13" fmla="*/ 54581 w 96992"/>
                  <a:gd name="connsiteY13" fmla="*/ 32064 h 74475"/>
                  <a:gd name="connsiteX14" fmla="*/ 54581 w 96992"/>
                  <a:gd name="connsiteY14" fmla="*/ 74475 h 74475"/>
                  <a:gd name="connsiteX15" fmla="*/ 42411 w 96992"/>
                  <a:gd name="connsiteY15" fmla="*/ 74475 h 74475"/>
                  <a:gd name="connsiteX16" fmla="*/ 42411 w 96992"/>
                  <a:gd name="connsiteY16" fmla="*/ 28128 h 74475"/>
                  <a:gd name="connsiteX17" fmla="*/ 29222 w 96992"/>
                  <a:gd name="connsiteY17" fmla="*/ 10785 h 74475"/>
                  <a:gd name="connsiteX18" fmla="*/ 12170 w 96992"/>
                  <a:gd name="connsiteY18" fmla="*/ 32064 h 74475"/>
                  <a:gd name="connsiteX19" fmla="*/ 12170 w 96992"/>
                  <a:gd name="connsiteY19" fmla="*/ 74475 h 74475"/>
                  <a:gd name="connsiteX20" fmla="*/ 0 w 96992"/>
                  <a:gd name="connsiteY20" fmla="*/ 74475 h 74475"/>
                  <a:gd name="connsiteX21" fmla="*/ 0 w 96992"/>
                  <a:gd name="connsiteY21"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6992" h="74475">
                    <a:moveTo>
                      <a:pt x="0" y="1385"/>
                    </a:moveTo>
                    <a:lnTo>
                      <a:pt x="11660" y="1385"/>
                    </a:lnTo>
                    <a:lnTo>
                      <a:pt x="11660" y="16615"/>
                    </a:lnTo>
                    <a:lnTo>
                      <a:pt x="11951" y="16615"/>
                    </a:lnTo>
                    <a:cubicBezTo>
                      <a:pt x="15449" y="5976"/>
                      <a:pt x="23174" y="0"/>
                      <a:pt x="33303" y="0"/>
                    </a:cubicBezTo>
                    <a:cubicBezTo>
                      <a:pt x="43432" y="0"/>
                      <a:pt x="50719" y="5174"/>
                      <a:pt x="53270" y="16615"/>
                    </a:cubicBezTo>
                    <a:lnTo>
                      <a:pt x="53561" y="16615"/>
                    </a:lnTo>
                    <a:cubicBezTo>
                      <a:pt x="56913" y="5101"/>
                      <a:pt x="65585" y="0"/>
                      <a:pt x="75641" y="0"/>
                    </a:cubicBezTo>
                    <a:cubicBezTo>
                      <a:pt x="89341" y="0"/>
                      <a:pt x="96993" y="7651"/>
                      <a:pt x="96993" y="25724"/>
                    </a:cubicBezTo>
                    <a:lnTo>
                      <a:pt x="96993" y="74475"/>
                    </a:lnTo>
                    <a:lnTo>
                      <a:pt x="84823" y="74475"/>
                    </a:lnTo>
                    <a:lnTo>
                      <a:pt x="84823" y="28128"/>
                    </a:lnTo>
                    <a:cubicBezTo>
                      <a:pt x="84823" y="17416"/>
                      <a:pt x="81471" y="10785"/>
                      <a:pt x="71633" y="10785"/>
                    </a:cubicBezTo>
                    <a:cubicBezTo>
                      <a:pt x="61213" y="10785"/>
                      <a:pt x="54581" y="18437"/>
                      <a:pt x="54581" y="32064"/>
                    </a:cubicBezTo>
                    <a:lnTo>
                      <a:pt x="54581" y="74475"/>
                    </a:lnTo>
                    <a:lnTo>
                      <a:pt x="42411" y="74475"/>
                    </a:lnTo>
                    <a:lnTo>
                      <a:pt x="42411" y="28128"/>
                    </a:lnTo>
                    <a:cubicBezTo>
                      <a:pt x="42411" y="17416"/>
                      <a:pt x="39060" y="10785"/>
                      <a:pt x="29222" y="10785"/>
                    </a:cubicBezTo>
                    <a:cubicBezTo>
                      <a:pt x="18874" y="10785"/>
                      <a:pt x="12170" y="18437"/>
                      <a:pt x="12170" y="32064"/>
                    </a:cubicBezTo>
                    <a:lnTo>
                      <a:pt x="12170" y="74475"/>
                    </a:lnTo>
                    <a:lnTo>
                      <a:pt x="0" y="74475"/>
                    </a:lnTo>
                    <a:lnTo>
                      <a:pt x="0"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81" name="Freeform 334">
                <a:extLst>
                  <a:ext uri="{FF2B5EF4-FFF2-40B4-BE49-F238E27FC236}">
                    <a16:creationId xmlns:a16="http://schemas.microsoft.com/office/drawing/2014/main" id="{0FF88E30-62E4-6EE9-F5C0-038102E0CFE2}"/>
                  </a:ext>
                </a:extLst>
              </p:cNvPr>
              <p:cNvSpPr/>
              <p:nvPr/>
            </p:nvSpPr>
            <p:spPr>
              <a:xfrm>
                <a:off x="7051553" y="3702484"/>
                <a:ext cx="58443" cy="75859"/>
              </a:xfrm>
              <a:custGeom>
                <a:avLst/>
                <a:gdLst>
                  <a:gd name="connsiteX0" fmla="*/ 73 w 58443"/>
                  <a:gd name="connsiteY0" fmla="*/ 54654 h 75859"/>
                  <a:gd name="connsiteX1" fmla="*/ 33303 w 58443"/>
                  <a:gd name="connsiteY1" fmla="*/ 31116 h 75859"/>
                  <a:gd name="connsiteX2" fmla="*/ 46274 w 58443"/>
                  <a:gd name="connsiteY2" fmla="*/ 31116 h 75859"/>
                  <a:gd name="connsiteX3" fmla="*/ 46274 w 58443"/>
                  <a:gd name="connsiteY3" fmla="*/ 26088 h 75859"/>
                  <a:gd name="connsiteX4" fmla="*/ 31481 w 58443"/>
                  <a:gd name="connsiteY4" fmla="*/ 10348 h 75859"/>
                  <a:gd name="connsiteX5" fmla="*/ 10785 w 58443"/>
                  <a:gd name="connsiteY5" fmla="*/ 20987 h 75859"/>
                  <a:gd name="connsiteX6" fmla="*/ 2915 w 58443"/>
                  <a:gd name="connsiteY6" fmla="*/ 13117 h 75859"/>
                  <a:gd name="connsiteX7" fmla="*/ 32283 w 58443"/>
                  <a:gd name="connsiteY7" fmla="*/ 0 h 75859"/>
                  <a:gd name="connsiteX8" fmla="*/ 58443 w 58443"/>
                  <a:gd name="connsiteY8" fmla="*/ 26015 h 75859"/>
                  <a:gd name="connsiteX9" fmla="*/ 58443 w 58443"/>
                  <a:gd name="connsiteY9" fmla="*/ 74475 h 75859"/>
                  <a:gd name="connsiteX10" fmla="*/ 46784 w 58443"/>
                  <a:gd name="connsiteY10" fmla="*/ 74475 h 75859"/>
                  <a:gd name="connsiteX11" fmla="*/ 46784 w 58443"/>
                  <a:gd name="connsiteY11" fmla="*/ 60921 h 75859"/>
                  <a:gd name="connsiteX12" fmla="*/ 46492 w 58443"/>
                  <a:gd name="connsiteY12" fmla="*/ 60921 h 75859"/>
                  <a:gd name="connsiteX13" fmla="*/ 22299 w 58443"/>
                  <a:gd name="connsiteY13" fmla="*/ 75859 h 75859"/>
                  <a:gd name="connsiteX14" fmla="*/ 0 w 58443"/>
                  <a:gd name="connsiteY14" fmla="*/ 54581 h 75859"/>
                  <a:gd name="connsiteX15" fmla="*/ 25724 w 58443"/>
                  <a:gd name="connsiteY15" fmla="*/ 65730 h 75859"/>
                  <a:gd name="connsiteX16" fmla="*/ 46347 w 58443"/>
                  <a:gd name="connsiteY16" fmla="*/ 47367 h 75859"/>
                  <a:gd name="connsiteX17" fmla="*/ 46347 w 58443"/>
                  <a:gd name="connsiteY17" fmla="*/ 40298 h 75859"/>
                  <a:gd name="connsiteX18" fmla="*/ 34979 w 58443"/>
                  <a:gd name="connsiteY18" fmla="*/ 40298 h 75859"/>
                  <a:gd name="connsiteX19" fmla="*/ 12680 w 58443"/>
                  <a:gd name="connsiteY19" fmla="*/ 54435 h 75859"/>
                  <a:gd name="connsiteX20" fmla="*/ 25724 w 58443"/>
                  <a:gd name="connsiteY20" fmla="*/ 65803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443" h="75859">
                    <a:moveTo>
                      <a:pt x="73" y="54654"/>
                    </a:moveTo>
                    <a:cubicBezTo>
                      <a:pt x="73" y="37602"/>
                      <a:pt x="14647" y="31116"/>
                      <a:pt x="33303" y="31116"/>
                    </a:cubicBezTo>
                    <a:lnTo>
                      <a:pt x="46274" y="31116"/>
                    </a:lnTo>
                    <a:lnTo>
                      <a:pt x="46274" y="26088"/>
                    </a:lnTo>
                    <a:cubicBezTo>
                      <a:pt x="46274" y="16032"/>
                      <a:pt x="41537" y="10348"/>
                      <a:pt x="31481" y="10348"/>
                    </a:cubicBezTo>
                    <a:cubicBezTo>
                      <a:pt x="22080" y="10348"/>
                      <a:pt x="15668" y="14501"/>
                      <a:pt x="10785" y="20987"/>
                    </a:cubicBezTo>
                    <a:lnTo>
                      <a:pt x="2915" y="13117"/>
                    </a:lnTo>
                    <a:cubicBezTo>
                      <a:pt x="8672" y="6194"/>
                      <a:pt x="17635" y="0"/>
                      <a:pt x="32283" y="0"/>
                    </a:cubicBezTo>
                    <a:cubicBezTo>
                      <a:pt x="49626" y="0"/>
                      <a:pt x="58443" y="10566"/>
                      <a:pt x="58443" y="26015"/>
                    </a:cubicBezTo>
                    <a:lnTo>
                      <a:pt x="58443" y="74475"/>
                    </a:lnTo>
                    <a:lnTo>
                      <a:pt x="46784" y="74475"/>
                    </a:lnTo>
                    <a:lnTo>
                      <a:pt x="46784" y="60921"/>
                    </a:lnTo>
                    <a:lnTo>
                      <a:pt x="46492" y="60921"/>
                    </a:lnTo>
                    <a:cubicBezTo>
                      <a:pt x="41610" y="71341"/>
                      <a:pt x="34177" y="75859"/>
                      <a:pt x="22299" y="75859"/>
                    </a:cubicBezTo>
                    <a:cubicBezTo>
                      <a:pt x="9401" y="75859"/>
                      <a:pt x="0" y="68281"/>
                      <a:pt x="0" y="54581"/>
                    </a:cubicBezTo>
                    <a:close/>
                    <a:moveTo>
                      <a:pt x="25724" y="65730"/>
                    </a:moveTo>
                    <a:cubicBezTo>
                      <a:pt x="39205" y="65730"/>
                      <a:pt x="46347" y="56476"/>
                      <a:pt x="46347" y="47367"/>
                    </a:cubicBezTo>
                    <a:lnTo>
                      <a:pt x="46347" y="40298"/>
                    </a:lnTo>
                    <a:lnTo>
                      <a:pt x="34979" y="40298"/>
                    </a:lnTo>
                    <a:cubicBezTo>
                      <a:pt x="23465" y="40298"/>
                      <a:pt x="12680" y="42776"/>
                      <a:pt x="12680" y="54435"/>
                    </a:cubicBezTo>
                    <a:cubicBezTo>
                      <a:pt x="12680" y="61358"/>
                      <a:pt x="17562" y="65803"/>
                      <a:pt x="25724" y="65803"/>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82" name="Freeform 335">
                <a:extLst>
                  <a:ext uri="{FF2B5EF4-FFF2-40B4-BE49-F238E27FC236}">
                    <a16:creationId xmlns:a16="http://schemas.microsoft.com/office/drawing/2014/main" id="{E8752441-8ACF-A31B-E43C-7AB9479727D8}"/>
                  </a:ext>
                </a:extLst>
              </p:cNvPr>
              <p:cNvSpPr/>
              <p:nvPr/>
            </p:nvSpPr>
            <p:spPr>
              <a:xfrm>
                <a:off x="7131056" y="3702630"/>
                <a:ext cx="58588" cy="74475"/>
              </a:xfrm>
              <a:custGeom>
                <a:avLst/>
                <a:gdLst>
                  <a:gd name="connsiteX0" fmla="*/ 0 w 58588"/>
                  <a:gd name="connsiteY0" fmla="*/ 1385 h 74475"/>
                  <a:gd name="connsiteX1" fmla="*/ 11659 w 58588"/>
                  <a:gd name="connsiteY1" fmla="*/ 1385 h 74475"/>
                  <a:gd name="connsiteX2" fmla="*/ 11659 w 58588"/>
                  <a:gd name="connsiteY2" fmla="*/ 16615 h 74475"/>
                  <a:gd name="connsiteX3" fmla="*/ 11951 w 58588"/>
                  <a:gd name="connsiteY3" fmla="*/ 16615 h 74475"/>
                  <a:gd name="connsiteX4" fmla="*/ 35707 w 58588"/>
                  <a:gd name="connsiteY4" fmla="*/ 0 h 74475"/>
                  <a:gd name="connsiteX5" fmla="*/ 58589 w 58588"/>
                  <a:gd name="connsiteY5" fmla="*/ 25724 h 74475"/>
                  <a:gd name="connsiteX6" fmla="*/ 58589 w 58588"/>
                  <a:gd name="connsiteY6" fmla="*/ 74475 h 74475"/>
                  <a:gd name="connsiteX7" fmla="*/ 46346 w 58588"/>
                  <a:gd name="connsiteY7" fmla="*/ 74475 h 74475"/>
                  <a:gd name="connsiteX8" fmla="*/ 46346 w 58588"/>
                  <a:gd name="connsiteY8" fmla="*/ 28128 h 74475"/>
                  <a:gd name="connsiteX9" fmla="*/ 31262 w 58588"/>
                  <a:gd name="connsiteY9" fmla="*/ 10785 h 74475"/>
                  <a:gd name="connsiteX10" fmla="*/ 12242 w 58588"/>
                  <a:gd name="connsiteY10" fmla="*/ 32064 h 74475"/>
                  <a:gd name="connsiteX11" fmla="*/ 12242 w 58588"/>
                  <a:gd name="connsiteY11" fmla="*/ 74475 h 74475"/>
                  <a:gd name="connsiteX12" fmla="*/ 73 w 58588"/>
                  <a:gd name="connsiteY12" fmla="*/ 74475 h 74475"/>
                  <a:gd name="connsiteX13" fmla="*/ 73 w 58588"/>
                  <a:gd name="connsiteY13"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88" h="74475">
                    <a:moveTo>
                      <a:pt x="0" y="1385"/>
                    </a:moveTo>
                    <a:lnTo>
                      <a:pt x="11659" y="1385"/>
                    </a:lnTo>
                    <a:lnTo>
                      <a:pt x="11659" y="16615"/>
                    </a:lnTo>
                    <a:lnTo>
                      <a:pt x="11951" y="16615"/>
                    </a:lnTo>
                    <a:cubicBezTo>
                      <a:pt x="14866" y="8963"/>
                      <a:pt x="20987" y="0"/>
                      <a:pt x="35707" y="0"/>
                    </a:cubicBezTo>
                    <a:cubicBezTo>
                      <a:pt x="51156" y="0"/>
                      <a:pt x="58589" y="10421"/>
                      <a:pt x="58589" y="25724"/>
                    </a:cubicBezTo>
                    <a:lnTo>
                      <a:pt x="58589" y="74475"/>
                    </a:lnTo>
                    <a:lnTo>
                      <a:pt x="46346" y="74475"/>
                    </a:lnTo>
                    <a:lnTo>
                      <a:pt x="46346" y="28128"/>
                    </a:lnTo>
                    <a:cubicBezTo>
                      <a:pt x="46346" y="17416"/>
                      <a:pt x="42484" y="10785"/>
                      <a:pt x="31262" y="10785"/>
                    </a:cubicBezTo>
                    <a:cubicBezTo>
                      <a:pt x="20040" y="10785"/>
                      <a:pt x="12242" y="18437"/>
                      <a:pt x="12242" y="32064"/>
                    </a:cubicBezTo>
                    <a:lnTo>
                      <a:pt x="12242" y="74475"/>
                    </a:lnTo>
                    <a:lnTo>
                      <a:pt x="73" y="74475"/>
                    </a:lnTo>
                    <a:lnTo>
                      <a:pt x="73"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83" name="Freeform 336">
                <a:extLst>
                  <a:ext uri="{FF2B5EF4-FFF2-40B4-BE49-F238E27FC236}">
                    <a16:creationId xmlns:a16="http://schemas.microsoft.com/office/drawing/2014/main" id="{4C46C553-A433-4BD8-F148-2258801EB328}"/>
                  </a:ext>
                </a:extLst>
              </p:cNvPr>
              <p:cNvSpPr/>
              <p:nvPr/>
            </p:nvSpPr>
            <p:spPr>
              <a:xfrm>
                <a:off x="7206916" y="3702484"/>
                <a:ext cx="58443" cy="75859"/>
              </a:xfrm>
              <a:custGeom>
                <a:avLst/>
                <a:gdLst>
                  <a:gd name="connsiteX0" fmla="*/ 73 w 58443"/>
                  <a:gd name="connsiteY0" fmla="*/ 54654 h 75859"/>
                  <a:gd name="connsiteX1" fmla="*/ 33303 w 58443"/>
                  <a:gd name="connsiteY1" fmla="*/ 31116 h 75859"/>
                  <a:gd name="connsiteX2" fmla="*/ 46274 w 58443"/>
                  <a:gd name="connsiteY2" fmla="*/ 31116 h 75859"/>
                  <a:gd name="connsiteX3" fmla="*/ 46274 w 58443"/>
                  <a:gd name="connsiteY3" fmla="*/ 26088 h 75859"/>
                  <a:gd name="connsiteX4" fmla="*/ 31481 w 58443"/>
                  <a:gd name="connsiteY4" fmla="*/ 10348 h 75859"/>
                  <a:gd name="connsiteX5" fmla="*/ 10785 w 58443"/>
                  <a:gd name="connsiteY5" fmla="*/ 20987 h 75859"/>
                  <a:gd name="connsiteX6" fmla="*/ 2915 w 58443"/>
                  <a:gd name="connsiteY6" fmla="*/ 13117 h 75859"/>
                  <a:gd name="connsiteX7" fmla="*/ 32282 w 58443"/>
                  <a:gd name="connsiteY7" fmla="*/ 0 h 75859"/>
                  <a:gd name="connsiteX8" fmla="*/ 58443 w 58443"/>
                  <a:gd name="connsiteY8" fmla="*/ 26015 h 75859"/>
                  <a:gd name="connsiteX9" fmla="*/ 58443 w 58443"/>
                  <a:gd name="connsiteY9" fmla="*/ 74475 h 75859"/>
                  <a:gd name="connsiteX10" fmla="*/ 46784 w 58443"/>
                  <a:gd name="connsiteY10" fmla="*/ 74475 h 75859"/>
                  <a:gd name="connsiteX11" fmla="*/ 46784 w 58443"/>
                  <a:gd name="connsiteY11" fmla="*/ 60921 h 75859"/>
                  <a:gd name="connsiteX12" fmla="*/ 46492 w 58443"/>
                  <a:gd name="connsiteY12" fmla="*/ 60921 h 75859"/>
                  <a:gd name="connsiteX13" fmla="*/ 22299 w 58443"/>
                  <a:gd name="connsiteY13" fmla="*/ 75859 h 75859"/>
                  <a:gd name="connsiteX14" fmla="*/ 0 w 58443"/>
                  <a:gd name="connsiteY14" fmla="*/ 54581 h 75859"/>
                  <a:gd name="connsiteX15" fmla="*/ 25724 w 58443"/>
                  <a:gd name="connsiteY15" fmla="*/ 65730 h 75859"/>
                  <a:gd name="connsiteX16" fmla="*/ 46347 w 58443"/>
                  <a:gd name="connsiteY16" fmla="*/ 47367 h 75859"/>
                  <a:gd name="connsiteX17" fmla="*/ 46347 w 58443"/>
                  <a:gd name="connsiteY17" fmla="*/ 40298 h 75859"/>
                  <a:gd name="connsiteX18" fmla="*/ 34979 w 58443"/>
                  <a:gd name="connsiteY18" fmla="*/ 40298 h 75859"/>
                  <a:gd name="connsiteX19" fmla="*/ 12680 w 58443"/>
                  <a:gd name="connsiteY19" fmla="*/ 54435 h 75859"/>
                  <a:gd name="connsiteX20" fmla="*/ 25724 w 58443"/>
                  <a:gd name="connsiteY20" fmla="*/ 65803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443" h="75859">
                    <a:moveTo>
                      <a:pt x="73" y="54654"/>
                    </a:moveTo>
                    <a:cubicBezTo>
                      <a:pt x="73" y="37602"/>
                      <a:pt x="14647" y="31116"/>
                      <a:pt x="33303" y="31116"/>
                    </a:cubicBezTo>
                    <a:lnTo>
                      <a:pt x="46274" y="31116"/>
                    </a:lnTo>
                    <a:lnTo>
                      <a:pt x="46274" y="26088"/>
                    </a:lnTo>
                    <a:cubicBezTo>
                      <a:pt x="46274" y="16032"/>
                      <a:pt x="41537" y="10348"/>
                      <a:pt x="31481" y="10348"/>
                    </a:cubicBezTo>
                    <a:cubicBezTo>
                      <a:pt x="22080" y="10348"/>
                      <a:pt x="15668" y="14501"/>
                      <a:pt x="10785" y="20987"/>
                    </a:cubicBezTo>
                    <a:lnTo>
                      <a:pt x="2915" y="13117"/>
                    </a:lnTo>
                    <a:cubicBezTo>
                      <a:pt x="8672" y="6194"/>
                      <a:pt x="17635" y="0"/>
                      <a:pt x="32282" y="0"/>
                    </a:cubicBezTo>
                    <a:cubicBezTo>
                      <a:pt x="49626" y="0"/>
                      <a:pt x="58443" y="10566"/>
                      <a:pt x="58443" y="26015"/>
                    </a:cubicBezTo>
                    <a:lnTo>
                      <a:pt x="58443" y="74475"/>
                    </a:lnTo>
                    <a:lnTo>
                      <a:pt x="46784" y="74475"/>
                    </a:lnTo>
                    <a:lnTo>
                      <a:pt x="46784" y="60921"/>
                    </a:lnTo>
                    <a:lnTo>
                      <a:pt x="46492" y="60921"/>
                    </a:lnTo>
                    <a:cubicBezTo>
                      <a:pt x="41610" y="71341"/>
                      <a:pt x="34177" y="75859"/>
                      <a:pt x="22299" y="75859"/>
                    </a:cubicBezTo>
                    <a:cubicBezTo>
                      <a:pt x="9401" y="75859"/>
                      <a:pt x="0" y="68281"/>
                      <a:pt x="0" y="54581"/>
                    </a:cubicBezTo>
                    <a:close/>
                    <a:moveTo>
                      <a:pt x="25724" y="65730"/>
                    </a:moveTo>
                    <a:cubicBezTo>
                      <a:pt x="39205" y="65730"/>
                      <a:pt x="46347" y="56476"/>
                      <a:pt x="46347" y="47367"/>
                    </a:cubicBezTo>
                    <a:lnTo>
                      <a:pt x="46347" y="40298"/>
                    </a:lnTo>
                    <a:lnTo>
                      <a:pt x="34979" y="40298"/>
                    </a:lnTo>
                    <a:cubicBezTo>
                      <a:pt x="23465" y="40298"/>
                      <a:pt x="12680" y="42776"/>
                      <a:pt x="12680" y="54435"/>
                    </a:cubicBezTo>
                    <a:cubicBezTo>
                      <a:pt x="12680" y="61358"/>
                      <a:pt x="17562" y="65803"/>
                      <a:pt x="25724" y="65803"/>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84" name="Freeform 337">
                <a:extLst>
                  <a:ext uri="{FF2B5EF4-FFF2-40B4-BE49-F238E27FC236}">
                    <a16:creationId xmlns:a16="http://schemas.microsoft.com/office/drawing/2014/main" id="{8AC89D1A-D1FC-C102-4BFB-FD4EFE707E85}"/>
                  </a:ext>
                </a:extLst>
              </p:cNvPr>
              <p:cNvSpPr/>
              <p:nvPr/>
            </p:nvSpPr>
            <p:spPr>
              <a:xfrm>
                <a:off x="7280080" y="3694396"/>
                <a:ext cx="68280" cy="112805"/>
              </a:xfrm>
              <a:custGeom>
                <a:avLst/>
                <a:gdLst>
                  <a:gd name="connsiteX0" fmla="*/ 0 w 68280"/>
                  <a:gd name="connsiteY0" fmla="*/ 94442 h 112805"/>
                  <a:gd name="connsiteX1" fmla="*/ 13117 w 68280"/>
                  <a:gd name="connsiteY1" fmla="*/ 78629 h 112805"/>
                  <a:gd name="connsiteX2" fmla="*/ 5101 w 68280"/>
                  <a:gd name="connsiteY2" fmla="*/ 68427 h 112805"/>
                  <a:gd name="connsiteX3" fmla="*/ 15230 w 68280"/>
                  <a:gd name="connsiteY3" fmla="*/ 55820 h 112805"/>
                  <a:gd name="connsiteX4" fmla="*/ 3425 w 68280"/>
                  <a:gd name="connsiteY4" fmla="*/ 34177 h 112805"/>
                  <a:gd name="connsiteX5" fmla="*/ 32063 w 68280"/>
                  <a:gd name="connsiteY5" fmla="*/ 8162 h 112805"/>
                  <a:gd name="connsiteX6" fmla="*/ 48751 w 68280"/>
                  <a:gd name="connsiteY6" fmla="*/ 12097 h 112805"/>
                  <a:gd name="connsiteX7" fmla="*/ 64564 w 68280"/>
                  <a:gd name="connsiteY7" fmla="*/ 0 h 112805"/>
                  <a:gd name="connsiteX8" fmla="*/ 66969 w 68280"/>
                  <a:gd name="connsiteY8" fmla="*/ 0 h 112805"/>
                  <a:gd name="connsiteX9" fmla="*/ 66969 w 68280"/>
                  <a:gd name="connsiteY9" fmla="*/ 12242 h 112805"/>
                  <a:gd name="connsiteX10" fmla="*/ 64491 w 68280"/>
                  <a:gd name="connsiteY10" fmla="*/ 12242 h 112805"/>
                  <a:gd name="connsiteX11" fmla="*/ 52686 w 68280"/>
                  <a:gd name="connsiteY11" fmla="*/ 14866 h 112805"/>
                  <a:gd name="connsiteX12" fmla="*/ 60557 w 68280"/>
                  <a:gd name="connsiteY12" fmla="*/ 34177 h 112805"/>
                  <a:gd name="connsiteX13" fmla="*/ 31772 w 68280"/>
                  <a:gd name="connsiteY13" fmla="*/ 59682 h 112805"/>
                  <a:gd name="connsiteX14" fmla="*/ 19092 w 68280"/>
                  <a:gd name="connsiteY14" fmla="*/ 57496 h 112805"/>
                  <a:gd name="connsiteX15" fmla="*/ 16615 w 68280"/>
                  <a:gd name="connsiteY15" fmla="*/ 62451 h 112805"/>
                  <a:gd name="connsiteX16" fmla="*/ 36436 w 68280"/>
                  <a:gd name="connsiteY16" fmla="*/ 70103 h 112805"/>
                  <a:gd name="connsiteX17" fmla="*/ 68281 w 68280"/>
                  <a:gd name="connsiteY17" fmla="*/ 89560 h 112805"/>
                  <a:gd name="connsiteX18" fmla="*/ 32501 w 68280"/>
                  <a:gd name="connsiteY18" fmla="*/ 112806 h 112805"/>
                  <a:gd name="connsiteX19" fmla="*/ 145 w 68280"/>
                  <a:gd name="connsiteY19" fmla="*/ 94442 h 112805"/>
                  <a:gd name="connsiteX20" fmla="*/ 32938 w 68280"/>
                  <a:gd name="connsiteY20" fmla="*/ 103187 h 112805"/>
                  <a:gd name="connsiteX21" fmla="*/ 55382 w 68280"/>
                  <a:gd name="connsiteY21" fmla="*/ 91017 h 112805"/>
                  <a:gd name="connsiteX22" fmla="*/ 32938 w 68280"/>
                  <a:gd name="connsiteY22" fmla="*/ 81617 h 112805"/>
                  <a:gd name="connsiteX23" fmla="*/ 17781 w 68280"/>
                  <a:gd name="connsiteY23" fmla="*/ 80013 h 112805"/>
                  <a:gd name="connsiteX24" fmla="*/ 11878 w 68280"/>
                  <a:gd name="connsiteY24" fmla="*/ 91017 h 112805"/>
                  <a:gd name="connsiteX25" fmla="*/ 32938 w 68280"/>
                  <a:gd name="connsiteY25" fmla="*/ 103187 h 112805"/>
                  <a:gd name="connsiteX26" fmla="*/ 31553 w 68280"/>
                  <a:gd name="connsiteY26" fmla="*/ 50209 h 112805"/>
                  <a:gd name="connsiteX27" fmla="*/ 48022 w 68280"/>
                  <a:gd name="connsiteY27" fmla="*/ 34250 h 112805"/>
                  <a:gd name="connsiteX28" fmla="*/ 32209 w 68280"/>
                  <a:gd name="connsiteY28" fmla="*/ 17781 h 112805"/>
                  <a:gd name="connsiteX29" fmla="*/ 15886 w 68280"/>
                  <a:gd name="connsiteY29" fmla="*/ 34250 h 112805"/>
                  <a:gd name="connsiteX30" fmla="*/ 31481 w 68280"/>
                  <a:gd name="connsiteY30" fmla="*/ 50209 h 112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8280" h="112805">
                    <a:moveTo>
                      <a:pt x="0" y="94442"/>
                    </a:moveTo>
                    <a:cubicBezTo>
                      <a:pt x="0" y="86207"/>
                      <a:pt x="6121" y="80742"/>
                      <a:pt x="13117" y="78629"/>
                    </a:cubicBezTo>
                    <a:cubicBezTo>
                      <a:pt x="8235" y="76807"/>
                      <a:pt x="5101" y="73674"/>
                      <a:pt x="5101" y="68427"/>
                    </a:cubicBezTo>
                    <a:cubicBezTo>
                      <a:pt x="5101" y="62670"/>
                      <a:pt x="8817" y="58152"/>
                      <a:pt x="15230" y="55820"/>
                    </a:cubicBezTo>
                    <a:cubicBezTo>
                      <a:pt x="7651" y="51520"/>
                      <a:pt x="3425" y="43869"/>
                      <a:pt x="3425" y="34177"/>
                    </a:cubicBezTo>
                    <a:cubicBezTo>
                      <a:pt x="3425" y="20040"/>
                      <a:pt x="13044" y="8162"/>
                      <a:pt x="32063" y="8162"/>
                    </a:cubicBezTo>
                    <a:cubicBezTo>
                      <a:pt x="38986" y="8162"/>
                      <a:pt x="44525" y="9546"/>
                      <a:pt x="48751" y="12097"/>
                    </a:cubicBezTo>
                    <a:cubicBezTo>
                      <a:pt x="51885" y="4591"/>
                      <a:pt x="56038" y="0"/>
                      <a:pt x="64564" y="0"/>
                    </a:cubicBezTo>
                    <a:lnTo>
                      <a:pt x="66969" y="0"/>
                    </a:lnTo>
                    <a:lnTo>
                      <a:pt x="66969" y="12242"/>
                    </a:lnTo>
                    <a:lnTo>
                      <a:pt x="64491" y="12242"/>
                    </a:lnTo>
                    <a:cubicBezTo>
                      <a:pt x="58006" y="12242"/>
                      <a:pt x="55018" y="13190"/>
                      <a:pt x="52686" y="14866"/>
                    </a:cubicBezTo>
                    <a:cubicBezTo>
                      <a:pt x="58006" y="19675"/>
                      <a:pt x="60557" y="26598"/>
                      <a:pt x="60557" y="34177"/>
                    </a:cubicBezTo>
                    <a:cubicBezTo>
                      <a:pt x="60557" y="47877"/>
                      <a:pt x="50646" y="59682"/>
                      <a:pt x="31772" y="59682"/>
                    </a:cubicBezTo>
                    <a:cubicBezTo>
                      <a:pt x="26962" y="59682"/>
                      <a:pt x="22736" y="58953"/>
                      <a:pt x="19092" y="57496"/>
                    </a:cubicBezTo>
                    <a:cubicBezTo>
                      <a:pt x="17562" y="58662"/>
                      <a:pt x="16615" y="60192"/>
                      <a:pt x="16615" y="62451"/>
                    </a:cubicBezTo>
                    <a:cubicBezTo>
                      <a:pt x="16615" y="68427"/>
                      <a:pt x="23392" y="69374"/>
                      <a:pt x="36436" y="70103"/>
                    </a:cubicBezTo>
                    <a:cubicBezTo>
                      <a:pt x="52613" y="70904"/>
                      <a:pt x="68281" y="72362"/>
                      <a:pt x="68281" y="89560"/>
                    </a:cubicBezTo>
                    <a:cubicBezTo>
                      <a:pt x="68281" y="105810"/>
                      <a:pt x="55747" y="112806"/>
                      <a:pt x="32501" y="112806"/>
                    </a:cubicBezTo>
                    <a:cubicBezTo>
                      <a:pt x="9254" y="112806"/>
                      <a:pt x="145" y="104790"/>
                      <a:pt x="145" y="94442"/>
                    </a:cubicBezTo>
                    <a:close/>
                    <a:moveTo>
                      <a:pt x="32938" y="103187"/>
                    </a:moveTo>
                    <a:cubicBezTo>
                      <a:pt x="47075" y="103187"/>
                      <a:pt x="55382" y="100417"/>
                      <a:pt x="55382" y="91017"/>
                    </a:cubicBezTo>
                    <a:cubicBezTo>
                      <a:pt x="55382" y="83365"/>
                      <a:pt x="48460" y="82272"/>
                      <a:pt x="32938" y="81617"/>
                    </a:cubicBezTo>
                    <a:cubicBezTo>
                      <a:pt x="27545" y="81325"/>
                      <a:pt x="22226" y="80961"/>
                      <a:pt x="17781" y="80013"/>
                    </a:cubicBezTo>
                    <a:cubicBezTo>
                      <a:pt x="14356" y="82418"/>
                      <a:pt x="11878" y="86062"/>
                      <a:pt x="11878" y="91017"/>
                    </a:cubicBezTo>
                    <a:cubicBezTo>
                      <a:pt x="11878" y="99762"/>
                      <a:pt x="17708" y="103187"/>
                      <a:pt x="32938" y="103187"/>
                    </a:cubicBezTo>
                    <a:close/>
                    <a:moveTo>
                      <a:pt x="31553" y="50209"/>
                    </a:moveTo>
                    <a:cubicBezTo>
                      <a:pt x="41683" y="50209"/>
                      <a:pt x="48022" y="43650"/>
                      <a:pt x="48022" y="34250"/>
                    </a:cubicBezTo>
                    <a:cubicBezTo>
                      <a:pt x="48022" y="24194"/>
                      <a:pt x="42047" y="17781"/>
                      <a:pt x="32209" y="17781"/>
                    </a:cubicBezTo>
                    <a:cubicBezTo>
                      <a:pt x="22372" y="17781"/>
                      <a:pt x="15886" y="24194"/>
                      <a:pt x="15886" y="34250"/>
                    </a:cubicBezTo>
                    <a:cubicBezTo>
                      <a:pt x="15886" y="45035"/>
                      <a:pt x="22517" y="50209"/>
                      <a:pt x="31481" y="5020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85" name="Freeform 338">
                <a:extLst>
                  <a:ext uri="{FF2B5EF4-FFF2-40B4-BE49-F238E27FC236}">
                    <a16:creationId xmlns:a16="http://schemas.microsoft.com/office/drawing/2014/main" id="{A64FA372-EF28-BC5D-BDEA-A012C4A64EBF}"/>
                  </a:ext>
                </a:extLst>
              </p:cNvPr>
              <p:cNvSpPr/>
              <p:nvPr/>
            </p:nvSpPr>
            <p:spPr>
              <a:xfrm>
                <a:off x="7353826" y="3702630"/>
                <a:ext cx="67333" cy="75859"/>
              </a:xfrm>
              <a:custGeom>
                <a:avLst/>
                <a:gdLst>
                  <a:gd name="connsiteX0" fmla="*/ 73 w 67333"/>
                  <a:gd name="connsiteY0" fmla="*/ 37893 h 75859"/>
                  <a:gd name="connsiteX1" fmla="*/ 35489 w 67333"/>
                  <a:gd name="connsiteY1" fmla="*/ 0 h 75859"/>
                  <a:gd name="connsiteX2" fmla="*/ 67334 w 67333"/>
                  <a:gd name="connsiteY2" fmla="*/ 35270 h 75859"/>
                  <a:gd name="connsiteX3" fmla="*/ 67115 w 67333"/>
                  <a:gd name="connsiteY3" fmla="*/ 40954 h 75859"/>
                  <a:gd name="connsiteX4" fmla="*/ 12826 w 67333"/>
                  <a:gd name="connsiteY4" fmla="*/ 40954 h 75859"/>
                  <a:gd name="connsiteX5" fmla="*/ 36800 w 67333"/>
                  <a:gd name="connsiteY5" fmla="*/ 65512 h 75859"/>
                  <a:gd name="connsiteX6" fmla="*/ 57131 w 67333"/>
                  <a:gd name="connsiteY6" fmla="*/ 56767 h 75859"/>
                  <a:gd name="connsiteX7" fmla="*/ 64783 w 67333"/>
                  <a:gd name="connsiteY7" fmla="*/ 64346 h 75859"/>
                  <a:gd name="connsiteX8" fmla="*/ 36800 w 67333"/>
                  <a:gd name="connsiteY8" fmla="*/ 75860 h 75859"/>
                  <a:gd name="connsiteX9" fmla="*/ 0 w 67333"/>
                  <a:gd name="connsiteY9" fmla="*/ 37966 h 75859"/>
                  <a:gd name="connsiteX10" fmla="*/ 54945 w 67333"/>
                  <a:gd name="connsiteY10" fmla="*/ 31553 h 75859"/>
                  <a:gd name="connsiteX11" fmla="*/ 34905 w 67333"/>
                  <a:gd name="connsiteY11" fmla="*/ 10421 h 75859"/>
                  <a:gd name="connsiteX12" fmla="*/ 13117 w 67333"/>
                  <a:gd name="connsiteY12" fmla="*/ 31553 h 75859"/>
                  <a:gd name="connsiteX13" fmla="*/ 54872 w 67333"/>
                  <a:gd name="connsiteY13" fmla="*/ 31553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333" h="75859">
                    <a:moveTo>
                      <a:pt x="73" y="37893"/>
                    </a:moveTo>
                    <a:cubicBezTo>
                      <a:pt x="73" y="12388"/>
                      <a:pt x="16615" y="0"/>
                      <a:pt x="35489" y="0"/>
                    </a:cubicBezTo>
                    <a:cubicBezTo>
                      <a:pt x="59172" y="0"/>
                      <a:pt x="67334" y="19019"/>
                      <a:pt x="67334" y="35270"/>
                    </a:cubicBezTo>
                    <a:cubicBezTo>
                      <a:pt x="67334" y="37237"/>
                      <a:pt x="67334" y="39205"/>
                      <a:pt x="67115" y="40954"/>
                    </a:cubicBezTo>
                    <a:lnTo>
                      <a:pt x="12826" y="40954"/>
                    </a:lnTo>
                    <a:cubicBezTo>
                      <a:pt x="13700" y="56767"/>
                      <a:pt x="21716" y="65512"/>
                      <a:pt x="36800" y="65512"/>
                    </a:cubicBezTo>
                    <a:cubicBezTo>
                      <a:pt x="45690" y="65512"/>
                      <a:pt x="51812" y="63034"/>
                      <a:pt x="57131" y="56767"/>
                    </a:cubicBezTo>
                    <a:lnTo>
                      <a:pt x="64783" y="64346"/>
                    </a:lnTo>
                    <a:cubicBezTo>
                      <a:pt x="57641" y="72362"/>
                      <a:pt x="49553" y="75860"/>
                      <a:pt x="36800" y="75860"/>
                    </a:cubicBezTo>
                    <a:cubicBezTo>
                      <a:pt x="14720" y="75860"/>
                      <a:pt x="0" y="62597"/>
                      <a:pt x="0" y="37966"/>
                    </a:cubicBezTo>
                    <a:close/>
                    <a:moveTo>
                      <a:pt x="54945" y="31553"/>
                    </a:moveTo>
                    <a:cubicBezTo>
                      <a:pt x="53634" y="17198"/>
                      <a:pt x="46201" y="10421"/>
                      <a:pt x="34905" y="10421"/>
                    </a:cubicBezTo>
                    <a:cubicBezTo>
                      <a:pt x="23610" y="10421"/>
                      <a:pt x="15085" y="17416"/>
                      <a:pt x="13117" y="31553"/>
                    </a:cubicBezTo>
                    <a:lnTo>
                      <a:pt x="54872" y="31553"/>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86" name="Freeform 339">
                <a:extLst>
                  <a:ext uri="{FF2B5EF4-FFF2-40B4-BE49-F238E27FC236}">
                    <a16:creationId xmlns:a16="http://schemas.microsoft.com/office/drawing/2014/main" id="{C9C6A5C7-4CBB-D651-EE5B-5D8E4B76A76E}"/>
                  </a:ext>
                </a:extLst>
              </p:cNvPr>
              <p:cNvSpPr/>
              <p:nvPr/>
            </p:nvSpPr>
            <p:spPr>
              <a:xfrm>
                <a:off x="7438357" y="3702630"/>
                <a:ext cx="96992" cy="74475"/>
              </a:xfrm>
              <a:custGeom>
                <a:avLst/>
                <a:gdLst>
                  <a:gd name="connsiteX0" fmla="*/ 0 w 96992"/>
                  <a:gd name="connsiteY0" fmla="*/ 1385 h 74475"/>
                  <a:gd name="connsiteX1" fmla="*/ 11660 w 96992"/>
                  <a:gd name="connsiteY1" fmla="*/ 1385 h 74475"/>
                  <a:gd name="connsiteX2" fmla="*/ 11660 w 96992"/>
                  <a:gd name="connsiteY2" fmla="*/ 16615 h 74475"/>
                  <a:gd name="connsiteX3" fmla="*/ 11951 w 96992"/>
                  <a:gd name="connsiteY3" fmla="*/ 16615 h 74475"/>
                  <a:gd name="connsiteX4" fmla="*/ 33303 w 96992"/>
                  <a:gd name="connsiteY4" fmla="*/ 0 h 74475"/>
                  <a:gd name="connsiteX5" fmla="*/ 53269 w 96992"/>
                  <a:gd name="connsiteY5" fmla="*/ 16615 h 74475"/>
                  <a:gd name="connsiteX6" fmla="*/ 53561 w 96992"/>
                  <a:gd name="connsiteY6" fmla="*/ 16615 h 74475"/>
                  <a:gd name="connsiteX7" fmla="*/ 75641 w 96992"/>
                  <a:gd name="connsiteY7" fmla="*/ 0 h 74475"/>
                  <a:gd name="connsiteX8" fmla="*/ 96992 w 96992"/>
                  <a:gd name="connsiteY8" fmla="*/ 25724 h 74475"/>
                  <a:gd name="connsiteX9" fmla="*/ 96992 w 96992"/>
                  <a:gd name="connsiteY9" fmla="*/ 74475 h 74475"/>
                  <a:gd name="connsiteX10" fmla="*/ 84823 w 96992"/>
                  <a:gd name="connsiteY10" fmla="*/ 74475 h 74475"/>
                  <a:gd name="connsiteX11" fmla="*/ 84823 w 96992"/>
                  <a:gd name="connsiteY11" fmla="*/ 28128 h 74475"/>
                  <a:gd name="connsiteX12" fmla="*/ 71633 w 96992"/>
                  <a:gd name="connsiteY12" fmla="*/ 10785 h 74475"/>
                  <a:gd name="connsiteX13" fmla="*/ 54581 w 96992"/>
                  <a:gd name="connsiteY13" fmla="*/ 32064 h 74475"/>
                  <a:gd name="connsiteX14" fmla="*/ 54581 w 96992"/>
                  <a:gd name="connsiteY14" fmla="*/ 74475 h 74475"/>
                  <a:gd name="connsiteX15" fmla="*/ 42411 w 96992"/>
                  <a:gd name="connsiteY15" fmla="*/ 74475 h 74475"/>
                  <a:gd name="connsiteX16" fmla="*/ 42411 w 96992"/>
                  <a:gd name="connsiteY16" fmla="*/ 28128 h 74475"/>
                  <a:gd name="connsiteX17" fmla="*/ 29222 w 96992"/>
                  <a:gd name="connsiteY17" fmla="*/ 10785 h 74475"/>
                  <a:gd name="connsiteX18" fmla="*/ 12169 w 96992"/>
                  <a:gd name="connsiteY18" fmla="*/ 32064 h 74475"/>
                  <a:gd name="connsiteX19" fmla="*/ 12169 w 96992"/>
                  <a:gd name="connsiteY19" fmla="*/ 74475 h 74475"/>
                  <a:gd name="connsiteX20" fmla="*/ 0 w 96992"/>
                  <a:gd name="connsiteY20" fmla="*/ 74475 h 74475"/>
                  <a:gd name="connsiteX21" fmla="*/ 0 w 96992"/>
                  <a:gd name="connsiteY21"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6992" h="74475">
                    <a:moveTo>
                      <a:pt x="0" y="1385"/>
                    </a:moveTo>
                    <a:lnTo>
                      <a:pt x="11660" y="1385"/>
                    </a:lnTo>
                    <a:lnTo>
                      <a:pt x="11660" y="16615"/>
                    </a:lnTo>
                    <a:lnTo>
                      <a:pt x="11951" y="16615"/>
                    </a:lnTo>
                    <a:cubicBezTo>
                      <a:pt x="15449" y="5976"/>
                      <a:pt x="23173" y="0"/>
                      <a:pt x="33303" y="0"/>
                    </a:cubicBezTo>
                    <a:cubicBezTo>
                      <a:pt x="43432" y="0"/>
                      <a:pt x="50719" y="5174"/>
                      <a:pt x="53269" y="16615"/>
                    </a:cubicBezTo>
                    <a:lnTo>
                      <a:pt x="53561" y="16615"/>
                    </a:lnTo>
                    <a:cubicBezTo>
                      <a:pt x="56913" y="5101"/>
                      <a:pt x="65585" y="0"/>
                      <a:pt x="75641" y="0"/>
                    </a:cubicBezTo>
                    <a:cubicBezTo>
                      <a:pt x="89341" y="0"/>
                      <a:pt x="96992" y="7651"/>
                      <a:pt x="96992" y="25724"/>
                    </a:cubicBezTo>
                    <a:lnTo>
                      <a:pt x="96992" y="74475"/>
                    </a:lnTo>
                    <a:lnTo>
                      <a:pt x="84823" y="74475"/>
                    </a:lnTo>
                    <a:lnTo>
                      <a:pt x="84823" y="28128"/>
                    </a:lnTo>
                    <a:cubicBezTo>
                      <a:pt x="84823" y="17416"/>
                      <a:pt x="81471" y="10785"/>
                      <a:pt x="71633" y="10785"/>
                    </a:cubicBezTo>
                    <a:cubicBezTo>
                      <a:pt x="61213" y="10785"/>
                      <a:pt x="54581" y="18437"/>
                      <a:pt x="54581" y="32064"/>
                    </a:cubicBezTo>
                    <a:lnTo>
                      <a:pt x="54581" y="74475"/>
                    </a:lnTo>
                    <a:lnTo>
                      <a:pt x="42411" y="74475"/>
                    </a:lnTo>
                    <a:lnTo>
                      <a:pt x="42411" y="28128"/>
                    </a:lnTo>
                    <a:cubicBezTo>
                      <a:pt x="42411" y="17416"/>
                      <a:pt x="39059" y="10785"/>
                      <a:pt x="29222" y="10785"/>
                    </a:cubicBezTo>
                    <a:cubicBezTo>
                      <a:pt x="18874" y="10785"/>
                      <a:pt x="12169" y="18437"/>
                      <a:pt x="12169" y="32064"/>
                    </a:cubicBezTo>
                    <a:lnTo>
                      <a:pt x="12169" y="74475"/>
                    </a:lnTo>
                    <a:lnTo>
                      <a:pt x="0" y="74475"/>
                    </a:lnTo>
                    <a:lnTo>
                      <a:pt x="0"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87" name="Freeform 340">
                <a:extLst>
                  <a:ext uri="{FF2B5EF4-FFF2-40B4-BE49-F238E27FC236}">
                    <a16:creationId xmlns:a16="http://schemas.microsoft.com/office/drawing/2014/main" id="{6A7AF1B4-A193-34CF-617A-E4FDBCBC4E10}"/>
                  </a:ext>
                </a:extLst>
              </p:cNvPr>
              <p:cNvSpPr/>
              <p:nvPr/>
            </p:nvSpPr>
            <p:spPr>
              <a:xfrm>
                <a:off x="7551819" y="3702630"/>
                <a:ext cx="67333" cy="75859"/>
              </a:xfrm>
              <a:custGeom>
                <a:avLst/>
                <a:gdLst>
                  <a:gd name="connsiteX0" fmla="*/ 73 w 67333"/>
                  <a:gd name="connsiteY0" fmla="*/ 37893 h 75859"/>
                  <a:gd name="connsiteX1" fmla="*/ 35489 w 67333"/>
                  <a:gd name="connsiteY1" fmla="*/ 0 h 75859"/>
                  <a:gd name="connsiteX2" fmla="*/ 67334 w 67333"/>
                  <a:gd name="connsiteY2" fmla="*/ 35270 h 75859"/>
                  <a:gd name="connsiteX3" fmla="*/ 67115 w 67333"/>
                  <a:gd name="connsiteY3" fmla="*/ 40954 h 75859"/>
                  <a:gd name="connsiteX4" fmla="*/ 12826 w 67333"/>
                  <a:gd name="connsiteY4" fmla="*/ 40954 h 75859"/>
                  <a:gd name="connsiteX5" fmla="*/ 36800 w 67333"/>
                  <a:gd name="connsiteY5" fmla="*/ 65512 h 75859"/>
                  <a:gd name="connsiteX6" fmla="*/ 57132 w 67333"/>
                  <a:gd name="connsiteY6" fmla="*/ 56767 h 75859"/>
                  <a:gd name="connsiteX7" fmla="*/ 64783 w 67333"/>
                  <a:gd name="connsiteY7" fmla="*/ 64346 h 75859"/>
                  <a:gd name="connsiteX8" fmla="*/ 36800 w 67333"/>
                  <a:gd name="connsiteY8" fmla="*/ 75860 h 75859"/>
                  <a:gd name="connsiteX9" fmla="*/ 0 w 67333"/>
                  <a:gd name="connsiteY9" fmla="*/ 37966 h 75859"/>
                  <a:gd name="connsiteX10" fmla="*/ 54945 w 67333"/>
                  <a:gd name="connsiteY10" fmla="*/ 31553 h 75859"/>
                  <a:gd name="connsiteX11" fmla="*/ 34905 w 67333"/>
                  <a:gd name="connsiteY11" fmla="*/ 10421 h 75859"/>
                  <a:gd name="connsiteX12" fmla="*/ 13117 w 67333"/>
                  <a:gd name="connsiteY12" fmla="*/ 31553 h 75859"/>
                  <a:gd name="connsiteX13" fmla="*/ 54873 w 67333"/>
                  <a:gd name="connsiteY13" fmla="*/ 31553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333" h="75859">
                    <a:moveTo>
                      <a:pt x="73" y="37893"/>
                    </a:moveTo>
                    <a:cubicBezTo>
                      <a:pt x="73" y="12388"/>
                      <a:pt x="16615" y="0"/>
                      <a:pt x="35489" y="0"/>
                    </a:cubicBezTo>
                    <a:cubicBezTo>
                      <a:pt x="59172" y="0"/>
                      <a:pt x="67334" y="19019"/>
                      <a:pt x="67334" y="35270"/>
                    </a:cubicBezTo>
                    <a:cubicBezTo>
                      <a:pt x="67334" y="37237"/>
                      <a:pt x="67334" y="39205"/>
                      <a:pt x="67115" y="40954"/>
                    </a:cubicBezTo>
                    <a:lnTo>
                      <a:pt x="12826" y="40954"/>
                    </a:lnTo>
                    <a:cubicBezTo>
                      <a:pt x="13700" y="56767"/>
                      <a:pt x="21716" y="65512"/>
                      <a:pt x="36800" y="65512"/>
                    </a:cubicBezTo>
                    <a:cubicBezTo>
                      <a:pt x="45691" y="65512"/>
                      <a:pt x="51812" y="63034"/>
                      <a:pt x="57132" y="56767"/>
                    </a:cubicBezTo>
                    <a:lnTo>
                      <a:pt x="64783" y="64346"/>
                    </a:lnTo>
                    <a:cubicBezTo>
                      <a:pt x="57641" y="72362"/>
                      <a:pt x="49553" y="75860"/>
                      <a:pt x="36800" y="75860"/>
                    </a:cubicBezTo>
                    <a:cubicBezTo>
                      <a:pt x="14720" y="75860"/>
                      <a:pt x="0" y="62597"/>
                      <a:pt x="0" y="37966"/>
                    </a:cubicBezTo>
                    <a:close/>
                    <a:moveTo>
                      <a:pt x="54945" y="31553"/>
                    </a:moveTo>
                    <a:cubicBezTo>
                      <a:pt x="53634" y="17198"/>
                      <a:pt x="46201" y="10421"/>
                      <a:pt x="34905" y="10421"/>
                    </a:cubicBezTo>
                    <a:cubicBezTo>
                      <a:pt x="23610" y="10421"/>
                      <a:pt x="15085" y="17416"/>
                      <a:pt x="13117" y="31553"/>
                    </a:cubicBezTo>
                    <a:lnTo>
                      <a:pt x="54873" y="31553"/>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88" name="Freeform 341">
                <a:extLst>
                  <a:ext uri="{FF2B5EF4-FFF2-40B4-BE49-F238E27FC236}">
                    <a16:creationId xmlns:a16="http://schemas.microsoft.com/office/drawing/2014/main" id="{F30F6192-D549-CD3C-5F04-F0F4A6FC8933}"/>
                  </a:ext>
                </a:extLst>
              </p:cNvPr>
              <p:cNvSpPr/>
              <p:nvPr/>
            </p:nvSpPr>
            <p:spPr>
              <a:xfrm>
                <a:off x="7636350" y="3702630"/>
                <a:ext cx="58589" cy="74475"/>
              </a:xfrm>
              <a:custGeom>
                <a:avLst/>
                <a:gdLst>
                  <a:gd name="connsiteX0" fmla="*/ 0 w 58589"/>
                  <a:gd name="connsiteY0" fmla="*/ 1385 h 74475"/>
                  <a:gd name="connsiteX1" fmla="*/ 11660 w 58589"/>
                  <a:gd name="connsiteY1" fmla="*/ 1385 h 74475"/>
                  <a:gd name="connsiteX2" fmla="*/ 11660 w 58589"/>
                  <a:gd name="connsiteY2" fmla="*/ 16615 h 74475"/>
                  <a:gd name="connsiteX3" fmla="*/ 11951 w 58589"/>
                  <a:gd name="connsiteY3" fmla="*/ 16615 h 74475"/>
                  <a:gd name="connsiteX4" fmla="*/ 35707 w 58589"/>
                  <a:gd name="connsiteY4" fmla="*/ 0 h 74475"/>
                  <a:gd name="connsiteX5" fmla="*/ 58589 w 58589"/>
                  <a:gd name="connsiteY5" fmla="*/ 25724 h 74475"/>
                  <a:gd name="connsiteX6" fmla="*/ 58589 w 58589"/>
                  <a:gd name="connsiteY6" fmla="*/ 74475 h 74475"/>
                  <a:gd name="connsiteX7" fmla="*/ 46347 w 58589"/>
                  <a:gd name="connsiteY7" fmla="*/ 74475 h 74475"/>
                  <a:gd name="connsiteX8" fmla="*/ 46347 w 58589"/>
                  <a:gd name="connsiteY8" fmla="*/ 28128 h 74475"/>
                  <a:gd name="connsiteX9" fmla="*/ 31262 w 58589"/>
                  <a:gd name="connsiteY9" fmla="*/ 10785 h 74475"/>
                  <a:gd name="connsiteX10" fmla="*/ 12243 w 58589"/>
                  <a:gd name="connsiteY10" fmla="*/ 32064 h 74475"/>
                  <a:gd name="connsiteX11" fmla="*/ 12243 w 58589"/>
                  <a:gd name="connsiteY11" fmla="*/ 74475 h 74475"/>
                  <a:gd name="connsiteX12" fmla="*/ 73 w 58589"/>
                  <a:gd name="connsiteY12" fmla="*/ 74475 h 74475"/>
                  <a:gd name="connsiteX13" fmla="*/ 73 w 58589"/>
                  <a:gd name="connsiteY13"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89" h="74475">
                    <a:moveTo>
                      <a:pt x="0" y="1385"/>
                    </a:moveTo>
                    <a:lnTo>
                      <a:pt x="11660" y="1385"/>
                    </a:lnTo>
                    <a:lnTo>
                      <a:pt x="11660" y="16615"/>
                    </a:lnTo>
                    <a:lnTo>
                      <a:pt x="11951" y="16615"/>
                    </a:lnTo>
                    <a:cubicBezTo>
                      <a:pt x="14866" y="8963"/>
                      <a:pt x="20987" y="0"/>
                      <a:pt x="35707" y="0"/>
                    </a:cubicBezTo>
                    <a:cubicBezTo>
                      <a:pt x="51156" y="0"/>
                      <a:pt x="58589" y="10421"/>
                      <a:pt x="58589" y="25724"/>
                    </a:cubicBezTo>
                    <a:lnTo>
                      <a:pt x="58589" y="74475"/>
                    </a:lnTo>
                    <a:lnTo>
                      <a:pt x="46347" y="74475"/>
                    </a:lnTo>
                    <a:lnTo>
                      <a:pt x="46347" y="28128"/>
                    </a:lnTo>
                    <a:cubicBezTo>
                      <a:pt x="46347" y="17416"/>
                      <a:pt x="42484" y="10785"/>
                      <a:pt x="31262" y="10785"/>
                    </a:cubicBezTo>
                    <a:cubicBezTo>
                      <a:pt x="20040" y="10785"/>
                      <a:pt x="12243" y="18437"/>
                      <a:pt x="12243" y="32064"/>
                    </a:cubicBezTo>
                    <a:lnTo>
                      <a:pt x="12243" y="74475"/>
                    </a:lnTo>
                    <a:lnTo>
                      <a:pt x="73" y="74475"/>
                    </a:lnTo>
                    <a:lnTo>
                      <a:pt x="73"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89" name="Freeform 342">
                <a:extLst>
                  <a:ext uri="{FF2B5EF4-FFF2-40B4-BE49-F238E27FC236}">
                    <a16:creationId xmlns:a16="http://schemas.microsoft.com/office/drawing/2014/main" id="{418E416A-0437-266B-76A4-1959776BE1B8}"/>
                  </a:ext>
                </a:extLst>
              </p:cNvPr>
              <p:cNvSpPr/>
              <p:nvPr/>
            </p:nvSpPr>
            <p:spPr>
              <a:xfrm>
                <a:off x="7706453" y="3686307"/>
                <a:ext cx="39350" cy="91818"/>
              </a:xfrm>
              <a:custGeom>
                <a:avLst/>
                <a:gdLst>
                  <a:gd name="connsiteX0" fmla="*/ 10785 w 39350"/>
                  <a:gd name="connsiteY0" fmla="*/ 75058 h 91818"/>
                  <a:gd name="connsiteX1" fmla="*/ 10785 w 39350"/>
                  <a:gd name="connsiteY1" fmla="*/ 27910 h 91818"/>
                  <a:gd name="connsiteX2" fmla="*/ 0 w 39350"/>
                  <a:gd name="connsiteY2" fmla="*/ 27910 h 91818"/>
                  <a:gd name="connsiteX3" fmla="*/ 0 w 39350"/>
                  <a:gd name="connsiteY3" fmla="*/ 21570 h 91818"/>
                  <a:gd name="connsiteX4" fmla="*/ 21570 w 39350"/>
                  <a:gd name="connsiteY4" fmla="*/ 0 h 91818"/>
                  <a:gd name="connsiteX5" fmla="*/ 22954 w 39350"/>
                  <a:gd name="connsiteY5" fmla="*/ 0 h 91818"/>
                  <a:gd name="connsiteX6" fmla="*/ 22954 w 39350"/>
                  <a:gd name="connsiteY6" fmla="*/ 17708 h 91818"/>
                  <a:gd name="connsiteX7" fmla="*/ 39351 w 39350"/>
                  <a:gd name="connsiteY7" fmla="*/ 17708 h 91818"/>
                  <a:gd name="connsiteX8" fmla="*/ 39351 w 39350"/>
                  <a:gd name="connsiteY8" fmla="*/ 27910 h 91818"/>
                  <a:gd name="connsiteX9" fmla="*/ 22954 w 39350"/>
                  <a:gd name="connsiteY9" fmla="*/ 27910 h 91818"/>
                  <a:gd name="connsiteX10" fmla="*/ 22954 w 39350"/>
                  <a:gd name="connsiteY10" fmla="*/ 72507 h 91818"/>
                  <a:gd name="connsiteX11" fmla="*/ 30971 w 39350"/>
                  <a:gd name="connsiteY11" fmla="*/ 80815 h 91818"/>
                  <a:gd name="connsiteX12" fmla="*/ 39278 w 39350"/>
                  <a:gd name="connsiteY12" fmla="*/ 79649 h 91818"/>
                  <a:gd name="connsiteX13" fmla="*/ 39278 w 39350"/>
                  <a:gd name="connsiteY13" fmla="*/ 90725 h 91818"/>
                  <a:gd name="connsiteX14" fmla="*/ 29149 w 39350"/>
                  <a:gd name="connsiteY14" fmla="*/ 91818 h 91818"/>
                  <a:gd name="connsiteX15" fmla="*/ 10785 w 39350"/>
                  <a:gd name="connsiteY15" fmla="*/ 74985 h 9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50" h="91818">
                    <a:moveTo>
                      <a:pt x="10785" y="75058"/>
                    </a:moveTo>
                    <a:lnTo>
                      <a:pt x="10785" y="27910"/>
                    </a:lnTo>
                    <a:lnTo>
                      <a:pt x="0" y="27910"/>
                    </a:lnTo>
                    <a:lnTo>
                      <a:pt x="0" y="21570"/>
                    </a:lnTo>
                    <a:lnTo>
                      <a:pt x="21570" y="0"/>
                    </a:lnTo>
                    <a:lnTo>
                      <a:pt x="22954" y="0"/>
                    </a:lnTo>
                    <a:lnTo>
                      <a:pt x="22954" y="17708"/>
                    </a:lnTo>
                    <a:lnTo>
                      <a:pt x="39351" y="17708"/>
                    </a:lnTo>
                    <a:lnTo>
                      <a:pt x="39351" y="27910"/>
                    </a:lnTo>
                    <a:lnTo>
                      <a:pt x="22954" y="27910"/>
                    </a:lnTo>
                    <a:lnTo>
                      <a:pt x="22954" y="72507"/>
                    </a:lnTo>
                    <a:cubicBezTo>
                      <a:pt x="22954" y="78993"/>
                      <a:pt x="25067" y="80815"/>
                      <a:pt x="30971" y="80815"/>
                    </a:cubicBezTo>
                    <a:cubicBezTo>
                      <a:pt x="33885" y="80815"/>
                      <a:pt x="36800" y="80378"/>
                      <a:pt x="39278" y="79649"/>
                    </a:cubicBezTo>
                    <a:lnTo>
                      <a:pt x="39278" y="90725"/>
                    </a:lnTo>
                    <a:cubicBezTo>
                      <a:pt x="36654" y="91381"/>
                      <a:pt x="32719" y="91818"/>
                      <a:pt x="29149" y="91818"/>
                    </a:cubicBezTo>
                    <a:cubicBezTo>
                      <a:pt x="16469" y="91818"/>
                      <a:pt x="10785" y="86717"/>
                      <a:pt x="10785" y="7498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grpSp>
          <p:nvGrpSpPr>
            <p:cNvPr id="1690" name="Graphic 2">
              <a:extLst>
                <a:ext uri="{FF2B5EF4-FFF2-40B4-BE49-F238E27FC236}">
                  <a16:creationId xmlns:a16="http://schemas.microsoft.com/office/drawing/2014/main" id="{9C8D278F-7605-BE6C-68E5-7DCE3E7AE9C5}"/>
                </a:ext>
              </a:extLst>
            </p:cNvPr>
            <p:cNvGrpSpPr/>
            <p:nvPr/>
          </p:nvGrpSpPr>
          <p:grpSpPr>
            <a:xfrm>
              <a:off x="7668717" y="4446814"/>
              <a:ext cx="699165" cy="291483"/>
              <a:chOff x="7670746" y="4447089"/>
              <a:chExt cx="699350" cy="291560"/>
            </a:xfrm>
            <a:solidFill>
              <a:srgbClr val="00144A"/>
            </a:solidFill>
          </p:grpSpPr>
          <p:sp>
            <p:nvSpPr>
              <p:cNvPr id="1691" name="Freeform 344">
                <a:extLst>
                  <a:ext uri="{FF2B5EF4-FFF2-40B4-BE49-F238E27FC236}">
                    <a16:creationId xmlns:a16="http://schemas.microsoft.com/office/drawing/2014/main" id="{78B9E59A-28EB-A174-3FF7-941C6BB26E2A}"/>
                  </a:ext>
                </a:extLst>
              </p:cNvPr>
              <p:cNvSpPr/>
              <p:nvPr/>
            </p:nvSpPr>
            <p:spPr>
              <a:xfrm>
                <a:off x="7718987" y="4447089"/>
                <a:ext cx="83074" cy="97939"/>
              </a:xfrm>
              <a:custGeom>
                <a:avLst/>
                <a:gdLst>
                  <a:gd name="connsiteX0" fmla="*/ 0 w 83074"/>
                  <a:gd name="connsiteY0" fmla="*/ 49043 h 97939"/>
                  <a:gd name="connsiteX1" fmla="*/ 46784 w 83074"/>
                  <a:gd name="connsiteY1" fmla="*/ 0 h 97939"/>
                  <a:gd name="connsiteX2" fmla="*/ 83074 w 83074"/>
                  <a:gd name="connsiteY2" fmla="*/ 15303 h 97939"/>
                  <a:gd name="connsiteX3" fmla="*/ 74111 w 83074"/>
                  <a:gd name="connsiteY3" fmla="*/ 24266 h 97939"/>
                  <a:gd name="connsiteX4" fmla="*/ 46784 w 83074"/>
                  <a:gd name="connsiteY4" fmla="*/ 11951 h 97939"/>
                  <a:gd name="connsiteX5" fmla="*/ 13117 w 83074"/>
                  <a:gd name="connsiteY5" fmla="*/ 48970 h 97939"/>
                  <a:gd name="connsiteX6" fmla="*/ 46784 w 83074"/>
                  <a:gd name="connsiteY6" fmla="*/ 86062 h 97939"/>
                  <a:gd name="connsiteX7" fmla="*/ 74111 w 83074"/>
                  <a:gd name="connsiteY7" fmla="*/ 73746 h 97939"/>
                  <a:gd name="connsiteX8" fmla="*/ 83074 w 83074"/>
                  <a:gd name="connsiteY8" fmla="*/ 82709 h 97939"/>
                  <a:gd name="connsiteX9" fmla="*/ 46784 w 83074"/>
                  <a:gd name="connsiteY9" fmla="*/ 97940 h 97939"/>
                  <a:gd name="connsiteX10" fmla="*/ 0 w 83074"/>
                  <a:gd name="connsiteY10" fmla="*/ 48897 h 97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074" h="97939">
                    <a:moveTo>
                      <a:pt x="0" y="49043"/>
                    </a:moveTo>
                    <a:cubicBezTo>
                      <a:pt x="0" y="15303"/>
                      <a:pt x="20987" y="0"/>
                      <a:pt x="46784" y="0"/>
                    </a:cubicBezTo>
                    <a:cubicBezTo>
                      <a:pt x="62670" y="0"/>
                      <a:pt x="74985" y="5757"/>
                      <a:pt x="83074" y="15303"/>
                    </a:cubicBezTo>
                    <a:lnTo>
                      <a:pt x="74111" y="24266"/>
                    </a:lnTo>
                    <a:cubicBezTo>
                      <a:pt x="68427" y="17198"/>
                      <a:pt x="60192" y="11951"/>
                      <a:pt x="46784" y="11951"/>
                    </a:cubicBezTo>
                    <a:cubicBezTo>
                      <a:pt x="25068" y="11951"/>
                      <a:pt x="13117" y="25505"/>
                      <a:pt x="13117" y="48970"/>
                    </a:cubicBezTo>
                    <a:cubicBezTo>
                      <a:pt x="13117" y="72435"/>
                      <a:pt x="25068" y="86062"/>
                      <a:pt x="46784" y="86062"/>
                    </a:cubicBezTo>
                    <a:cubicBezTo>
                      <a:pt x="60192" y="86062"/>
                      <a:pt x="68427" y="80888"/>
                      <a:pt x="74111" y="73746"/>
                    </a:cubicBezTo>
                    <a:lnTo>
                      <a:pt x="83074" y="82709"/>
                    </a:lnTo>
                    <a:cubicBezTo>
                      <a:pt x="74985" y="92256"/>
                      <a:pt x="62670" y="97940"/>
                      <a:pt x="46784" y="97940"/>
                    </a:cubicBezTo>
                    <a:cubicBezTo>
                      <a:pt x="20987" y="97940"/>
                      <a:pt x="0" y="82709"/>
                      <a:pt x="0" y="48897"/>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92" name="Freeform 345">
                <a:extLst>
                  <a:ext uri="{FF2B5EF4-FFF2-40B4-BE49-F238E27FC236}">
                    <a16:creationId xmlns:a16="http://schemas.microsoft.com/office/drawing/2014/main" id="{A9366625-2E8F-2450-AD5B-CE2D1931BF8F}"/>
                  </a:ext>
                </a:extLst>
              </p:cNvPr>
              <p:cNvSpPr/>
              <p:nvPr/>
            </p:nvSpPr>
            <p:spPr>
              <a:xfrm>
                <a:off x="7815323" y="4470699"/>
                <a:ext cx="58443" cy="74475"/>
              </a:xfrm>
              <a:custGeom>
                <a:avLst/>
                <a:gdLst>
                  <a:gd name="connsiteX0" fmla="*/ 0 w 58443"/>
                  <a:gd name="connsiteY0" fmla="*/ 48751 h 74475"/>
                  <a:gd name="connsiteX1" fmla="*/ 0 w 58443"/>
                  <a:gd name="connsiteY1" fmla="*/ 0 h 74475"/>
                  <a:gd name="connsiteX2" fmla="*/ 12170 w 58443"/>
                  <a:gd name="connsiteY2" fmla="*/ 0 h 74475"/>
                  <a:gd name="connsiteX3" fmla="*/ 12170 w 58443"/>
                  <a:gd name="connsiteY3" fmla="*/ 46419 h 74475"/>
                  <a:gd name="connsiteX4" fmla="*/ 27327 w 58443"/>
                  <a:gd name="connsiteY4" fmla="*/ 63763 h 74475"/>
                  <a:gd name="connsiteX5" fmla="*/ 46274 w 58443"/>
                  <a:gd name="connsiteY5" fmla="*/ 42411 h 74475"/>
                  <a:gd name="connsiteX6" fmla="*/ 46274 w 58443"/>
                  <a:gd name="connsiteY6" fmla="*/ 73 h 74475"/>
                  <a:gd name="connsiteX7" fmla="*/ 58443 w 58443"/>
                  <a:gd name="connsiteY7" fmla="*/ 73 h 74475"/>
                  <a:gd name="connsiteX8" fmla="*/ 58443 w 58443"/>
                  <a:gd name="connsiteY8" fmla="*/ 73163 h 74475"/>
                  <a:gd name="connsiteX9" fmla="*/ 46784 w 58443"/>
                  <a:gd name="connsiteY9" fmla="*/ 73163 h 74475"/>
                  <a:gd name="connsiteX10" fmla="*/ 46784 w 58443"/>
                  <a:gd name="connsiteY10" fmla="*/ 57933 h 74475"/>
                  <a:gd name="connsiteX11" fmla="*/ 46492 w 58443"/>
                  <a:gd name="connsiteY11" fmla="*/ 57933 h 74475"/>
                  <a:gd name="connsiteX12" fmla="*/ 22809 w 58443"/>
                  <a:gd name="connsiteY12" fmla="*/ 74475 h 74475"/>
                  <a:gd name="connsiteX13" fmla="*/ 0 w 58443"/>
                  <a:gd name="connsiteY13" fmla="*/ 48751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443" h="74475">
                    <a:moveTo>
                      <a:pt x="0" y="48751"/>
                    </a:moveTo>
                    <a:lnTo>
                      <a:pt x="0" y="0"/>
                    </a:lnTo>
                    <a:lnTo>
                      <a:pt x="12170" y="0"/>
                    </a:lnTo>
                    <a:lnTo>
                      <a:pt x="12170" y="46419"/>
                    </a:lnTo>
                    <a:cubicBezTo>
                      <a:pt x="12170" y="57059"/>
                      <a:pt x="16105" y="63763"/>
                      <a:pt x="27327" y="63763"/>
                    </a:cubicBezTo>
                    <a:cubicBezTo>
                      <a:pt x="38550" y="63763"/>
                      <a:pt x="46274" y="56111"/>
                      <a:pt x="46274" y="42411"/>
                    </a:cubicBezTo>
                    <a:lnTo>
                      <a:pt x="46274" y="73"/>
                    </a:lnTo>
                    <a:lnTo>
                      <a:pt x="58443" y="73"/>
                    </a:lnTo>
                    <a:lnTo>
                      <a:pt x="58443" y="73163"/>
                    </a:lnTo>
                    <a:lnTo>
                      <a:pt x="46784" y="73163"/>
                    </a:lnTo>
                    <a:lnTo>
                      <a:pt x="46784" y="57933"/>
                    </a:lnTo>
                    <a:lnTo>
                      <a:pt x="46492" y="57933"/>
                    </a:lnTo>
                    <a:cubicBezTo>
                      <a:pt x="43578" y="65512"/>
                      <a:pt x="37529" y="74475"/>
                      <a:pt x="22809" y="74475"/>
                    </a:cubicBezTo>
                    <a:cubicBezTo>
                      <a:pt x="7360" y="74475"/>
                      <a:pt x="0" y="64127"/>
                      <a:pt x="0" y="4875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93" name="Freeform 346">
                <a:extLst>
                  <a:ext uri="{FF2B5EF4-FFF2-40B4-BE49-F238E27FC236}">
                    <a16:creationId xmlns:a16="http://schemas.microsoft.com/office/drawing/2014/main" id="{F995B8A3-9775-87BC-1E01-550E7C9DD564}"/>
                  </a:ext>
                </a:extLst>
              </p:cNvPr>
              <p:cNvSpPr/>
              <p:nvPr/>
            </p:nvSpPr>
            <p:spPr>
              <a:xfrm>
                <a:off x="7888924" y="4469315"/>
                <a:ext cx="56839" cy="75932"/>
              </a:xfrm>
              <a:custGeom>
                <a:avLst/>
                <a:gdLst>
                  <a:gd name="connsiteX0" fmla="*/ 73 w 56839"/>
                  <a:gd name="connsiteY0" fmla="*/ 64346 h 75932"/>
                  <a:gd name="connsiteX1" fmla="*/ 7943 w 56839"/>
                  <a:gd name="connsiteY1" fmla="*/ 56549 h 75932"/>
                  <a:gd name="connsiteX2" fmla="*/ 29295 w 56839"/>
                  <a:gd name="connsiteY2" fmla="*/ 65731 h 75932"/>
                  <a:gd name="connsiteX3" fmla="*/ 44962 w 56839"/>
                  <a:gd name="connsiteY3" fmla="*/ 55164 h 75932"/>
                  <a:gd name="connsiteX4" fmla="*/ 26525 w 56839"/>
                  <a:gd name="connsiteY4" fmla="*/ 41537 h 75932"/>
                  <a:gd name="connsiteX5" fmla="*/ 3425 w 56839"/>
                  <a:gd name="connsiteY5" fmla="*/ 20331 h 75932"/>
                  <a:gd name="connsiteX6" fmla="*/ 29149 w 56839"/>
                  <a:gd name="connsiteY6" fmla="*/ 0 h 75932"/>
                  <a:gd name="connsiteX7" fmla="*/ 54872 w 56839"/>
                  <a:gd name="connsiteY7" fmla="*/ 9692 h 75932"/>
                  <a:gd name="connsiteX8" fmla="*/ 47075 w 56839"/>
                  <a:gd name="connsiteY8" fmla="*/ 17489 h 75932"/>
                  <a:gd name="connsiteX9" fmla="*/ 29149 w 56839"/>
                  <a:gd name="connsiteY9" fmla="*/ 10348 h 75932"/>
                  <a:gd name="connsiteX10" fmla="*/ 15157 w 56839"/>
                  <a:gd name="connsiteY10" fmla="*/ 19894 h 75932"/>
                  <a:gd name="connsiteX11" fmla="*/ 33740 w 56839"/>
                  <a:gd name="connsiteY11" fmla="*/ 31918 h 75932"/>
                  <a:gd name="connsiteX12" fmla="*/ 56840 w 56839"/>
                  <a:gd name="connsiteY12" fmla="*/ 54363 h 75932"/>
                  <a:gd name="connsiteX13" fmla="*/ 29222 w 56839"/>
                  <a:gd name="connsiteY13" fmla="*/ 75932 h 75932"/>
                  <a:gd name="connsiteX14" fmla="*/ 0 w 56839"/>
                  <a:gd name="connsiteY14" fmla="*/ 64419 h 7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839" h="75932">
                    <a:moveTo>
                      <a:pt x="73" y="64346"/>
                    </a:moveTo>
                    <a:lnTo>
                      <a:pt x="7943" y="56549"/>
                    </a:lnTo>
                    <a:cubicBezTo>
                      <a:pt x="14501" y="63617"/>
                      <a:pt x="21060" y="65731"/>
                      <a:pt x="29295" y="65731"/>
                    </a:cubicBezTo>
                    <a:cubicBezTo>
                      <a:pt x="37529" y="65731"/>
                      <a:pt x="44962" y="63253"/>
                      <a:pt x="44962" y="55164"/>
                    </a:cubicBezTo>
                    <a:cubicBezTo>
                      <a:pt x="44962" y="46711"/>
                      <a:pt x="37456" y="44525"/>
                      <a:pt x="26525" y="41537"/>
                    </a:cubicBezTo>
                    <a:cubicBezTo>
                      <a:pt x="15595" y="38477"/>
                      <a:pt x="3425" y="34323"/>
                      <a:pt x="3425" y="20331"/>
                    </a:cubicBezTo>
                    <a:cubicBezTo>
                      <a:pt x="3425" y="7069"/>
                      <a:pt x="13845" y="0"/>
                      <a:pt x="29149" y="0"/>
                    </a:cubicBezTo>
                    <a:cubicBezTo>
                      <a:pt x="38986" y="0"/>
                      <a:pt x="48532" y="3279"/>
                      <a:pt x="54872" y="9692"/>
                    </a:cubicBezTo>
                    <a:lnTo>
                      <a:pt x="47075" y="17489"/>
                    </a:lnTo>
                    <a:cubicBezTo>
                      <a:pt x="41683" y="12097"/>
                      <a:pt x="35343" y="10348"/>
                      <a:pt x="29149" y="10348"/>
                    </a:cubicBezTo>
                    <a:cubicBezTo>
                      <a:pt x="20841" y="10348"/>
                      <a:pt x="15157" y="13263"/>
                      <a:pt x="15157" y="19894"/>
                    </a:cubicBezTo>
                    <a:cubicBezTo>
                      <a:pt x="15157" y="26525"/>
                      <a:pt x="22809" y="28857"/>
                      <a:pt x="33740" y="31918"/>
                    </a:cubicBezTo>
                    <a:cubicBezTo>
                      <a:pt x="44087" y="34833"/>
                      <a:pt x="56840" y="38622"/>
                      <a:pt x="56840" y="54363"/>
                    </a:cubicBezTo>
                    <a:cubicBezTo>
                      <a:pt x="56840" y="68063"/>
                      <a:pt x="45472" y="75932"/>
                      <a:pt x="29222" y="75932"/>
                    </a:cubicBezTo>
                    <a:cubicBezTo>
                      <a:pt x="18218" y="75932"/>
                      <a:pt x="7797" y="72945"/>
                      <a:pt x="0" y="6441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94" name="Freeform 347">
                <a:extLst>
                  <a:ext uri="{FF2B5EF4-FFF2-40B4-BE49-F238E27FC236}">
                    <a16:creationId xmlns:a16="http://schemas.microsoft.com/office/drawing/2014/main" id="{154D8C21-5778-38BB-3074-3F5A6F7EB762}"/>
                  </a:ext>
                </a:extLst>
              </p:cNvPr>
              <p:cNvSpPr/>
              <p:nvPr/>
            </p:nvSpPr>
            <p:spPr>
              <a:xfrm>
                <a:off x="7953270" y="4452992"/>
                <a:ext cx="39423" cy="91818"/>
              </a:xfrm>
              <a:custGeom>
                <a:avLst/>
                <a:gdLst>
                  <a:gd name="connsiteX0" fmla="*/ 10785 w 39423"/>
                  <a:gd name="connsiteY0" fmla="*/ 75058 h 91818"/>
                  <a:gd name="connsiteX1" fmla="*/ 10785 w 39423"/>
                  <a:gd name="connsiteY1" fmla="*/ 27910 h 91818"/>
                  <a:gd name="connsiteX2" fmla="*/ 0 w 39423"/>
                  <a:gd name="connsiteY2" fmla="*/ 27910 h 91818"/>
                  <a:gd name="connsiteX3" fmla="*/ 0 w 39423"/>
                  <a:gd name="connsiteY3" fmla="*/ 21570 h 91818"/>
                  <a:gd name="connsiteX4" fmla="*/ 21570 w 39423"/>
                  <a:gd name="connsiteY4" fmla="*/ 0 h 91818"/>
                  <a:gd name="connsiteX5" fmla="*/ 23027 w 39423"/>
                  <a:gd name="connsiteY5" fmla="*/ 0 h 91818"/>
                  <a:gd name="connsiteX6" fmla="*/ 23027 w 39423"/>
                  <a:gd name="connsiteY6" fmla="*/ 17708 h 91818"/>
                  <a:gd name="connsiteX7" fmla="*/ 39423 w 39423"/>
                  <a:gd name="connsiteY7" fmla="*/ 17708 h 91818"/>
                  <a:gd name="connsiteX8" fmla="*/ 39423 w 39423"/>
                  <a:gd name="connsiteY8" fmla="*/ 27910 h 91818"/>
                  <a:gd name="connsiteX9" fmla="*/ 23027 w 39423"/>
                  <a:gd name="connsiteY9" fmla="*/ 27910 h 91818"/>
                  <a:gd name="connsiteX10" fmla="*/ 23027 w 39423"/>
                  <a:gd name="connsiteY10" fmla="*/ 72508 h 91818"/>
                  <a:gd name="connsiteX11" fmla="*/ 31043 w 39423"/>
                  <a:gd name="connsiteY11" fmla="*/ 80815 h 91818"/>
                  <a:gd name="connsiteX12" fmla="*/ 39351 w 39423"/>
                  <a:gd name="connsiteY12" fmla="*/ 79649 h 91818"/>
                  <a:gd name="connsiteX13" fmla="*/ 39351 w 39423"/>
                  <a:gd name="connsiteY13" fmla="*/ 90726 h 91818"/>
                  <a:gd name="connsiteX14" fmla="*/ 29221 w 39423"/>
                  <a:gd name="connsiteY14" fmla="*/ 91818 h 91818"/>
                  <a:gd name="connsiteX15" fmla="*/ 10858 w 39423"/>
                  <a:gd name="connsiteY15" fmla="*/ 74985 h 9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423" h="91818">
                    <a:moveTo>
                      <a:pt x="10785" y="75058"/>
                    </a:moveTo>
                    <a:lnTo>
                      <a:pt x="10785" y="27910"/>
                    </a:lnTo>
                    <a:lnTo>
                      <a:pt x="0" y="27910"/>
                    </a:lnTo>
                    <a:lnTo>
                      <a:pt x="0" y="21570"/>
                    </a:lnTo>
                    <a:lnTo>
                      <a:pt x="21570" y="0"/>
                    </a:lnTo>
                    <a:lnTo>
                      <a:pt x="23027" y="0"/>
                    </a:lnTo>
                    <a:lnTo>
                      <a:pt x="23027" y="17708"/>
                    </a:lnTo>
                    <a:lnTo>
                      <a:pt x="39423" y="17708"/>
                    </a:lnTo>
                    <a:lnTo>
                      <a:pt x="39423" y="27910"/>
                    </a:lnTo>
                    <a:lnTo>
                      <a:pt x="23027" y="27910"/>
                    </a:lnTo>
                    <a:lnTo>
                      <a:pt x="23027" y="72508"/>
                    </a:lnTo>
                    <a:cubicBezTo>
                      <a:pt x="23027" y="78993"/>
                      <a:pt x="25140" y="80815"/>
                      <a:pt x="31043" y="80815"/>
                    </a:cubicBezTo>
                    <a:cubicBezTo>
                      <a:pt x="33958" y="80815"/>
                      <a:pt x="36873" y="80305"/>
                      <a:pt x="39351" y="79649"/>
                    </a:cubicBezTo>
                    <a:lnTo>
                      <a:pt x="39351" y="90726"/>
                    </a:lnTo>
                    <a:cubicBezTo>
                      <a:pt x="36727" y="91381"/>
                      <a:pt x="32792" y="91818"/>
                      <a:pt x="29221" y="91818"/>
                    </a:cubicBezTo>
                    <a:cubicBezTo>
                      <a:pt x="16542" y="91818"/>
                      <a:pt x="10858" y="86718"/>
                      <a:pt x="10858" y="7498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95" name="Freeform 348">
                <a:extLst>
                  <a:ext uri="{FF2B5EF4-FFF2-40B4-BE49-F238E27FC236}">
                    <a16:creationId xmlns:a16="http://schemas.microsoft.com/office/drawing/2014/main" id="{E3BF4AF0-4932-C9EE-DAFD-6C86DA05C62E}"/>
                  </a:ext>
                </a:extLst>
              </p:cNvPr>
              <p:cNvSpPr/>
              <p:nvPr/>
            </p:nvSpPr>
            <p:spPr>
              <a:xfrm>
                <a:off x="8002968" y="4469242"/>
                <a:ext cx="71779" cy="75932"/>
              </a:xfrm>
              <a:custGeom>
                <a:avLst/>
                <a:gdLst>
                  <a:gd name="connsiteX0" fmla="*/ 0 w 71779"/>
                  <a:gd name="connsiteY0" fmla="*/ 37966 h 75932"/>
                  <a:gd name="connsiteX1" fmla="*/ 35853 w 71779"/>
                  <a:gd name="connsiteY1" fmla="*/ 0 h 75932"/>
                  <a:gd name="connsiteX2" fmla="*/ 71779 w 71779"/>
                  <a:gd name="connsiteY2" fmla="*/ 37966 h 75932"/>
                  <a:gd name="connsiteX3" fmla="*/ 35853 w 71779"/>
                  <a:gd name="connsiteY3" fmla="*/ 75933 h 75932"/>
                  <a:gd name="connsiteX4" fmla="*/ 0 w 71779"/>
                  <a:gd name="connsiteY4" fmla="*/ 37966 h 75932"/>
                  <a:gd name="connsiteX5" fmla="*/ 35853 w 71779"/>
                  <a:gd name="connsiteY5" fmla="*/ 65512 h 75932"/>
                  <a:gd name="connsiteX6" fmla="*/ 58954 w 71779"/>
                  <a:gd name="connsiteY6" fmla="*/ 37893 h 75932"/>
                  <a:gd name="connsiteX7" fmla="*/ 35853 w 71779"/>
                  <a:gd name="connsiteY7" fmla="*/ 10348 h 75932"/>
                  <a:gd name="connsiteX8" fmla="*/ 12753 w 71779"/>
                  <a:gd name="connsiteY8" fmla="*/ 37893 h 75932"/>
                  <a:gd name="connsiteX9" fmla="*/ 35853 w 71779"/>
                  <a:gd name="connsiteY9" fmla="*/ 65512 h 7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79" h="75932">
                    <a:moveTo>
                      <a:pt x="0" y="37966"/>
                    </a:moveTo>
                    <a:cubicBezTo>
                      <a:pt x="0" y="15595"/>
                      <a:pt x="14502" y="0"/>
                      <a:pt x="35853" y="0"/>
                    </a:cubicBezTo>
                    <a:cubicBezTo>
                      <a:pt x="57205" y="0"/>
                      <a:pt x="71779" y="15522"/>
                      <a:pt x="71779" y="37966"/>
                    </a:cubicBezTo>
                    <a:cubicBezTo>
                      <a:pt x="71779" y="60411"/>
                      <a:pt x="57205" y="75933"/>
                      <a:pt x="35853" y="75933"/>
                    </a:cubicBezTo>
                    <a:cubicBezTo>
                      <a:pt x="14502" y="75933"/>
                      <a:pt x="0" y="60484"/>
                      <a:pt x="0" y="37966"/>
                    </a:cubicBezTo>
                    <a:close/>
                    <a:moveTo>
                      <a:pt x="35853" y="65512"/>
                    </a:moveTo>
                    <a:cubicBezTo>
                      <a:pt x="48897" y="65512"/>
                      <a:pt x="58954" y="56257"/>
                      <a:pt x="58954" y="37893"/>
                    </a:cubicBezTo>
                    <a:cubicBezTo>
                      <a:pt x="58954" y="19530"/>
                      <a:pt x="48897" y="10348"/>
                      <a:pt x="35853" y="10348"/>
                    </a:cubicBezTo>
                    <a:cubicBezTo>
                      <a:pt x="22809" y="10348"/>
                      <a:pt x="12753" y="19603"/>
                      <a:pt x="12753" y="37893"/>
                    </a:cubicBezTo>
                    <a:cubicBezTo>
                      <a:pt x="12753" y="56184"/>
                      <a:pt x="22882" y="65512"/>
                      <a:pt x="35853" y="65512"/>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96" name="Freeform 349">
                <a:extLst>
                  <a:ext uri="{FF2B5EF4-FFF2-40B4-BE49-F238E27FC236}">
                    <a16:creationId xmlns:a16="http://schemas.microsoft.com/office/drawing/2014/main" id="{43E33735-42C5-93A5-AF54-C8D883722171}"/>
                  </a:ext>
                </a:extLst>
              </p:cNvPr>
              <p:cNvSpPr/>
              <p:nvPr/>
            </p:nvSpPr>
            <p:spPr>
              <a:xfrm>
                <a:off x="8091799" y="4469315"/>
                <a:ext cx="96992" cy="74547"/>
              </a:xfrm>
              <a:custGeom>
                <a:avLst/>
                <a:gdLst>
                  <a:gd name="connsiteX0" fmla="*/ 0 w 96992"/>
                  <a:gd name="connsiteY0" fmla="*/ 1385 h 74547"/>
                  <a:gd name="connsiteX1" fmla="*/ 11660 w 96992"/>
                  <a:gd name="connsiteY1" fmla="*/ 1385 h 74547"/>
                  <a:gd name="connsiteX2" fmla="*/ 11660 w 96992"/>
                  <a:gd name="connsiteY2" fmla="*/ 16615 h 74547"/>
                  <a:gd name="connsiteX3" fmla="*/ 11951 w 96992"/>
                  <a:gd name="connsiteY3" fmla="*/ 16615 h 74547"/>
                  <a:gd name="connsiteX4" fmla="*/ 33303 w 96992"/>
                  <a:gd name="connsiteY4" fmla="*/ 0 h 74547"/>
                  <a:gd name="connsiteX5" fmla="*/ 53269 w 96992"/>
                  <a:gd name="connsiteY5" fmla="*/ 16615 h 74547"/>
                  <a:gd name="connsiteX6" fmla="*/ 53561 w 96992"/>
                  <a:gd name="connsiteY6" fmla="*/ 16615 h 74547"/>
                  <a:gd name="connsiteX7" fmla="*/ 75641 w 96992"/>
                  <a:gd name="connsiteY7" fmla="*/ 0 h 74547"/>
                  <a:gd name="connsiteX8" fmla="*/ 96992 w 96992"/>
                  <a:gd name="connsiteY8" fmla="*/ 25796 h 74547"/>
                  <a:gd name="connsiteX9" fmla="*/ 96992 w 96992"/>
                  <a:gd name="connsiteY9" fmla="*/ 74548 h 74547"/>
                  <a:gd name="connsiteX10" fmla="*/ 84823 w 96992"/>
                  <a:gd name="connsiteY10" fmla="*/ 74548 h 74547"/>
                  <a:gd name="connsiteX11" fmla="*/ 84823 w 96992"/>
                  <a:gd name="connsiteY11" fmla="*/ 28128 h 74547"/>
                  <a:gd name="connsiteX12" fmla="*/ 71633 w 96992"/>
                  <a:gd name="connsiteY12" fmla="*/ 10785 h 74547"/>
                  <a:gd name="connsiteX13" fmla="*/ 54581 w 96992"/>
                  <a:gd name="connsiteY13" fmla="*/ 32064 h 74547"/>
                  <a:gd name="connsiteX14" fmla="*/ 54581 w 96992"/>
                  <a:gd name="connsiteY14" fmla="*/ 74475 h 74547"/>
                  <a:gd name="connsiteX15" fmla="*/ 42411 w 96992"/>
                  <a:gd name="connsiteY15" fmla="*/ 74475 h 74547"/>
                  <a:gd name="connsiteX16" fmla="*/ 42411 w 96992"/>
                  <a:gd name="connsiteY16" fmla="*/ 28055 h 74547"/>
                  <a:gd name="connsiteX17" fmla="*/ 29222 w 96992"/>
                  <a:gd name="connsiteY17" fmla="*/ 10712 h 74547"/>
                  <a:gd name="connsiteX18" fmla="*/ 12170 w 96992"/>
                  <a:gd name="connsiteY18" fmla="*/ 31991 h 74547"/>
                  <a:gd name="connsiteX19" fmla="*/ 12170 w 96992"/>
                  <a:gd name="connsiteY19" fmla="*/ 74402 h 74547"/>
                  <a:gd name="connsiteX20" fmla="*/ 0 w 96992"/>
                  <a:gd name="connsiteY20" fmla="*/ 74402 h 74547"/>
                  <a:gd name="connsiteX21" fmla="*/ 0 w 96992"/>
                  <a:gd name="connsiteY21" fmla="*/ 1312 h 7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6992" h="74547">
                    <a:moveTo>
                      <a:pt x="0" y="1385"/>
                    </a:moveTo>
                    <a:lnTo>
                      <a:pt x="11660" y="1385"/>
                    </a:lnTo>
                    <a:lnTo>
                      <a:pt x="11660" y="16615"/>
                    </a:lnTo>
                    <a:lnTo>
                      <a:pt x="11951" y="16615"/>
                    </a:lnTo>
                    <a:cubicBezTo>
                      <a:pt x="15449" y="5903"/>
                      <a:pt x="23174" y="0"/>
                      <a:pt x="33303" y="0"/>
                    </a:cubicBezTo>
                    <a:cubicBezTo>
                      <a:pt x="43432" y="0"/>
                      <a:pt x="50719" y="5174"/>
                      <a:pt x="53269" y="16615"/>
                    </a:cubicBezTo>
                    <a:lnTo>
                      <a:pt x="53561" y="16615"/>
                    </a:lnTo>
                    <a:cubicBezTo>
                      <a:pt x="56840" y="5101"/>
                      <a:pt x="65585" y="0"/>
                      <a:pt x="75641" y="0"/>
                    </a:cubicBezTo>
                    <a:cubicBezTo>
                      <a:pt x="89341" y="0"/>
                      <a:pt x="96992" y="7651"/>
                      <a:pt x="96992" y="25796"/>
                    </a:cubicBezTo>
                    <a:lnTo>
                      <a:pt x="96992" y="74548"/>
                    </a:lnTo>
                    <a:lnTo>
                      <a:pt x="84823" y="74548"/>
                    </a:lnTo>
                    <a:lnTo>
                      <a:pt x="84823" y="28128"/>
                    </a:lnTo>
                    <a:cubicBezTo>
                      <a:pt x="84823" y="17489"/>
                      <a:pt x="81471" y="10785"/>
                      <a:pt x="71633" y="10785"/>
                    </a:cubicBezTo>
                    <a:cubicBezTo>
                      <a:pt x="61213" y="10785"/>
                      <a:pt x="54581" y="18437"/>
                      <a:pt x="54581" y="32064"/>
                    </a:cubicBezTo>
                    <a:lnTo>
                      <a:pt x="54581" y="74475"/>
                    </a:lnTo>
                    <a:lnTo>
                      <a:pt x="42411" y="74475"/>
                    </a:lnTo>
                    <a:lnTo>
                      <a:pt x="42411" y="28055"/>
                    </a:lnTo>
                    <a:cubicBezTo>
                      <a:pt x="42411" y="17416"/>
                      <a:pt x="39133" y="10712"/>
                      <a:pt x="29222" y="10712"/>
                    </a:cubicBezTo>
                    <a:cubicBezTo>
                      <a:pt x="19311" y="10712"/>
                      <a:pt x="12170" y="18364"/>
                      <a:pt x="12170" y="31991"/>
                    </a:cubicBezTo>
                    <a:lnTo>
                      <a:pt x="12170" y="74402"/>
                    </a:lnTo>
                    <a:lnTo>
                      <a:pt x="0" y="74402"/>
                    </a:lnTo>
                    <a:lnTo>
                      <a:pt x="0" y="1312"/>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97" name="Freeform 350">
                <a:extLst>
                  <a:ext uri="{FF2B5EF4-FFF2-40B4-BE49-F238E27FC236}">
                    <a16:creationId xmlns:a16="http://schemas.microsoft.com/office/drawing/2014/main" id="{D5526235-7D83-DD09-D848-55D43428EBB9}"/>
                  </a:ext>
                </a:extLst>
              </p:cNvPr>
              <p:cNvSpPr/>
              <p:nvPr/>
            </p:nvSpPr>
            <p:spPr>
              <a:xfrm>
                <a:off x="8205334" y="4469242"/>
                <a:ext cx="67333" cy="75859"/>
              </a:xfrm>
              <a:custGeom>
                <a:avLst/>
                <a:gdLst>
                  <a:gd name="connsiteX0" fmla="*/ 73 w 67333"/>
                  <a:gd name="connsiteY0" fmla="*/ 37966 h 75859"/>
                  <a:gd name="connsiteX1" fmla="*/ 35489 w 67333"/>
                  <a:gd name="connsiteY1" fmla="*/ 0 h 75859"/>
                  <a:gd name="connsiteX2" fmla="*/ 67334 w 67333"/>
                  <a:gd name="connsiteY2" fmla="*/ 35270 h 75859"/>
                  <a:gd name="connsiteX3" fmla="*/ 67115 w 67333"/>
                  <a:gd name="connsiteY3" fmla="*/ 40954 h 75859"/>
                  <a:gd name="connsiteX4" fmla="*/ 12826 w 67333"/>
                  <a:gd name="connsiteY4" fmla="*/ 40954 h 75859"/>
                  <a:gd name="connsiteX5" fmla="*/ 36800 w 67333"/>
                  <a:gd name="connsiteY5" fmla="*/ 65512 h 75859"/>
                  <a:gd name="connsiteX6" fmla="*/ 57132 w 67333"/>
                  <a:gd name="connsiteY6" fmla="*/ 56767 h 75859"/>
                  <a:gd name="connsiteX7" fmla="*/ 64783 w 67333"/>
                  <a:gd name="connsiteY7" fmla="*/ 64346 h 75859"/>
                  <a:gd name="connsiteX8" fmla="*/ 36800 w 67333"/>
                  <a:gd name="connsiteY8" fmla="*/ 75860 h 75859"/>
                  <a:gd name="connsiteX9" fmla="*/ 0 w 67333"/>
                  <a:gd name="connsiteY9" fmla="*/ 37893 h 75859"/>
                  <a:gd name="connsiteX10" fmla="*/ 54946 w 67333"/>
                  <a:gd name="connsiteY10" fmla="*/ 31627 h 75859"/>
                  <a:gd name="connsiteX11" fmla="*/ 34906 w 67333"/>
                  <a:gd name="connsiteY11" fmla="*/ 10494 h 75859"/>
                  <a:gd name="connsiteX12" fmla="*/ 13117 w 67333"/>
                  <a:gd name="connsiteY12" fmla="*/ 31627 h 75859"/>
                  <a:gd name="connsiteX13" fmla="*/ 54873 w 67333"/>
                  <a:gd name="connsiteY13" fmla="*/ 31627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333" h="75859">
                    <a:moveTo>
                      <a:pt x="73" y="37966"/>
                    </a:moveTo>
                    <a:cubicBezTo>
                      <a:pt x="73" y="12461"/>
                      <a:pt x="16615" y="0"/>
                      <a:pt x="35489" y="0"/>
                    </a:cubicBezTo>
                    <a:cubicBezTo>
                      <a:pt x="59172" y="0"/>
                      <a:pt x="67334" y="19019"/>
                      <a:pt x="67334" y="35270"/>
                    </a:cubicBezTo>
                    <a:cubicBezTo>
                      <a:pt x="67334" y="37237"/>
                      <a:pt x="67334" y="39205"/>
                      <a:pt x="67115" y="40954"/>
                    </a:cubicBezTo>
                    <a:lnTo>
                      <a:pt x="12826" y="40954"/>
                    </a:lnTo>
                    <a:cubicBezTo>
                      <a:pt x="13700" y="56767"/>
                      <a:pt x="21716" y="65512"/>
                      <a:pt x="36800" y="65512"/>
                    </a:cubicBezTo>
                    <a:cubicBezTo>
                      <a:pt x="45691" y="65512"/>
                      <a:pt x="51812" y="63034"/>
                      <a:pt x="57132" y="56767"/>
                    </a:cubicBezTo>
                    <a:lnTo>
                      <a:pt x="64783" y="64346"/>
                    </a:lnTo>
                    <a:cubicBezTo>
                      <a:pt x="57642" y="72435"/>
                      <a:pt x="49553" y="75860"/>
                      <a:pt x="36800" y="75860"/>
                    </a:cubicBezTo>
                    <a:cubicBezTo>
                      <a:pt x="14720" y="75860"/>
                      <a:pt x="0" y="62597"/>
                      <a:pt x="0" y="37893"/>
                    </a:cubicBezTo>
                    <a:close/>
                    <a:moveTo>
                      <a:pt x="54946" y="31627"/>
                    </a:moveTo>
                    <a:cubicBezTo>
                      <a:pt x="53634" y="17271"/>
                      <a:pt x="46201" y="10494"/>
                      <a:pt x="34906" y="10494"/>
                    </a:cubicBezTo>
                    <a:cubicBezTo>
                      <a:pt x="23610" y="10494"/>
                      <a:pt x="15085" y="17489"/>
                      <a:pt x="13117" y="31627"/>
                    </a:cubicBezTo>
                    <a:lnTo>
                      <a:pt x="54873" y="31627"/>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98" name="Freeform 351">
                <a:extLst>
                  <a:ext uri="{FF2B5EF4-FFF2-40B4-BE49-F238E27FC236}">
                    <a16:creationId xmlns:a16="http://schemas.microsoft.com/office/drawing/2014/main" id="{026CE05A-5D2F-D766-987E-440B2DEF1AD9}"/>
                  </a:ext>
                </a:extLst>
              </p:cNvPr>
              <p:cNvSpPr/>
              <p:nvPr/>
            </p:nvSpPr>
            <p:spPr>
              <a:xfrm>
                <a:off x="8289865" y="4469242"/>
                <a:ext cx="34978" cy="74475"/>
              </a:xfrm>
              <a:custGeom>
                <a:avLst/>
                <a:gdLst>
                  <a:gd name="connsiteX0" fmla="*/ 0 w 34978"/>
                  <a:gd name="connsiteY0" fmla="*/ 1458 h 74475"/>
                  <a:gd name="connsiteX1" fmla="*/ 11659 w 34978"/>
                  <a:gd name="connsiteY1" fmla="*/ 1458 h 74475"/>
                  <a:gd name="connsiteX2" fmla="*/ 11659 w 34978"/>
                  <a:gd name="connsiteY2" fmla="*/ 17052 h 74475"/>
                  <a:gd name="connsiteX3" fmla="*/ 11951 w 34978"/>
                  <a:gd name="connsiteY3" fmla="*/ 17052 h 74475"/>
                  <a:gd name="connsiteX4" fmla="*/ 29149 w 34978"/>
                  <a:gd name="connsiteY4" fmla="*/ 0 h 74475"/>
                  <a:gd name="connsiteX5" fmla="*/ 34978 w 34978"/>
                  <a:gd name="connsiteY5" fmla="*/ 656 h 74475"/>
                  <a:gd name="connsiteX6" fmla="*/ 34978 w 34978"/>
                  <a:gd name="connsiteY6" fmla="*/ 12607 h 74475"/>
                  <a:gd name="connsiteX7" fmla="*/ 28857 w 34978"/>
                  <a:gd name="connsiteY7" fmla="*/ 11878 h 74475"/>
                  <a:gd name="connsiteX8" fmla="*/ 12242 w 34978"/>
                  <a:gd name="connsiteY8" fmla="*/ 36436 h 74475"/>
                  <a:gd name="connsiteX9" fmla="*/ 12242 w 34978"/>
                  <a:gd name="connsiteY9" fmla="*/ 74475 h 74475"/>
                  <a:gd name="connsiteX10" fmla="*/ 72 w 34978"/>
                  <a:gd name="connsiteY10" fmla="*/ 74475 h 74475"/>
                  <a:gd name="connsiteX11" fmla="*/ 72 w 34978"/>
                  <a:gd name="connsiteY11"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8" h="74475">
                    <a:moveTo>
                      <a:pt x="0" y="1458"/>
                    </a:moveTo>
                    <a:lnTo>
                      <a:pt x="11659" y="1458"/>
                    </a:lnTo>
                    <a:lnTo>
                      <a:pt x="11659" y="17052"/>
                    </a:lnTo>
                    <a:lnTo>
                      <a:pt x="11951" y="17052"/>
                    </a:lnTo>
                    <a:cubicBezTo>
                      <a:pt x="14720" y="4591"/>
                      <a:pt x="20768" y="0"/>
                      <a:pt x="29149" y="0"/>
                    </a:cubicBezTo>
                    <a:cubicBezTo>
                      <a:pt x="31626" y="0"/>
                      <a:pt x="33885" y="437"/>
                      <a:pt x="34978" y="656"/>
                    </a:cubicBezTo>
                    <a:lnTo>
                      <a:pt x="34978" y="12607"/>
                    </a:lnTo>
                    <a:cubicBezTo>
                      <a:pt x="33448" y="12097"/>
                      <a:pt x="31116" y="11878"/>
                      <a:pt x="28857" y="11878"/>
                    </a:cubicBezTo>
                    <a:cubicBezTo>
                      <a:pt x="16396" y="11878"/>
                      <a:pt x="12242" y="21206"/>
                      <a:pt x="12242" y="36436"/>
                    </a:cubicBezTo>
                    <a:lnTo>
                      <a:pt x="12242" y="74475"/>
                    </a:lnTo>
                    <a:lnTo>
                      <a:pt x="72" y="74475"/>
                    </a:lnTo>
                    <a:lnTo>
                      <a:pt x="72"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699" name="Freeform 352">
                <a:extLst>
                  <a:ext uri="{FF2B5EF4-FFF2-40B4-BE49-F238E27FC236}">
                    <a16:creationId xmlns:a16="http://schemas.microsoft.com/office/drawing/2014/main" id="{F279C489-857F-360A-7415-D633B5060330}"/>
                  </a:ext>
                </a:extLst>
              </p:cNvPr>
              <p:cNvSpPr/>
              <p:nvPr/>
            </p:nvSpPr>
            <p:spPr>
              <a:xfrm>
                <a:off x="7670746" y="4635390"/>
                <a:ext cx="67333" cy="75859"/>
              </a:xfrm>
              <a:custGeom>
                <a:avLst/>
                <a:gdLst>
                  <a:gd name="connsiteX0" fmla="*/ 73 w 67333"/>
                  <a:gd name="connsiteY0" fmla="*/ 37966 h 75859"/>
                  <a:gd name="connsiteX1" fmla="*/ 35489 w 67333"/>
                  <a:gd name="connsiteY1" fmla="*/ 0 h 75859"/>
                  <a:gd name="connsiteX2" fmla="*/ 67334 w 67333"/>
                  <a:gd name="connsiteY2" fmla="*/ 35270 h 75859"/>
                  <a:gd name="connsiteX3" fmla="*/ 67115 w 67333"/>
                  <a:gd name="connsiteY3" fmla="*/ 40954 h 75859"/>
                  <a:gd name="connsiteX4" fmla="*/ 12826 w 67333"/>
                  <a:gd name="connsiteY4" fmla="*/ 40954 h 75859"/>
                  <a:gd name="connsiteX5" fmla="*/ 36800 w 67333"/>
                  <a:gd name="connsiteY5" fmla="*/ 65512 h 75859"/>
                  <a:gd name="connsiteX6" fmla="*/ 57131 w 67333"/>
                  <a:gd name="connsiteY6" fmla="*/ 56767 h 75859"/>
                  <a:gd name="connsiteX7" fmla="*/ 64783 w 67333"/>
                  <a:gd name="connsiteY7" fmla="*/ 64346 h 75859"/>
                  <a:gd name="connsiteX8" fmla="*/ 36800 w 67333"/>
                  <a:gd name="connsiteY8" fmla="*/ 75860 h 75859"/>
                  <a:gd name="connsiteX9" fmla="*/ 0 w 67333"/>
                  <a:gd name="connsiteY9" fmla="*/ 37966 h 75859"/>
                  <a:gd name="connsiteX10" fmla="*/ 54945 w 67333"/>
                  <a:gd name="connsiteY10" fmla="*/ 31627 h 75859"/>
                  <a:gd name="connsiteX11" fmla="*/ 34905 w 67333"/>
                  <a:gd name="connsiteY11" fmla="*/ 10494 h 75859"/>
                  <a:gd name="connsiteX12" fmla="*/ 13117 w 67333"/>
                  <a:gd name="connsiteY12" fmla="*/ 31627 h 75859"/>
                  <a:gd name="connsiteX13" fmla="*/ 54872 w 67333"/>
                  <a:gd name="connsiteY13" fmla="*/ 31627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333" h="75859">
                    <a:moveTo>
                      <a:pt x="73" y="37966"/>
                    </a:moveTo>
                    <a:cubicBezTo>
                      <a:pt x="73" y="12461"/>
                      <a:pt x="16615" y="0"/>
                      <a:pt x="35489" y="0"/>
                    </a:cubicBezTo>
                    <a:cubicBezTo>
                      <a:pt x="59172" y="0"/>
                      <a:pt x="67334" y="19020"/>
                      <a:pt x="67334" y="35270"/>
                    </a:cubicBezTo>
                    <a:cubicBezTo>
                      <a:pt x="67334" y="37238"/>
                      <a:pt x="67334" y="39205"/>
                      <a:pt x="67115" y="40954"/>
                    </a:cubicBezTo>
                    <a:lnTo>
                      <a:pt x="12826" y="40954"/>
                    </a:lnTo>
                    <a:cubicBezTo>
                      <a:pt x="13700" y="56767"/>
                      <a:pt x="21716" y="65512"/>
                      <a:pt x="36800" y="65512"/>
                    </a:cubicBezTo>
                    <a:cubicBezTo>
                      <a:pt x="45691" y="65512"/>
                      <a:pt x="51812" y="63034"/>
                      <a:pt x="57131" y="56767"/>
                    </a:cubicBezTo>
                    <a:lnTo>
                      <a:pt x="64783" y="64346"/>
                    </a:lnTo>
                    <a:cubicBezTo>
                      <a:pt x="57641" y="72362"/>
                      <a:pt x="49553" y="75860"/>
                      <a:pt x="36800" y="75860"/>
                    </a:cubicBezTo>
                    <a:cubicBezTo>
                      <a:pt x="14720" y="75860"/>
                      <a:pt x="0" y="62597"/>
                      <a:pt x="0" y="37966"/>
                    </a:cubicBezTo>
                    <a:close/>
                    <a:moveTo>
                      <a:pt x="54945" y="31627"/>
                    </a:moveTo>
                    <a:cubicBezTo>
                      <a:pt x="53634" y="17271"/>
                      <a:pt x="46201" y="10494"/>
                      <a:pt x="34905" y="10494"/>
                    </a:cubicBezTo>
                    <a:cubicBezTo>
                      <a:pt x="23610" y="10494"/>
                      <a:pt x="15085" y="17489"/>
                      <a:pt x="13117" y="31627"/>
                    </a:cubicBezTo>
                    <a:lnTo>
                      <a:pt x="54872" y="31627"/>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00" name="Freeform 353">
                <a:extLst>
                  <a:ext uri="{FF2B5EF4-FFF2-40B4-BE49-F238E27FC236}">
                    <a16:creationId xmlns:a16="http://schemas.microsoft.com/office/drawing/2014/main" id="{9A580026-FD15-61D9-BB61-B164D1C61DCC}"/>
                  </a:ext>
                </a:extLst>
              </p:cNvPr>
              <p:cNvSpPr/>
              <p:nvPr/>
            </p:nvSpPr>
            <p:spPr>
              <a:xfrm>
                <a:off x="7743763" y="4636847"/>
                <a:ext cx="66021" cy="73090"/>
              </a:xfrm>
              <a:custGeom>
                <a:avLst/>
                <a:gdLst>
                  <a:gd name="connsiteX0" fmla="*/ 32938 w 66021"/>
                  <a:gd name="connsiteY0" fmla="*/ 42849 h 73090"/>
                  <a:gd name="connsiteX1" fmla="*/ 13481 w 66021"/>
                  <a:gd name="connsiteY1" fmla="*/ 73091 h 73090"/>
                  <a:gd name="connsiteX2" fmla="*/ 0 w 66021"/>
                  <a:gd name="connsiteY2" fmla="*/ 73091 h 73090"/>
                  <a:gd name="connsiteX3" fmla="*/ 26015 w 66021"/>
                  <a:gd name="connsiteY3" fmla="*/ 35707 h 73090"/>
                  <a:gd name="connsiteX4" fmla="*/ 1239 w 66021"/>
                  <a:gd name="connsiteY4" fmla="*/ 0 h 73090"/>
                  <a:gd name="connsiteX5" fmla="*/ 14939 w 66021"/>
                  <a:gd name="connsiteY5" fmla="*/ 0 h 73090"/>
                  <a:gd name="connsiteX6" fmla="*/ 33230 w 66021"/>
                  <a:gd name="connsiteY6" fmla="*/ 28493 h 73090"/>
                  <a:gd name="connsiteX7" fmla="*/ 51520 w 66021"/>
                  <a:gd name="connsiteY7" fmla="*/ 0 h 73090"/>
                  <a:gd name="connsiteX8" fmla="*/ 64856 w 66021"/>
                  <a:gd name="connsiteY8" fmla="*/ 0 h 73090"/>
                  <a:gd name="connsiteX9" fmla="*/ 40080 w 66021"/>
                  <a:gd name="connsiteY9" fmla="*/ 35707 h 73090"/>
                  <a:gd name="connsiteX10" fmla="*/ 66022 w 66021"/>
                  <a:gd name="connsiteY10" fmla="*/ 73091 h 73090"/>
                  <a:gd name="connsiteX11" fmla="*/ 52249 w 66021"/>
                  <a:gd name="connsiteY11" fmla="*/ 73091 h 73090"/>
                  <a:gd name="connsiteX12" fmla="*/ 32792 w 66021"/>
                  <a:gd name="connsiteY12" fmla="*/ 42849 h 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021" h="73090">
                    <a:moveTo>
                      <a:pt x="32938" y="42849"/>
                    </a:moveTo>
                    <a:lnTo>
                      <a:pt x="13481" y="73091"/>
                    </a:lnTo>
                    <a:lnTo>
                      <a:pt x="0" y="73091"/>
                    </a:lnTo>
                    <a:lnTo>
                      <a:pt x="26015" y="35707"/>
                    </a:lnTo>
                    <a:lnTo>
                      <a:pt x="1239" y="0"/>
                    </a:lnTo>
                    <a:lnTo>
                      <a:pt x="14939" y="0"/>
                    </a:lnTo>
                    <a:lnTo>
                      <a:pt x="33230" y="28493"/>
                    </a:lnTo>
                    <a:lnTo>
                      <a:pt x="51520" y="0"/>
                    </a:lnTo>
                    <a:lnTo>
                      <a:pt x="64856" y="0"/>
                    </a:lnTo>
                    <a:lnTo>
                      <a:pt x="40080" y="35707"/>
                    </a:lnTo>
                    <a:lnTo>
                      <a:pt x="66022" y="73091"/>
                    </a:lnTo>
                    <a:lnTo>
                      <a:pt x="52249" y="73091"/>
                    </a:lnTo>
                    <a:lnTo>
                      <a:pt x="32792" y="42849"/>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01" name="Freeform 354">
                <a:extLst>
                  <a:ext uri="{FF2B5EF4-FFF2-40B4-BE49-F238E27FC236}">
                    <a16:creationId xmlns:a16="http://schemas.microsoft.com/office/drawing/2014/main" id="{845B909C-8F07-ADBB-70C2-372925E823C4}"/>
                  </a:ext>
                </a:extLst>
              </p:cNvPr>
              <p:cNvSpPr/>
              <p:nvPr/>
            </p:nvSpPr>
            <p:spPr>
              <a:xfrm>
                <a:off x="7823558" y="4635390"/>
                <a:ext cx="71268" cy="103259"/>
              </a:xfrm>
              <a:custGeom>
                <a:avLst/>
                <a:gdLst>
                  <a:gd name="connsiteX0" fmla="*/ 0 w 71268"/>
                  <a:gd name="connsiteY0" fmla="*/ 1458 h 103259"/>
                  <a:gd name="connsiteX1" fmla="*/ 11660 w 71268"/>
                  <a:gd name="connsiteY1" fmla="*/ 1458 h 103259"/>
                  <a:gd name="connsiteX2" fmla="*/ 11660 w 71268"/>
                  <a:gd name="connsiteY2" fmla="*/ 16906 h 103259"/>
                  <a:gd name="connsiteX3" fmla="*/ 11805 w 71268"/>
                  <a:gd name="connsiteY3" fmla="*/ 16906 h 103259"/>
                  <a:gd name="connsiteX4" fmla="*/ 39132 w 71268"/>
                  <a:gd name="connsiteY4" fmla="*/ 0 h 103259"/>
                  <a:gd name="connsiteX5" fmla="*/ 71269 w 71268"/>
                  <a:gd name="connsiteY5" fmla="*/ 37966 h 103259"/>
                  <a:gd name="connsiteX6" fmla="*/ 39570 w 71268"/>
                  <a:gd name="connsiteY6" fmla="*/ 75860 h 103259"/>
                  <a:gd name="connsiteX7" fmla="*/ 12607 w 71268"/>
                  <a:gd name="connsiteY7" fmla="*/ 59828 h 103259"/>
                  <a:gd name="connsiteX8" fmla="*/ 12243 w 71268"/>
                  <a:gd name="connsiteY8" fmla="*/ 59828 h 103259"/>
                  <a:gd name="connsiteX9" fmla="*/ 12243 w 71268"/>
                  <a:gd name="connsiteY9" fmla="*/ 103260 h 103259"/>
                  <a:gd name="connsiteX10" fmla="*/ 73 w 71268"/>
                  <a:gd name="connsiteY10" fmla="*/ 103260 h 103259"/>
                  <a:gd name="connsiteX11" fmla="*/ 73 w 71268"/>
                  <a:gd name="connsiteY11" fmla="*/ 1385 h 103259"/>
                  <a:gd name="connsiteX12" fmla="*/ 35343 w 71268"/>
                  <a:gd name="connsiteY12" fmla="*/ 65512 h 103259"/>
                  <a:gd name="connsiteX13" fmla="*/ 58443 w 71268"/>
                  <a:gd name="connsiteY13" fmla="*/ 37893 h 103259"/>
                  <a:gd name="connsiteX14" fmla="*/ 35343 w 71268"/>
                  <a:gd name="connsiteY14" fmla="*/ 10348 h 103259"/>
                  <a:gd name="connsiteX15" fmla="*/ 12170 w 71268"/>
                  <a:gd name="connsiteY15" fmla="*/ 37893 h 103259"/>
                  <a:gd name="connsiteX16" fmla="*/ 35343 w 71268"/>
                  <a:gd name="connsiteY16" fmla="*/ 65512 h 10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268" h="103259">
                    <a:moveTo>
                      <a:pt x="0" y="1458"/>
                    </a:moveTo>
                    <a:lnTo>
                      <a:pt x="11660" y="1458"/>
                    </a:lnTo>
                    <a:lnTo>
                      <a:pt x="11660" y="16906"/>
                    </a:lnTo>
                    <a:lnTo>
                      <a:pt x="11805" y="16906"/>
                    </a:lnTo>
                    <a:cubicBezTo>
                      <a:pt x="15303" y="8307"/>
                      <a:pt x="22518" y="0"/>
                      <a:pt x="39132" y="0"/>
                    </a:cubicBezTo>
                    <a:cubicBezTo>
                      <a:pt x="58516" y="0"/>
                      <a:pt x="71269" y="15522"/>
                      <a:pt x="71269" y="37966"/>
                    </a:cubicBezTo>
                    <a:cubicBezTo>
                      <a:pt x="71269" y="60411"/>
                      <a:pt x="58954" y="75860"/>
                      <a:pt x="39570" y="75860"/>
                    </a:cubicBezTo>
                    <a:cubicBezTo>
                      <a:pt x="24923" y="75860"/>
                      <a:pt x="16324" y="68427"/>
                      <a:pt x="12607" y="59828"/>
                    </a:cubicBezTo>
                    <a:lnTo>
                      <a:pt x="12243" y="59828"/>
                    </a:lnTo>
                    <a:lnTo>
                      <a:pt x="12243" y="103260"/>
                    </a:lnTo>
                    <a:lnTo>
                      <a:pt x="73" y="103260"/>
                    </a:lnTo>
                    <a:lnTo>
                      <a:pt x="73" y="1385"/>
                    </a:lnTo>
                    <a:close/>
                    <a:moveTo>
                      <a:pt x="35343" y="65512"/>
                    </a:moveTo>
                    <a:cubicBezTo>
                      <a:pt x="48314" y="65512"/>
                      <a:pt x="58443" y="56257"/>
                      <a:pt x="58443" y="37893"/>
                    </a:cubicBezTo>
                    <a:cubicBezTo>
                      <a:pt x="58443" y="19530"/>
                      <a:pt x="48314" y="10348"/>
                      <a:pt x="35343" y="10348"/>
                    </a:cubicBezTo>
                    <a:cubicBezTo>
                      <a:pt x="22372" y="10348"/>
                      <a:pt x="12170" y="19603"/>
                      <a:pt x="12170" y="37893"/>
                    </a:cubicBezTo>
                    <a:cubicBezTo>
                      <a:pt x="12170" y="56184"/>
                      <a:pt x="22299" y="65512"/>
                      <a:pt x="35343" y="65512"/>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02" name="Freeform 355">
                <a:extLst>
                  <a:ext uri="{FF2B5EF4-FFF2-40B4-BE49-F238E27FC236}">
                    <a16:creationId xmlns:a16="http://schemas.microsoft.com/office/drawing/2014/main" id="{DD5017A7-8640-C19B-6C91-6EF93468D461}"/>
                  </a:ext>
                </a:extLst>
              </p:cNvPr>
              <p:cNvSpPr/>
              <p:nvPr/>
            </p:nvSpPr>
            <p:spPr>
              <a:xfrm>
                <a:off x="7907433" y="4635390"/>
                <a:ext cx="67333" cy="75859"/>
              </a:xfrm>
              <a:custGeom>
                <a:avLst/>
                <a:gdLst>
                  <a:gd name="connsiteX0" fmla="*/ 73 w 67333"/>
                  <a:gd name="connsiteY0" fmla="*/ 37966 h 75859"/>
                  <a:gd name="connsiteX1" fmla="*/ 35489 w 67333"/>
                  <a:gd name="connsiteY1" fmla="*/ 0 h 75859"/>
                  <a:gd name="connsiteX2" fmla="*/ 67334 w 67333"/>
                  <a:gd name="connsiteY2" fmla="*/ 35270 h 75859"/>
                  <a:gd name="connsiteX3" fmla="*/ 67115 w 67333"/>
                  <a:gd name="connsiteY3" fmla="*/ 40954 h 75859"/>
                  <a:gd name="connsiteX4" fmla="*/ 12826 w 67333"/>
                  <a:gd name="connsiteY4" fmla="*/ 40954 h 75859"/>
                  <a:gd name="connsiteX5" fmla="*/ 36800 w 67333"/>
                  <a:gd name="connsiteY5" fmla="*/ 65512 h 75859"/>
                  <a:gd name="connsiteX6" fmla="*/ 57132 w 67333"/>
                  <a:gd name="connsiteY6" fmla="*/ 56767 h 75859"/>
                  <a:gd name="connsiteX7" fmla="*/ 64783 w 67333"/>
                  <a:gd name="connsiteY7" fmla="*/ 64346 h 75859"/>
                  <a:gd name="connsiteX8" fmla="*/ 36800 w 67333"/>
                  <a:gd name="connsiteY8" fmla="*/ 75860 h 75859"/>
                  <a:gd name="connsiteX9" fmla="*/ 0 w 67333"/>
                  <a:gd name="connsiteY9" fmla="*/ 37966 h 75859"/>
                  <a:gd name="connsiteX10" fmla="*/ 54946 w 67333"/>
                  <a:gd name="connsiteY10" fmla="*/ 31627 h 75859"/>
                  <a:gd name="connsiteX11" fmla="*/ 34906 w 67333"/>
                  <a:gd name="connsiteY11" fmla="*/ 10494 h 75859"/>
                  <a:gd name="connsiteX12" fmla="*/ 13117 w 67333"/>
                  <a:gd name="connsiteY12" fmla="*/ 31627 h 75859"/>
                  <a:gd name="connsiteX13" fmla="*/ 54873 w 67333"/>
                  <a:gd name="connsiteY13" fmla="*/ 31627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333" h="75859">
                    <a:moveTo>
                      <a:pt x="73" y="37966"/>
                    </a:moveTo>
                    <a:cubicBezTo>
                      <a:pt x="73" y="12461"/>
                      <a:pt x="16615" y="0"/>
                      <a:pt x="35489" y="0"/>
                    </a:cubicBezTo>
                    <a:cubicBezTo>
                      <a:pt x="59172" y="0"/>
                      <a:pt x="67334" y="19020"/>
                      <a:pt x="67334" y="35270"/>
                    </a:cubicBezTo>
                    <a:cubicBezTo>
                      <a:pt x="67334" y="37238"/>
                      <a:pt x="67334" y="39205"/>
                      <a:pt x="67115" y="40954"/>
                    </a:cubicBezTo>
                    <a:lnTo>
                      <a:pt x="12826" y="40954"/>
                    </a:lnTo>
                    <a:cubicBezTo>
                      <a:pt x="13700" y="56767"/>
                      <a:pt x="21716" y="65512"/>
                      <a:pt x="36800" y="65512"/>
                    </a:cubicBezTo>
                    <a:cubicBezTo>
                      <a:pt x="45691" y="65512"/>
                      <a:pt x="51812" y="63034"/>
                      <a:pt x="57132" y="56767"/>
                    </a:cubicBezTo>
                    <a:lnTo>
                      <a:pt x="64783" y="64346"/>
                    </a:lnTo>
                    <a:cubicBezTo>
                      <a:pt x="57642" y="72362"/>
                      <a:pt x="49553" y="75860"/>
                      <a:pt x="36800" y="75860"/>
                    </a:cubicBezTo>
                    <a:cubicBezTo>
                      <a:pt x="14720" y="75860"/>
                      <a:pt x="0" y="62597"/>
                      <a:pt x="0" y="37966"/>
                    </a:cubicBezTo>
                    <a:close/>
                    <a:moveTo>
                      <a:pt x="54946" y="31627"/>
                    </a:moveTo>
                    <a:cubicBezTo>
                      <a:pt x="53634" y="17271"/>
                      <a:pt x="46201" y="10494"/>
                      <a:pt x="34906" y="10494"/>
                    </a:cubicBezTo>
                    <a:cubicBezTo>
                      <a:pt x="23610" y="10494"/>
                      <a:pt x="15085" y="17489"/>
                      <a:pt x="13117" y="31627"/>
                    </a:cubicBezTo>
                    <a:lnTo>
                      <a:pt x="54873" y="31627"/>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03" name="Freeform 356">
                <a:extLst>
                  <a:ext uri="{FF2B5EF4-FFF2-40B4-BE49-F238E27FC236}">
                    <a16:creationId xmlns:a16="http://schemas.microsoft.com/office/drawing/2014/main" id="{C3094941-E53D-06A8-C5B0-8A050A19159A}"/>
                  </a:ext>
                </a:extLst>
              </p:cNvPr>
              <p:cNvSpPr/>
              <p:nvPr/>
            </p:nvSpPr>
            <p:spPr>
              <a:xfrm>
                <a:off x="7991965" y="4635390"/>
                <a:ext cx="34978" cy="74475"/>
              </a:xfrm>
              <a:custGeom>
                <a:avLst/>
                <a:gdLst>
                  <a:gd name="connsiteX0" fmla="*/ 0 w 34978"/>
                  <a:gd name="connsiteY0" fmla="*/ 1458 h 74475"/>
                  <a:gd name="connsiteX1" fmla="*/ 11659 w 34978"/>
                  <a:gd name="connsiteY1" fmla="*/ 1458 h 74475"/>
                  <a:gd name="connsiteX2" fmla="*/ 11659 w 34978"/>
                  <a:gd name="connsiteY2" fmla="*/ 17052 h 74475"/>
                  <a:gd name="connsiteX3" fmla="*/ 11951 w 34978"/>
                  <a:gd name="connsiteY3" fmla="*/ 17052 h 74475"/>
                  <a:gd name="connsiteX4" fmla="*/ 29149 w 34978"/>
                  <a:gd name="connsiteY4" fmla="*/ 0 h 74475"/>
                  <a:gd name="connsiteX5" fmla="*/ 34978 w 34978"/>
                  <a:gd name="connsiteY5" fmla="*/ 656 h 74475"/>
                  <a:gd name="connsiteX6" fmla="*/ 34978 w 34978"/>
                  <a:gd name="connsiteY6" fmla="*/ 12607 h 74475"/>
                  <a:gd name="connsiteX7" fmla="*/ 28857 w 34978"/>
                  <a:gd name="connsiteY7" fmla="*/ 11878 h 74475"/>
                  <a:gd name="connsiteX8" fmla="*/ 12242 w 34978"/>
                  <a:gd name="connsiteY8" fmla="*/ 36436 h 74475"/>
                  <a:gd name="connsiteX9" fmla="*/ 12242 w 34978"/>
                  <a:gd name="connsiteY9" fmla="*/ 74475 h 74475"/>
                  <a:gd name="connsiteX10" fmla="*/ 72 w 34978"/>
                  <a:gd name="connsiteY10" fmla="*/ 74475 h 74475"/>
                  <a:gd name="connsiteX11" fmla="*/ 72 w 34978"/>
                  <a:gd name="connsiteY11"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978" h="74475">
                    <a:moveTo>
                      <a:pt x="0" y="1458"/>
                    </a:moveTo>
                    <a:lnTo>
                      <a:pt x="11659" y="1458"/>
                    </a:lnTo>
                    <a:lnTo>
                      <a:pt x="11659" y="17052"/>
                    </a:lnTo>
                    <a:lnTo>
                      <a:pt x="11951" y="17052"/>
                    </a:lnTo>
                    <a:cubicBezTo>
                      <a:pt x="14720" y="4591"/>
                      <a:pt x="20768" y="0"/>
                      <a:pt x="29149" y="0"/>
                    </a:cubicBezTo>
                    <a:cubicBezTo>
                      <a:pt x="31626" y="0"/>
                      <a:pt x="33885" y="365"/>
                      <a:pt x="34978" y="656"/>
                    </a:cubicBezTo>
                    <a:lnTo>
                      <a:pt x="34978" y="12607"/>
                    </a:lnTo>
                    <a:cubicBezTo>
                      <a:pt x="33448" y="12170"/>
                      <a:pt x="31116" y="11878"/>
                      <a:pt x="28857" y="11878"/>
                    </a:cubicBezTo>
                    <a:cubicBezTo>
                      <a:pt x="16396" y="11878"/>
                      <a:pt x="12242" y="21206"/>
                      <a:pt x="12242" y="36436"/>
                    </a:cubicBezTo>
                    <a:lnTo>
                      <a:pt x="12242" y="74475"/>
                    </a:lnTo>
                    <a:lnTo>
                      <a:pt x="72" y="74475"/>
                    </a:lnTo>
                    <a:lnTo>
                      <a:pt x="72"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04" name="Freeform 357">
                <a:extLst>
                  <a:ext uri="{FF2B5EF4-FFF2-40B4-BE49-F238E27FC236}">
                    <a16:creationId xmlns:a16="http://schemas.microsoft.com/office/drawing/2014/main" id="{A7F9B08E-7770-8D1A-22DC-212958637F78}"/>
                  </a:ext>
                </a:extLst>
              </p:cNvPr>
              <p:cNvSpPr/>
              <p:nvPr/>
            </p:nvSpPr>
            <p:spPr>
              <a:xfrm>
                <a:off x="8039769" y="4606897"/>
                <a:ext cx="16250" cy="103040"/>
              </a:xfrm>
              <a:custGeom>
                <a:avLst/>
                <a:gdLst>
                  <a:gd name="connsiteX0" fmla="*/ 8089 w 16250"/>
                  <a:gd name="connsiteY0" fmla="*/ 0 h 103040"/>
                  <a:gd name="connsiteX1" fmla="*/ 16250 w 16250"/>
                  <a:gd name="connsiteY1" fmla="*/ 8162 h 103040"/>
                  <a:gd name="connsiteX2" fmla="*/ 8089 w 16250"/>
                  <a:gd name="connsiteY2" fmla="*/ 16323 h 103040"/>
                  <a:gd name="connsiteX3" fmla="*/ 0 w 16250"/>
                  <a:gd name="connsiteY3" fmla="*/ 8162 h 103040"/>
                  <a:gd name="connsiteX4" fmla="*/ 8089 w 16250"/>
                  <a:gd name="connsiteY4" fmla="*/ 0 h 103040"/>
                  <a:gd name="connsiteX5" fmla="*/ 1967 w 16250"/>
                  <a:gd name="connsiteY5" fmla="*/ 29950 h 103040"/>
                  <a:gd name="connsiteX6" fmla="*/ 14137 w 16250"/>
                  <a:gd name="connsiteY6" fmla="*/ 29950 h 103040"/>
                  <a:gd name="connsiteX7" fmla="*/ 14137 w 16250"/>
                  <a:gd name="connsiteY7" fmla="*/ 103041 h 103040"/>
                  <a:gd name="connsiteX8" fmla="*/ 1967 w 16250"/>
                  <a:gd name="connsiteY8" fmla="*/ 103041 h 103040"/>
                  <a:gd name="connsiteX9" fmla="*/ 1967 w 16250"/>
                  <a:gd name="connsiteY9" fmla="*/ 29950 h 10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50" h="103040">
                    <a:moveTo>
                      <a:pt x="8089" y="0"/>
                    </a:moveTo>
                    <a:cubicBezTo>
                      <a:pt x="12826" y="0"/>
                      <a:pt x="16250" y="3425"/>
                      <a:pt x="16250" y="8162"/>
                    </a:cubicBezTo>
                    <a:cubicBezTo>
                      <a:pt x="16250" y="12898"/>
                      <a:pt x="12826" y="16323"/>
                      <a:pt x="8089" y="16323"/>
                    </a:cubicBezTo>
                    <a:cubicBezTo>
                      <a:pt x="3352" y="16323"/>
                      <a:pt x="0" y="12898"/>
                      <a:pt x="0" y="8162"/>
                    </a:cubicBezTo>
                    <a:cubicBezTo>
                      <a:pt x="0" y="3425"/>
                      <a:pt x="3425" y="0"/>
                      <a:pt x="8089" y="0"/>
                    </a:cubicBezTo>
                    <a:close/>
                    <a:moveTo>
                      <a:pt x="1967" y="29950"/>
                    </a:moveTo>
                    <a:lnTo>
                      <a:pt x="14137" y="29950"/>
                    </a:lnTo>
                    <a:lnTo>
                      <a:pt x="14137" y="103041"/>
                    </a:lnTo>
                    <a:lnTo>
                      <a:pt x="1967" y="103041"/>
                    </a:lnTo>
                    <a:lnTo>
                      <a:pt x="1967" y="2995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05" name="Freeform 358">
                <a:extLst>
                  <a:ext uri="{FF2B5EF4-FFF2-40B4-BE49-F238E27FC236}">
                    <a16:creationId xmlns:a16="http://schemas.microsoft.com/office/drawing/2014/main" id="{67F605C6-D108-3668-97FE-C1B25C496B0D}"/>
                  </a:ext>
                </a:extLst>
              </p:cNvPr>
              <p:cNvSpPr/>
              <p:nvPr/>
            </p:nvSpPr>
            <p:spPr>
              <a:xfrm>
                <a:off x="8071104" y="4635390"/>
                <a:ext cx="67333" cy="75859"/>
              </a:xfrm>
              <a:custGeom>
                <a:avLst/>
                <a:gdLst>
                  <a:gd name="connsiteX0" fmla="*/ 73 w 67333"/>
                  <a:gd name="connsiteY0" fmla="*/ 37966 h 75859"/>
                  <a:gd name="connsiteX1" fmla="*/ 35489 w 67333"/>
                  <a:gd name="connsiteY1" fmla="*/ 0 h 75859"/>
                  <a:gd name="connsiteX2" fmla="*/ 67334 w 67333"/>
                  <a:gd name="connsiteY2" fmla="*/ 35270 h 75859"/>
                  <a:gd name="connsiteX3" fmla="*/ 67115 w 67333"/>
                  <a:gd name="connsiteY3" fmla="*/ 40954 h 75859"/>
                  <a:gd name="connsiteX4" fmla="*/ 12826 w 67333"/>
                  <a:gd name="connsiteY4" fmla="*/ 40954 h 75859"/>
                  <a:gd name="connsiteX5" fmla="*/ 36800 w 67333"/>
                  <a:gd name="connsiteY5" fmla="*/ 65512 h 75859"/>
                  <a:gd name="connsiteX6" fmla="*/ 57131 w 67333"/>
                  <a:gd name="connsiteY6" fmla="*/ 56767 h 75859"/>
                  <a:gd name="connsiteX7" fmla="*/ 64783 w 67333"/>
                  <a:gd name="connsiteY7" fmla="*/ 64346 h 75859"/>
                  <a:gd name="connsiteX8" fmla="*/ 36800 w 67333"/>
                  <a:gd name="connsiteY8" fmla="*/ 75860 h 75859"/>
                  <a:gd name="connsiteX9" fmla="*/ 0 w 67333"/>
                  <a:gd name="connsiteY9" fmla="*/ 37966 h 75859"/>
                  <a:gd name="connsiteX10" fmla="*/ 54945 w 67333"/>
                  <a:gd name="connsiteY10" fmla="*/ 31627 h 75859"/>
                  <a:gd name="connsiteX11" fmla="*/ 34905 w 67333"/>
                  <a:gd name="connsiteY11" fmla="*/ 10494 h 75859"/>
                  <a:gd name="connsiteX12" fmla="*/ 13117 w 67333"/>
                  <a:gd name="connsiteY12" fmla="*/ 31627 h 75859"/>
                  <a:gd name="connsiteX13" fmla="*/ 54872 w 67333"/>
                  <a:gd name="connsiteY13" fmla="*/ 31627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333" h="75859">
                    <a:moveTo>
                      <a:pt x="73" y="37966"/>
                    </a:moveTo>
                    <a:cubicBezTo>
                      <a:pt x="73" y="12461"/>
                      <a:pt x="16615" y="0"/>
                      <a:pt x="35489" y="0"/>
                    </a:cubicBezTo>
                    <a:cubicBezTo>
                      <a:pt x="59172" y="0"/>
                      <a:pt x="67334" y="19020"/>
                      <a:pt x="67334" y="35270"/>
                    </a:cubicBezTo>
                    <a:cubicBezTo>
                      <a:pt x="67334" y="37238"/>
                      <a:pt x="67334" y="39205"/>
                      <a:pt x="67115" y="40954"/>
                    </a:cubicBezTo>
                    <a:lnTo>
                      <a:pt x="12826" y="40954"/>
                    </a:lnTo>
                    <a:cubicBezTo>
                      <a:pt x="13700" y="56767"/>
                      <a:pt x="21716" y="65512"/>
                      <a:pt x="36800" y="65512"/>
                    </a:cubicBezTo>
                    <a:cubicBezTo>
                      <a:pt x="45691" y="65512"/>
                      <a:pt x="51812" y="63034"/>
                      <a:pt x="57131" y="56767"/>
                    </a:cubicBezTo>
                    <a:lnTo>
                      <a:pt x="64783" y="64346"/>
                    </a:lnTo>
                    <a:cubicBezTo>
                      <a:pt x="57641" y="72362"/>
                      <a:pt x="49553" y="75860"/>
                      <a:pt x="36800" y="75860"/>
                    </a:cubicBezTo>
                    <a:cubicBezTo>
                      <a:pt x="14720" y="75860"/>
                      <a:pt x="0" y="62597"/>
                      <a:pt x="0" y="37966"/>
                    </a:cubicBezTo>
                    <a:close/>
                    <a:moveTo>
                      <a:pt x="54945" y="31627"/>
                    </a:moveTo>
                    <a:cubicBezTo>
                      <a:pt x="53634" y="17271"/>
                      <a:pt x="46201" y="10494"/>
                      <a:pt x="34905" y="10494"/>
                    </a:cubicBezTo>
                    <a:cubicBezTo>
                      <a:pt x="23610" y="10494"/>
                      <a:pt x="15085" y="17489"/>
                      <a:pt x="13117" y="31627"/>
                    </a:cubicBezTo>
                    <a:lnTo>
                      <a:pt x="54872" y="31627"/>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06" name="Freeform 359">
                <a:extLst>
                  <a:ext uri="{FF2B5EF4-FFF2-40B4-BE49-F238E27FC236}">
                    <a16:creationId xmlns:a16="http://schemas.microsoft.com/office/drawing/2014/main" id="{FB55307B-A34D-A8B8-76A2-04D733E43C17}"/>
                  </a:ext>
                </a:extLst>
              </p:cNvPr>
              <p:cNvSpPr/>
              <p:nvPr/>
            </p:nvSpPr>
            <p:spPr>
              <a:xfrm>
                <a:off x="8155635" y="4635463"/>
                <a:ext cx="58589" cy="74548"/>
              </a:xfrm>
              <a:custGeom>
                <a:avLst/>
                <a:gdLst>
                  <a:gd name="connsiteX0" fmla="*/ 0 w 58589"/>
                  <a:gd name="connsiteY0" fmla="*/ 1385 h 74548"/>
                  <a:gd name="connsiteX1" fmla="*/ 11660 w 58589"/>
                  <a:gd name="connsiteY1" fmla="*/ 1385 h 74548"/>
                  <a:gd name="connsiteX2" fmla="*/ 11660 w 58589"/>
                  <a:gd name="connsiteY2" fmla="*/ 16615 h 74548"/>
                  <a:gd name="connsiteX3" fmla="*/ 11951 w 58589"/>
                  <a:gd name="connsiteY3" fmla="*/ 16615 h 74548"/>
                  <a:gd name="connsiteX4" fmla="*/ 35707 w 58589"/>
                  <a:gd name="connsiteY4" fmla="*/ 0 h 74548"/>
                  <a:gd name="connsiteX5" fmla="*/ 58589 w 58589"/>
                  <a:gd name="connsiteY5" fmla="*/ 25797 h 74548"/>
                  <a:gd name="connsiteX6" fmla="*/ 58589 w 58589"/>
                  <a:gd name="connsiteY6" fmla="*/ 74548 h 74548"/>
                  <a:gd name="connsiteX7" fmla="*/ 46347 w 58589"/>
                  <a:gd name="connsiteY7" fmla="*/ 74548 h 74548"/>
                  <a:gd name="connsiteX8" fmla="*/ 46347 w 58589"/>
                  <a:gd name="connsiteY8" fmla="*/ 28201 h 74548"/>
                  <a:gd name="connsiteX9" fmla="*/ 31262 w 58589"/>
                  <a:gd name="connsiteY9" fmla="*/ 10858 h 74548"/>
                  <a:gd name="connsiteX10" fmla="*/ 12242 w 58589"/>
                  <a:gd name="connsiteY10" fmla="*/ 32137 h 74548"/>
                  <a:gd name="connsiteX11" fmla="*/ 12242 w 58589"/>
                  <a:gd name="connsiteY11" fmla="*/ 74548 h 74548"/>
                  <a:gd name="connsiteX12" fmla="*/ 73 w 58589"/>
                  <a:gd name="connsiteY12" fmla="*/ 74548 h 74548"/>
                  <a:gd name="connsiteX13" fmla="*/ 73 w 58589"/>
                  <a:gd name="connsiteY13" fmla="*/ 1458 h 7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89" h="74548">
                    <a:moveTo>
                      <a:pt x="0" y="1385"/>
                    </a:moveTo>
                    <a:lnTo>
                      <a:pt x="11660" y="1385"/>
                    </a:lnTo>
                    <a:lnTo>
                      <a:pt x="11660" y="16615"/>
                    </a:lnTo>
                    <a:lnTo>
                      <a:pt x="11951" y="16615"/>
                    </a:lnTo>
                    <a:cubicBezTo>
                      <a:pt x="14866" y="8964"/>
                      <a:pt x="20987" y="0"/>
                      <a:pt x="35707" y="0"/>
                    </a:cubicBezTo>
                    <a:cubicBezTo>
                      <a:pt x="51156" y="0"/>
                      <a:pt x="58589" y="10421"/>
                      <a:pt x="58589" y="25797"/>
                    </a:cubicBezTo>
                    <a:lnTo>
                      <a:pt x="58589" y="74548"/>
                    </a:lnTo>
                    <a:lnTo>
                      <a:pt x="46347" y="74548"/>
                    </a:lnTo>
                    <a:lnTo>
                      <a:pt x="46347" y="28201"/>
                    </a:lnTo>
                    <a:cubicBezTo>
                      <a:pt x="46347" y="17489"/>
                      <a:pt x="42484" y="10858"/>
                      <a:pt x="31262" y="10858"/>
                    </a:cubicBezTo>
                    <a:cubicBezTo>
                      <a:pt x="20040" y="10858"/>
                      <a:pt x="12242" y="18510"/>
                      <a:pt x="12242" y="32137"/>
                    </a:cubicBezTo>
                    <a:lnTo>
                      <a:pt x="12242" y="74548"/>
                    </a:lnTo>
                    <a:lnTo>
                      <a:pt x="73" y="74548"/>
                    </a:lnTo>
                    <a:lnTo>
                      <a:pt x="73" y="1458"/>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07" name="Freeform 360">
                <a:extLst>
                  <a:ext uri="{FF2B5EF4-FFF2-40B4-BE49-F238E27FC236}">
                    <a16:creationId xmlns:a16="http://schemas.microsoft.com/office/drawing/2014/main" id="{006D231D-258B-1420-5F34-D8A1B5D389EA}"/>
                  </a:ext>
                </a:extLst>
              </p:cNvPr>
              <p:cNvSpPr/>
              <p:nvPr/>
            </p:nvSpPr>
            <p:spPr>
              <a:xfrm>
                <a:off x="8230693" y="4635390"/>
                <a:ext cx="63690" cy="75932"/>
              </a:xfrm>
              <a:custGeom>
                <a:avLst/>
                <a:gdLst>
                  <a:gd name="connsiteX0" fmla="*/ 0 w 63690"/>
                  <a:gd name="connsiteY0" fmla="*/ 37966 h 75932"/>
                  <a:gd name="connsiteX1" fmla="*/ 35124 w 63690"/>
                  <a:gd name="connsiteY1" fmla="*/ 0 h 75932"/>
                  <a:gd name="connsiteX2" fmla="*/ 63690 w 63690"/>
                  <a:gd name="connsiteY2" fmla="*/ 13919 h 75932"/>
                  <a:gd name="connsiteX3" fmla="*/ 55092 w 63690"/>
                  <a:gd name="connsiteY3" fmla="*/ 20842 h 75932"/>
                  <a:gd name="connsiteX4" fmla="*/ 35416 w 63690"/>
                  <a:gd name="connsiteY4" fmla="*/ 10421 h 75932"/>
                  <a:gd name="connsiteX5" fmla="*/ 12680 w 63690"/>
                  <a:gd name="connsiteY5" fmla="*/ 37966 h 75932"/>
                  <a:gd name="connsiteX6" fmla="*/ 35416 w 63690"/>
                  <a:gd name="connsiteY6" fmla="*/ 65585 h 75932"/>
                  <a:gd name="connsiteX7" fmla="*/ 55092 w 63690"/>
                  <a:gd name="connsiteY7" fmla="*/ 55164 h 75932"/>
                  <a:gd name="connsiteX8" fmla="*/ 63690 w 63690"/>
                  <a:gd name="connsiteY8" fmla="*/ 62087 h 75932"/>
                  <a:gd name="connsiteX9" fmla="*/ 35124 w 63690"/>
                  <a:gd name="connsiteY9" fmla="*/ 75933 h 75932"/>
                  <a:gd name="connsiteX10" fmla="*/ 0 w 63690"/>
                  <a:gd name="connsiteY10" fmla="*/ 38039 h 7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690" h="75932">
                    <a:moveTo>
                      <a:pt x="0" y="37966"/>
                    </a:moveTo>
                    <a:cubicBezTo>
                      <a:pt x="0" y="13336"/>
                      <a:pt x="15230" y="0"/>
                      <a:pt x="35124" y="0"/>
                    </a:cubicBezTo>
                    <a:cubicBezTo>
                      <a:pt x="48169" y="0"/>
                      <a:pt x="57933" y="5538"/>
                      <a:pt x="63690" y="13919"/>
                    </a:cubicBezTo>
                    <a:lnTo>
                      <a:pt x="55092" y="20842"/>
                    </a:lnTo>
                    <a:cubicBezTo>
                      <a:pt x="50646" y="14356"/>
                      <a:pt x="44452" y="10421"/>
                      <a:pt x="35416" y="10421"/>
                    </a:cubicBezTo>
                    <a:cubicBezTo>
                      <a:pt x="22080" y="10421"/>
                      <a:pt x="12680" y="19675"/>
                      <a:pt x="12680" y="37966"/>
                    </a:cubicBezTo>
                    <a:cubicBezTo>
                      <a:pt x="12680" y="56257"/>
                      <a:pt x="22080" y="65585"/>
                      <a:pt x="35416" y="65585"/>
                    </a:cubicBezTo>
                    <a:cubicBezTo>
                      <a:pt x="44379" y="65585"/>
                      <a:pt x="50646" y="61650"/>
                      <a:pt x="55092" y="55164"/>
                    </a:cubicBezTo>
                    <a:lnTo>
                      <a:pt x="63690" y="62087"/>
                    </a:lnTo>
                    <a:cubicBezTo>
                      <a:pt x="57933" y="70467"/>
                      <a:pt x="48242" y="75933"/>
                      <a:pt x="35124" y="75933"/>
                    </a:cubicBezTo>
                    <a:cubicBezTo>
                      <a:pt x="15157" y="75933"/>
                      <a:pt x="0" y="62670"/>
                      <a:pt x="0" y="3803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08" name="Freeform 361">
                <a:extLst>
                  <a:ext uri="{FF2B5EF4-FFF2-40B4-BE49-F238E27FC236}">
                    <a16:creationId xmlns:a16="http://schemas.microsoft.com/office/drawing/2014/main" id="{FB042DB8-E798-6DB9-CE3B-5018C7A8F8C3}"/>
                  </a:ext>
                </a:extLst>
              </p:cNvPr>
              <p:cNvSpPr/>
              <p:nvPr/>
            </p:nvSpPr>
            <p:spPr>
              <a:xfrm>
                <a:off x="8302763" y="4635390"/>
                <a:ext cx="67333" cy="75859"/>
              </a:xfrm>
              <a:custGeom>
                <a:avLst/>
                <a:gdLst>
                  <a:gd name="connsiteX0" fmla="*/ 73 w 67333"/>
                  <a:gd name="connsiteY0" fmla="*/ 37966 h 75859"/>
                  <a:gd name="connsiteX1" fmla="*/ 35489 w 67333"/>
                  <a:gd name="connsiteY1" fmla="*/ 0 h 75859"/>
                  <a:gd name="connsiteX2" fmla="*/ 67334 w 67333"/>
                  <a:gd name="connsiteY2" fmla="*/ 35270 h 75859"/>
                  <a:gd name="connsiteX3" fmla="*/ 67115 w 67333"/>
                  <a:gd name="connsiteY3" fmla="*/ 40954 h 75859"/>
                  <a:gd name="connsiteX4" fmla="*/ 12826 w 67333"/>
                  <a:gd name="connsiteY4" fmla="*/ 40954 h 75859"/>
                  <a:gd name="connsiteX5" fmla="*/ 36800 w 67333"/>
                  <a:gd name="connsiteY5" fmla="*/ 65512 h 75859"/>
                  <a:gd name="connsiteX6" fmla="*/ 57132 w 67333"/>
                  <a:gd name="connsiteY6" fmla="*/ 56767 h 75859"/>
                  <a:gd name="connsiteX7" fmla="*/ 64783 w 67333"/>
                  <a:gd name="connsiteY7" fmla="*/ 64346 h 75859"/>
                  <a:gd name="connsiteX8" fmla="*/ 36800 w 67333"/>
                  <a:gd name="connsiteY8" fmla="*/ 75860 h 75859"/>
                  <a:gd name="connsiteX9" fmla="*/ 0 w 67333"/>
                  <a:gd name="connsiteY9" fmla="*/ 37966 h 75859"/>
                  <a:gd name="connsiteX10" fmla="*/ 54946 w 67333"/>
                  <a:gd name="connsiteY10" fmla="*/ 31627 h 75859"/>
                  <a:gd name="connsiteX11" fmla="*/ 34906 w 67333"/>
                  <a:gd name="connsiteY11" fmla="*/ 10494 h 75859"/>
                  <a:gd name="connsiteX12" fmla="*/ 13117 w 67333"/>
                  <a:gd name="connsiteY12" fmla="*/ 31627 h 75859"/>
                  <a:gd name="connsiteX13" fmla="*/ 54873 w 67333"/>
                  <a:gd name="connsiteY13" fmla="*/ 31627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333" h="75859">
                    <a:moveTo>
                      <a:pt x="73" y="37966"/>
                    </a:moveTo>
                    <a:cubicBezTo>
                      <a:pt x="73" y="12461"/>
                      <a:pt x="16615" y="0"/>
                      <a:pt x="35489" y="0"/>
                    </a:cubicBezTo>
                    <a:cubicBezTo>
                      <a:pt x="59172" y="0"/>
                      <a:pt x="67334" y="19020"/>
                      <a:pt x="67334" y="35270"/>
                    </a:cubicBezTo>
                    <a:cubicBezTo>
                      <a:pt x="67334" y="37238"/>
                      <a:pt x="67334" y="39205"/>
                      <a:pt x="67115" y="40954"/>
                    </a:cubicBezTo>
                    <a:lnTo>
                      <a:pt x="12826" y="40954"/>
                    </a:lnTo>
                    <a:cubicBezTo>
                      <a:pt x="13700" y="56767"/>
                      <a:pt x="21716" y="65512"/>
                      <a:pt x="36800" y="65512"/>
                    </a:cubicBezTo>
                    <a:cubicBezTo>
                      <a:pt x="45691" y="65512"/>
                      <a:pt x="51812" y="63034"/>
                      <a:pt x="57132" y="56767"/>
                    </a:cubicBezTo>
                    <a:lnTo>
                      <a:pt x="64783" y="64346"/>
                    </a:lnTo>
                    <a:cubicBezTo>
                      <a:pt x="57642" y="72362"/>
                      <a:pt x="49553" y="75860"/>
                      <a:pt x="36800" y="75860"/>
                    </a:cubicBezTo>
                    <a:cubicBezTo>
                      <a:pt x="14720" y="75860"/>
                      <a:pt x="0" y="62597"/>
                      <a:pt x="0" y="37966"/>
                    </a:cubicBezTo>
                    <a:close/>
                    <a:moveTo>
                      <a:pt x="54946" y="31627"/>
                    </a:moveTo>
                    <a:cubicBezTo>
                      <a:pt x="53634" y="17271"/>
                      <a:pt x="46201" y="10494"/>
                      <a:pt x="34906" y="10494"/>
                    </a:cubicBezTo>
                    <a:cubicBezTo>
                      <a:pt x="23610" y="10494"/>
                      <a:pt x="15085" y="17489"/>
                      <a:pt x="13117" y="31627"/>
                    </a:cubicBezTo>
                    <a:lnTo>
                      <a:pt x="54873" y="31627"/>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grpSp>
          <p:nvGrpSpPr>
            <p:cNvPr id="1709" name="Graphic 2">
              <a:extLst>
                <a:ext uri="{FF2B5EF4-FFF2-40B4-BE49-F238E27FC236}">
                  <a16:creationId xmlns:a16="http://schemas.microsoft.com/office/drawing/2014/main" id="{CB2EE4DD-895E-0AB7-7E17-C689E77DFBAB}"/>
                </a:ext>
              </a:extLst>
            </p:cNvPr>
            <p:cNvGrpSpPr/>
            <p:nvPr/>
          </p:nvGrpSpPr>
          <p:grpSpPr>
            <a:xfrm>
              <a:off x="5719683" y="3003088"/>
              <a:ext cx="813179" cy="299205"/>
              <a:chOff x="5721204" y="3002987"/>
              <a:chExt cx="813395" cy="299284"/>
            </a:xfrm>
            <a:solidFill>
              <a:srgbClr val="00144A"/>
            </a:solidFill>
          </p:grpSpPr>
          <p:sp>
            <p:nvSpPr>
              <p:cNvPr id="1710" name="Freeform 363">
                <a:extLst>
                  <a:ext uri="{FF2B5EF4-FFF2-40B4-BE49-F238E27FC236}">
                    <a16:creationId xmlns:a16="http://schemas.microsoft.com/office/drawing/2014/main" id="{40EA3619-F132-2B18-737B-DFF3EAE03676}"/>
                  </a:ext>
                </a:extLst>
              </p:cNvPr>
              <p:cNvSpPr/>
              <p:nvPr/>
            </p:nvSpPr>
            <p:spPr>
              <a:xfrm>
                <a:off x="5721204" y="3009327"/>
                <a:ext cx="71414" cy="98012"/>
              </a:xfrm>
              <a:custGeom>
                <a:avLst/>
                <a:gdLst>
                  <a:gd name="connsiteX0" fmla="*/ 0 w 71414"/>
                  <a:gd name="connsiteY0" fmla="*/ 82856 h 98012"/>
                  <a:gd name="connsiteX1" fmla="*/ 8818 w 71414"/>
                  <a:gd name="connsiteY1" fmla="*/ 74038 h 98012"/>
                  <a:gd name="connsiteX2" fmla="*/ 35562 w 71414"/>
                  <a:gd name="connsiteY2" fmla="*/ 86718 h 98012"/>
                  <a:gd name="connsiteX3" fmla="*/ 58662 w 71414"/>
                  <a:gd name="connsiteY3" fmla="*/ 71050 h 98012"/>
                  <a:gd name="connsiteX4" fmla="*/ 34542 w 71414"/>
                  <a:gd name="connsiteY4" fmla="*/ 53342 h 98012"/>
                  <a:gd name="connsiteX5" fmla="*/ 3717 w 71414"/>
                  <a:gd name="connsiteY5" fmla="*/ 25505 h 98012"/>
                  <a:gd name="connsiteX6" fmla="*/ 36801 w 71414"/>
                  <a:gd name="connsiteY6" fmla="*/ 0 h 98012"/>
                  <a:gd name="connsiteX7" fmla="*/ 69010 w 71414"/>
                  <a:gd name="connsiteY7" fmla="*/ 13627 h 98012"/>
                  <a:gd name="connsiteX8" fmla="*/ 60411 w 71414"/>
                  <a:gd name="connsiteY8" fmla="*/ 22153 h 98012"/>
                  <a:gd name="connsiteX9" fmla="*/ 36145 w 71414"/>
                  <a:gd name="connsiteY9" fmla="*/ 11295 h 98012"/>
                  <a:gd name="connsiteX10" fmla="*/ 16324 w 71414"/>
                  <a:gd name="connsiteY10" fmla="*/ 25141 h 98012"/>
                  <a:gd name="connsiteX11" fmla="*/ 39132 w 71414"/>
                  <a:gd name="connsiteY11" fmla="*/ 41756 h 98012"/>
                  <a:gd name="connsiteX12" fmla="*/ 71415 w 71414"/>
                  <a:gd name="connsiteY12" fmla="*/ 70394 h 98012"/>
                  <a:gd name="connsiteX13" fmla="*/ 35562 w 71414"/>
                  <a:gd name="connsiteY13" fmla="*/ 98013 h 98012"/>
                  <a:gd name="connsiteX14" fmla="*/ 0 w 71414"/>
                  <a:gd name="connsiteY14" fmla="*/ 82783 h 9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414" h="98012">
                    <a:moveTo>
                      <a:pt x="0" y="82856"/>
                    </a:moveTo>
                    <a:lnTo>
                      <a:pt x="8818" y="74038"/>
                    </a:lnTo>
                    <a:cubicBezTo>
                      <a:pt x="14502" y="81106"/>
                      <a:pt x="21497" y="86718"/>
                      <a:pt x="35562" y="86718"/>
                    </a:cubicBezTo>
                    <a:cubicBezTo>
                      <a:pt x="48241" y="86718"/>
                      <a:pt x="58662" y="82127"/>
                      <a:pt x="58662" y="71050"/>
                    </a:cubicBezTo>
                    <a:cubicBezTo>
                      <a:pt x="58662" y="59974"/>
                      <a:pt x="47148" y="56549"/>
                      <a:pt x="34542" y="53342"/>
                    </a:cubicBezTo>
                    <a:cubicBezTo>
                      <a:pt x="19894" y="49626"/>
                      <a:pt x="3717" y="45181"/>
                      <a:pt x="3717" y="25505"/>
                    </a:cubicBezTo>
                    <a:cubicBezTo>
                      <a:pt x="3717" y="7360"/>
                      <a:pt x="18947" y="0"/>
                      <a:pt x="36801" y="0"/>
                    </a:cubicBezTo>
                    <a:cubicBezTo>
                      <a:pt x="52760" y="0"/>
                      <a:pt x="62597" y="5903"/>
                      <a:pt x="69010" y="13627"/>
                    </a:cubicBezTo>
                    <a:lnTo>
                      <a:pt x="60411" y="22153"/>
                    </a:lnTo>
                    <a:cubicBezTo>
                      <a:pt x="54873" y="15740"/>
                      <a:pt x="47658" y="11295"/>
                      <a:pt x="36145" y="11295"/>
                    </a:cubicBezTo>
                    <a:cubicBezTo>
                      <a:pt x="22591" y="11295"/>
                      <a:pt x="16324" y="17271"/>
                      <a:pt x="16324" y="25141"/>
                    </a:cubicBezTo>
                    <a:cubicBezTo>
                      <a:pt x="16324" y="35707"/>
                      <a:pt x="27109" y="38622"/>
                      <a:pt x="39132" y="41756"/>
                    </a:cubicBezTo>
                    <a:cubicBezTo>
                      <a:pt x="54363" y="45618"/>
                      <a:pt x="71415" y="50063"/>
                      <a:pt x="71415" y="70394"/>
                    </a:cubicBezTo>
                    <a:cubicBezTo>
                      <a:pt x="71415" y="86426"/>
                      <a:pt x="58954" y="98013"/>
                      <a:pt x="35562" y="98013"/>
                    </a:cubicBezTo>
                    <a:cubicBezTo>
                      <a:pt x="20113" y="98013"/>
                      <a:pt x="8016" y="93058"/>
                      <a:pt x="0" y="82783"/>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11" name="Freeform 364">
                <a:extLst>
                  <a:ext uri="{FF2B5EF4-FFF2-40B4-BE49-F238E27FC236}">
                    <a16:creationId xmlns:a16="http://schemas.microsoft.com/office/drawing/2014/main" id="{40FD8C1D-BAEB-49E5-99BD-E0F325FC2F5C}"/>
                  </a:ext>
                </a:extLst>
              </p:cNvPr>
              <p:cNvSpPr/>
              <p:nvPr/>
            </p:nvSpPr>
            <p:spPr>
              <a:xfrm>
                <a:off x="5809671" y="3032938"/>
                <a:ext cx="58516" cy="74402"/>
              </a:xfrm>
              <a:custGeom>
                <a:avLst/>
                <a:gdLst>
                  <a:gd name="connsiteX0" fmla="*/ 73 w 58516"/>
                  <a:gd name="connsiteY0" fmla="*/ 48751 h 74402"/>
                  <a:gd name="connsiteX1" fmla="*/ 73 w 58516"/>
                  <a:gd name="connsiteY1" fmla="*/ 0 h 74402"/>
                  <a:gd name="connsiteX2" fmla="*/ 12242 w 58516"/>
                  <a:gd name="connsiteY2" fmla="*/ 0 h 74402"/>
                  <a:gd name="connsiteX3" fmla="*/ 12242 w 58516"/>
                  <a:gd name="connsiteY3" fmla="*/ 46346 h 74402"/>
                  <a:gd name="connsiteX4" fmla="*/ 27400 w 58516"/>
                  <a:gd name="connsiteY4" fmla="*/ 63690 h 74402"/>
                  <a:gd name="connsiteX5" fmla="*/ 46346 w 58516"/>
                  <a:gd name="connsiteY5" fmla="*/ 42339 h 74402"/>
                  <a:gd name="connsiteX6" fmla="*/ 46346 w 58516"/>
                  <a:gd name="connsiteY6" fmla="*/ 0 h 74402"/>
                  <a:gd name="connsiteX7" fmla="*/ 58516 w 58516"/>
                  <a:gd name="connsiteY7" fmla="*/ 0 h 74402"/>
                  <a:gd name="connsiteX8" fmla="*/ 58516 w 58516"/>
                  <a:gd name="connsiteY8" fmla="*/ 73090 h 74402"/>
                  <a:gd name="connsiteX9" fmla="*/ 46857 w 58516"/>
                  <a:gd name="connsiteY9" fmla="*/ 73090 h 74402"/>
                  <a:gd name="connsiteX10" fmla="*/ 46857 w 58516"/>
                  <a:gd name="connsiteY10" fmla="*/ 57860 h 74402"/>
                  <a:gd name="connsiteX11" fmla="*/ 46565 w 58516"/>
                  <a:gd name="connsiteY11" fmla="*/ 57860 h 74402"/>
                  <a:gd name="connsiteX12" fmla="*/ 22882 w 58516"/>
                  <a:gd name="connsiteY12" fmla="*/ 74402 h 74402"/>
                  <a:gd name="connsiteX13" fmla="*/ 0 w 58516"/>
                  <a:gd name="connsiteY13" fmla="*/ 48678 h 7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16" h="74402">
                    <a:moveTo>
                      <a:pt x="73" y="48751"/>
                    </a:moveTo>
                    <a:lnTo>
                      <a:pt x="73" y="0"/>
                    </a:lnTo>
                    <a:lnTo>
                      <a:pt x="12242" y="0"/>
                    </a:lnTo>
                    <a:lnTo>
                      <a:pt x="12242" y="46346"/>
                    </a:lnTo>
                    <a:cubicBezTo>
                      <a:pt x="12242" y="56986"/>
                      <a:pt x="16178" y="63690"/>
                      <a:pt x="27400" y="63690"/>
                    </a:cubicBezTo>
                    <a:cubicBezTo>
                      <a:pt x="38622" y="63690"/>
                      <a:pt x="46346" y="56038"/>
                      <a:pt x="46346" y="42339"/>
                    </a:cubicBezTo>
                    <a:lnTo>
                      <a:pt x="46346" y="0"/>
                    </a:lnTo>
                    <a:lnTo>
                      <a:pt x="58516" y="0"/>
                    </a:lnTo>
                    <a:lnTo>
                      <a:pt x="58516" y="73090"/>
                    </a:lnTo>
                    <a:lnTo>
                      <a:pt x="46857" y="73090"/>
                    </a:lnTo>
                    <a:lnTo>
                      <a:pt x="46857" y="57860"/>
                    </a:lnTo>
                    <a:lnTo>
                      <a:pt x="46565" y="57860"/>
                    </a:lnTo>
                    <a:cubicBezTo>
                      <a:pt x="43650" y="65439"/>
                      <a:pt x="37602" y="74402"/>
                      <a:pt x="22882" y="74402"/>
                    </a:cubicBezTo>
                    <a:cubicBezTo>
                      <a:pt x="7433" y="74402"/>
                      <a:pt x="0" y="64054"/>
                      <a:pt x="0" y="48678"/>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12" name="Freeform 365">
                <a:extLst>
                  <a:ext uri="{FF2B5EF4-FFF2-40B4-BE49-F238E27FC236}">
                    <a16:creationId xmlns:a16="http://schemas.microsoft.com/office/drawing/2014/main" id="{5C78690F-8118-D1ED-3E37-C153A3558B65}"/>
                  </a:ext>
                </a:extLst>
              </p:cNvPr>
              <p:cNvSpPr/>
              <p:nvPr/>
            </p:nvSpPr>
            <p:spPr>
              <a:xfrm>
                <a:off x="5889757" y="3031480"/>
                <a:ext cx="71268" cy="103259"/>
              </a:xfrm>
              <a:custGeom>
                <a:avLst/>
                <a:gdLst>
                  <a:gd name="connsiteX0" fmla="*/ 0 w 71268"/>
                  <a:gd name="connsiteY0" fmla="*/ 1458 h 103259"/>
                  <a:gd name="connsiteX1" fmla="*/ 11660 w 71268"/>
                  <a:gd name="connsiteY1" fmla="*/ 1458 h 103259"/>
                  <a:gd name="connsiteX2" fmla="*/ 11660 w 71268"/>
                  <a:gd name="connsiteY2" fmla="*/ 16906 h 103259"/>
                  <a:gd name="connsiteX3" fmla="*/ 11805 w 71268"/>
                  <a:gd name="connsiteY3" fmla="*/ 16906 h 103259"/>
                  <a:gd name="connsiteX4" fmla="*/ 39132 w 71268"/>
                  <a:gd name="connsiteY4" fmla="*/ 0 h 103259"/>
                  <a:gd name="connsiteX5" fmla="*/ 71269 w 71268"/>
                  <a:gd name="connsiteY5" fmla="*/ 37966 h 103259"/>
                  <a:gd name="connsiteX6" fmla="*/ 39569 w 71268"/>
                  <a:gd name="connsiteY6" fmla="*/ 75860 h 103259"/>
                  <a:gd name="connsiteX7" fmla="*/ 12607 w 71268"/>
                  <a:gd name="connsiteY7" fmla="*/ 59828 h 103259"/>
                  <a:gd name="connsiteX8" fmla="*/ 12242 w 71268"/>
                  <a:gd name="connsiteY8" fmla="*/ 59828 h 103259"/>
                  <a:gd name="connsiteX9" fmla="*/ 12242 w 71268"/>
                  <a:gd name="connsiteY9" fmla="*/ 103260 h 103259"/>
                  <a:gd name="connsiteX10" fmla="*/ 73 w 71268"/>
                  <a:gd name="connsiteY10" fmla="*/ 103260 h 103259"/>
                  <a:gd name="connsiteX11" fmla="*/ 73 w 71268"/>
                  <a:gd name="connsiteY11" fmla="*/ 1385 h 103259"/>
                  <a:gd name="connsiteX12" fmla="*/ 35416 w 71268"/>
                  <a:gd name="connsiteY12" fmla="*/ 65512 h 103259"/>
                  <a:gd name="connsiteX13" fmla="*/ 58516 w 71268"/>
                  <a:gd name="connsiteY13" fmla="*/ 37893 h 103259"/>
                  <a:gd name="connsiteX14" fmla="*/ 35416 w 71268"/>
                  <a:gd name="connsiteY14" fmla="*/ 10348 h 103259"/>
                  <a:gd name="connsiteX15" fmla="*/ 12242 w 71268"/>
                  <a:gd name="connsiteY15" fmla="*/ 37893 h 103259"/>
                  <a:gd name="connsiteX16" fmla="*/ 35416 w 71268"/>
                  <a:gd name="connsiteY16" fmla="*/ 65512 h 10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268" h="103259">
                    <a:moveTo>
                      <a:pt x="0" y="1458"/>
                    </a:moveTo>
                    <a:lnTo>
                      <a:pt x="11660" y="1458"/>
                    </a:lnTo>
                    <a:lnTo>
                      <a:pt x="11660" y="16906"/>
                    </a:lnTo>
                    <a:lnTo>
                      <a:pt x="11805" y="16906"/>
                    </a:lnTo>
                    <a:cubicBezTo>
                      <a:pt x="15303" y="8307"/>
                      <a:pt x="22445" y="0"/>
                      <a:pt x="39132" y="0"/>
                    </a:cubicBezTo>
                    <a:cubicBezTo>
                      <a:pt x="58516" y="0"/>
                      <a:pt x="71269" y="15522"/>
                      <a:pt x="71269" y="37966"/>
                    </a:cubicBezTo>
                    <a:cubicBezTo>
                      <a:pt x="71269" y="60411"/>
                      <a:pt x="58954" y="75860"/>
                      <a:pt x="39569" y="75860"/>
                    </a:cubicBezTo>
                    <a:cubicBezTo>
                      <a:pt x="24923" y="75860"/>
                      <a:pt x="16323" y="68427"/>
                      <a:pt x="12607" y="59828"/>
                    </a:cubicBezTo>
                    <a:lnTo>
                      <a:pt x="12242" y="59828"/>
                    </a:lnTo>
                    <a:lnTo>
                      <a:pt x="12242" y="103260"/>
                    </a:lnTo>
                    <a:lnTo>
                      <a:pt x="73" y="103260"/>
                    </a:lnTo>
                    <a:lnTo>
                      <a:pt x="73" y="1385"/>
                    </a:lnTo>
                    <a:close/>
                    <a:moveTo>
                      <a:pt x="35416" y="65512"/>
                    </a:moveTo>
                    <a:cubicBezTo>
                      <a:pt x="48387" y="65512"/>
                      <a:pt x="58516" y="56257"/>
                      <a:pt x="58516" y="37893"/>
                    </a:cubicBezTo>
                    <a:cubicBezTo>
                      <a:pt x="58516" y="19530"/>
                      <a:pt x="48387" y="10348"/>
                      <a:pt x="35416" y="10348"/>
                    </a:cubicBezTo>
                    <a:cubicBezTo>
                      <a:pt x="22445" y="10348"/>
                      <a:pt x="12242" y="19603"/>
                      <a:pt x="12242" y="37893"/>
                    </a:cubicBezTo>
                    <a:cubicBezTo>
                      <a:pt x="12242" y="56184"/>
                      <a:pt x="22372" y="65512"/>
                      <a:pt x="35416" y="65512"/>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13" name="Freeform 366">
                <a:extLst>
                  <a:ext uri="{FF2B5EF4-FFF2-40B4-BE49-F238E27FC236}">
                    <a16:creationId xmlns:a16="http://schemas.microsoft.com/office/drawing/2014/main" id="{90E6790A-1AE8-E80D-5521-920EE700450F}"/>
                  </a:ext>
                </a:extLst>
              </p:cNvPr>
              <p:cNvSpPr/>
              <p:nvPr/>
            </p:nvSpPr>
            <p:spPr>
              <a:xfrm>
                <a:off x="5978150" y="3031480"/>
                <a:ext cx="71268" cy="103259"/>
              </a:xfrm>
              <a:custGeom>
                <a:avLst/>
                <a:gdLst>
                  <a:gd name="connsiteX0" fmla="*/ 0 w 71268"/>
                  <a:gd name="connsiteY0" fmla="*/ 1458 h 103259"/>
                  <a:gd name="connsiteX1" fmla="*/ 11660 w 71268"/>
                  <a:gd name="connsiteY1" fmla="*/ 1458 h 103259"/>
                  <a:gd name="connsiteX2" fmla="*/ 11660 w 71268"/>
                  <a:gd name="connsiteY2" fmla="*/ 16906 h 103259"/>
                  <a:gd name="connsiteX3" fmla="*/ 11805 w 71268"/>
                  <a:gd name="connsiteY3" fmla="*/ 16906 h 103259"/>
                  <a:gd name="connsiteX4" fmla="*/ 39132 w 71268"/>
                  <a:gd name="connsiteY4" fmla="*/ 0 h 103259"/>
                  <a:gd name="connsiteX5" fmla="*/ 71269 w 71268"/>
                  <a:gd name="connsiteY5" fmla="*/ 37966 h 103259"/>
                  <a:gd name="connsiteX6" fmla="*/ 39569 w 71268"/>
                  <a:gd name="connsiteY6" fmla="*/ 75860 h 103259"/>
                  <a:gd name="connsiteX7" fmla="*/ 12607 w 71268"/>
                  <a:gd name="connsiteY7" fmla="*/ 59828 h 103259"/>
                  <a:gd name="connsiteX8" fmla="*/ 12242 w 71268"/>
                  <a:gd name="connsiteY8" fmla="*/ 59828 h 103259"/>
                  <a:gd name="connsiteX9" fmla="*/ 12242 w 71268"/>
                  <a:gd name="connsiteY9" fmla="*/ 103260 h 103259"/>
                  <a:gd name="connsiteX10" fmla="*/ 73 w 71268"/>
                  <a:gd name="connsiteY10" fmla="*/ 103260 h 103259"/>
                  <a:gd name="connsiteX11" fmla="*/ 73 w 71268"/>
                  <a:gd name="connsiteY11" fmla="*/ 1385 h 103259"/>
                  <a:gd name="connsiteX12" fmla="*/ 35343 w 71268"/>
                  <a:gd name="connsiteY12" fmla="*/ 65512 h 103259"/>
                  <a:gd name="connsiteX13" fmla="*/ 58443 w 71268"/>
                  <a:gd name="connsiteY13" fmla="*/ 37893 h 103259"/>
                  <a:gd name="connsiteX14" fmla="*/ 35343 w 71268"/>
                  <a:gd name="connsiteY14" fmla="*/ 10348 h 103259"/>
                  <a:gd name="connsiteX15" fmla="*/ 12170 w 71268"/>
                  <a:gd name="connsiteY15" fmla="*/ 37893 h 103259"/>
                  <a:gd name="connsiteX16" fmla="*/ 35343 w 71268"/>
                  <a:gd name="connsiteY16" fmla="*/ 65512 h 10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268" h="103259">
                    <a:moveTo>
                      <a:pt x="0" y="1458"/>
                    </a:moveTo>
                    <a:lnTo>
                      <a:pt x="11660" y="1458"/>
                    </a:lnTo>
                    <a:lnTo>
                      <a:pt x="11660" y="16906"/>
                    </a:lnTo>
                    <a:lnTo>
                      <a:pt x="11805" y="16906"/>
                    </a:lnTo>
                    <a:cubicBezTo>
                      <a:pt x="15303" y="8307"/>
                      <a:pt x="22445" y="0"/>
                      <a:pt x="39132" y="0"/>
                    </a:cubicBezTo>
                    <a:cubicBezTo>
                      <a:pt x="58516" y="0"/>
                      <a:pt x="71269" y="15522"/>
                      <a:pt x="71269" y="37966"/>
                    </a:cubicBezTo>
                    <a:cubicBezTo>
                      <a:pt x="71269" y="60411"/>
                      <a:pt x="58954" y="75860"/>
                      <a:pt x="39569" y="75860"/>
                    </a:cubicBezTo>
                    <a:cubicBezTo>
                      <a:pt x="24923" y="75860"/>
                      <a:pt x="16323" y="68427"/>
                      <a:pt x="12607" y="59828"/>
                    </a:cubicBezTo>
                    <a:lnTo>
                      <a:pt x="12242" y="59828"/>
                    </a:lnTo>
                    <a:lnTo>
                      <a:pt x="12242" y="103260"/>
                    </a:lnTo>
                    <a:lnTo>
                      <a:pt x="73" y="103260"/>
                    </a:lnTo>
                    <a:lnTo>
                      <a:pt x="73" y="1385"/>
                    </a:lnTo>
                    <a:close/>
                    <a:moveTo>
                      <a:pt x="35343" y="65512"/>
                    </a:moveTo>
                    <a:cubicBezTo>
                      <a:pt x="48314" y="65512"/>
                      <a:pt x="58443" y="56257"/>
                      <a:pt x="58443" y="37893"/>
                    </a:cubicBezTo>
                    <a:cubicBezTo>
                      <a:pt x="58443" y="19530"/>
                      <a:pt x="48314" y="10348"/>
                      <a:pt x="35343" y="10348"/>
                    </a:cubicBezTo>
                    <a:cubicBezTo>
                      <a:pt x="22372" y="10348"/>
                      <a:pt x="12170" y="19603"/>
                      <a:pt x="12170" y="37893"/>
                    </a:cubicBezTo>
                    <a:cubicBezTo>
                      <a:pt x="12170" y="56184"/>
                      <a:pt x="22299" y="65512"/>
                      <a:pt x="35343" y="65512"/>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14" name="Freeform 367">
                <a:extLst>
                  <a:ext uri="{FF2B5EF4-FFF2-40B4-BE49-F238E27FC236}">
                    <a16:creationId xmlns:a16="http://schemas.microsoft.com/office/drawing/2014/main" id="{DE9796FE-0B05-05D8-CB11-9E1AABE517EE}"/>
                  </a:ext>
                </a:extLst>
              </p:cNvPr>
              <p:cNvSpPr/>
              <p:nvPr/>
            </p:nvSpPr>
            <p:spPr>
              <a:xfrm>
                <a:off x="6065961" y="3005683"/>
                <a:ext cx="25651" cy="101437"/>
              </a:xfrm>
              <a:custGeom>
                <a:avLst/>
                <a:gdLst>
                  <a:gd name="connsiteX0" fmla="*/ 0 w 25651"/>
                  <a:gd name="connsiteY0" fmla="*/ 83730 h 101437"/>
                  <a:gd name="connsiteX1" fmla="*/ 0 w 25651"/>
                  <a:gd name="connsiteY1" fmla="*/ 0 h 101437"/>
                  <a:gd name="connsiteX2" fmla="*/ 12170 w 25651"/>
                  <a:gd name="connsiteY2" fmla="*/ 0 h 101437"/>
                  <a:gd name="connsiteX3" fmla="*/ 12170 w 25651"/>
                  <a:gd name="connsiteY3" fmla="*/ 81835 h 101437"/>
                  <a:gd name="connsiteX4" fmla="*/ 19165 w 25651"/>
                  <a:gd name="connsiteY4" fmla="*/ 90434 h 101437"/>
                  <a:gd name="connsiteX5" fmla="*/ 25651 w 25651"/>
                  <a:gd name="connsiteY5" fmla="*/ 89560 h 101437"/>
                  <a:gd name="connsiteX6" fmla="*/ 25651 w 25651"/>
                  <a:gd name="connsiteY6" fmla="*/ 100345 h 101437"/>
                  <a:gd name="connsiteX7" fmla="*/ 16761 w 25651"/>
                  <a:gd name="connsiteY7" fmla="*/ 101438 h 101437"/>
                  <a:gd name="connsiteX8" fmla="*/ 0 w 25651"/>
                  <a:gd name="connsiteY8" fmla="*/ 83730 h 10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51" h="101437">
                    <a:moveTo>
                      <a:pt x="0" y="83730"/>
                    </a:moveTo>
                    <a:lnTo>
                      <a:pt x="0" y="0"/>
                    </a:lnTo>
                    <a:lnTo>
                      <a:pt x="12170" y="0"/>
                    </a:lnTo>
                    <a:lnTo>
                      <a:pt x="12170" y="81835"/>
                    </a:lnTo>
                    <a:cubicBezTo>
                      <a:pt x="12170" y="88467"/>
                      <a:pt x="13700" y="90434"/>
                      <a:pt x="19165" y="90434"/>
                    </a:cubicBezTo>
                    <a:cubicBezTo>
                      <a:pt x="21643" y="90434"/>
                      <a:pt x="23683" y="89997"/>
                      <a:pt x="25651" y="89560"/>
                    </a:cubicBezTo>
                    <a:lnTo>
                      <a:pt x="25651" y="100345"/>
                    </a:lnTo>
                    <a:cubicBezTo>
                      <a:pt x="23246" y="101001"/>
                      <a:pt x="19967" y="101438"/>
                      <a:pt x="16761" y="101438"/>
                    </a:cubicBezTo>
                    <a:cubicBezTo>
                      <a:pt x="4737" y="101438"/>
                      <a:pt x="0" y="95462"/>
                      <a:pt x="0" y="8373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15" name="Freeform 368">
                <a:extLst>
                  <a:ext uri="{FF2B5EF4-FFF2-40B4-BE49-F238E27FC236}">
                    <a16:creationId xmlns:a16="http://schemas.microsoft.com/office/drawing/2014/main" id="{D1BB949B-61AF-8985-293F-3BD4F64F6EEB}"/>
                  </a:ext>
                </a:extLst>
              </p:cNvPr>
              <p:cNvSpPr/>
              <p:nvPr/>
            </p:nvSpPr>
            <p:spPr>
              <a:xfrm>
                <a:off x="6094672" y="3032865"/>
                <a:ext cx="68645" cy="103332"/>
              </a:xfrm>
              <a:custGeom>
                <a:avLst/>
                <a:gdLst>
                  <a:gd name="connsiteX0" fmla="*/ 4081 w 68645"/>
                  <a:gd name="connsiteY0" fmla="*/ 102749 h 103332"/>
                  <a:gd name="connsiteX1" fmla="*/ 4081 w 68645"/>
                  <a:gd name="connsiteY1" fmla="*/ 92256 h 103332"/>
                  <a:gd name="connsiteX2" fmla="*/ 10931 w 68645"/>
                  <a:gd name="connsiteY2" fmla="*/ 93057 h 103332"/>
                  <a:gd name="connsiteX3" fmla="*/ 25214 w 68645"/>
                  <a:gd name="connsiteY3" fmla="*/ 83220 h 103332"/>
                  <a:gd name="connsiteX4" fmla="*/ 29149 w 68645"/>
                  <a:gd name="connsiteY4" fmla="*/ 72872 h 103332"/>
                  <a:gd name="connsiteX5" fmla="*/ 0 w 68645"/>
                  <a:gd name="connsiteY5" fmla="*/ 0 h 103332"/>
                  <a:gd name="connsiteX6" fmla="*/ 12971 w 68645"/>
                  <a:gd name="connsiteY6" fmla="*/ 0 h 103332"/>
                  <a:gd name="connsiteX7" fmla="*/ 28493 w 68645"/>
                  <a:gd name="connsiteY7" fmla="*/ 40444 h 103332"/>
                  <a:gd name="connsiteX8" fmla="*/ 34979 w 68645"/>
                  <a:gd name="connsiteY8" fmla="*/ 59391 h 103332"/>
                  <a:gd name="connsiteX9" fmla="*/ 41464 w 68645"/>
                  <a:gd name="connsiteY9" fmla="*/ 41683 h 103332"/>
                  <a:gd name="connsiteX10" fmla="*/ 55747 w 68645"/>
                  <a:gd name="connsiteY10" fmla="*/ 73 h 103332"/>
                  <a:gd name="connsiteX11" fmla="*/ 68646 w 68645"/>
                  <a:gd name="connsiteY11" fmla="*/ 73 h 103332"/>
                  <a:gd name="connsiteX12" fmla="*/ 34979 w 68645"/>
                  <a:gd name="connsiteY12" fmla="*/ 87301 h 103332"/>
                  <a:gd name="connsiteX13" fmla="*/ 11878 w 68645"/>
                  <a:gd name="connsiteY13" fmla="*/ 103332 h 103332"/>
                  <a:gd name="connsiteX14" fmla="*/ 4081 w 68645"/>
                  <a:gd name="connsiteY14" fmla="*/ 102822 h 103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645" h="103332">
                    <a:moveTo>
                      <a:pt x="4081" y="102749"/>
                    </a:moveTo>
                    <a:lnTo>
                      <a:pt x="4081" y="92256"/>
                    </a:lnTo>
                    <a:cubicBezTo>
                      <a:pt x="5757" y="92766"/>
                      <a:pt x="8235" y="93057"/>
                      <a:pt x="10931" y="93057"/>
                    </a:cubicBezTo>
                    <a:cubicBezTo>
                      <a:pt x="19384" y="93057"/>
                      <a:pt x="22663" y="89851"/>
                      <a:pt x="25214" y="83220"/>
                    </a:cubicBezTo>
                    <a:lnTo>
                      <a:pt x="29149" y="72872"/>
                    </a:lnTo>
                    <a:lnTo>
                      <a:pt x="0" y="0"/>
                    </a:lnTo>
                    <a:lnTo>
                      <a:pt x="12971" y="0"/>
                    </a:lnTo>
                    <a:lnTo>
                      <a:pt x="28493" y="40444"/>
                    </a:lnTo>
                    <a:cubicBezTo>
                      <a:pt x="30533" y="45982"/>
                      <a:pt x="34542" y="57860"/>
                      <a:pt x="34979" y="59391"/>
                    </a:cubicBezTo>
                    <a:cubicBezTo>
                      <a:pt x="35489" y="57496"/>
                      <a:pt x="39570" y="47221"/>
                      <a:pt x="41464" y="41683"/>
                    </a:cubicBezTo>
                    <a:lnTo>
                      <a:pt x="55747" y="73"/>
                    </a:lnTo>
                    <a:lnTo>
                      <a:pt x="68646" y="73"/>
                    </a:lnTo>
                    <a:lnTo>
                      <a:pt x="34979" y="87301"/>
                    </a:lnTo>
                    <a:cubicBezTo>
                      <a:pt x="30971" y="97648"/>
                      <a:pt x="26088" y="103332"/>
                      <a:pt x="11878" y="103332"/>
                    </a:cubicBezTo>
                    <a:cubicBezTo>
                      <a:pt x="8818" y="103332"/>
                      <a:pt x="6048" y="103041"/>
                      <a:pt x="4081" y="102822"/>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16" name="Freeform 369">
                <a:extLst>
                  <a:ext uri="{FF2B5EF4-FFF2-40B4-BE49-F238E27FC236}">
                    <a16:creationId xmlns:a16="http://schemas.microsoft.com/office/drawing/2014/main" id="{30F89499-2160-0C24-A3CF-1500E08A2A8F}"/>
                  </a:ext>
                </a:extLst>
              </p:cNvPr>
              <p:cNvSpPr/>
              <p:nvPr/>
            </p:nvSpPr>
            <p:spPr>
              <a:xfrm>
                <a:off x="6205730" y="3031480"/>
                <a:ext cx="63689" cy="75932"/>
              </a:xfrm>
              <a:custGeom>
                <a:avLst/>
                <a:gdLst>
                  <a:gd name="connsiteX0" fmla="*/ 0 w 63689"/>
                  <a:gd name="connsiteY0" fmla="*/ 37966 h 75932"/>
                  <a:gd name="connsiteX1" fmla="*/ 35124 w 63689"/>
                  <a:gd name="connsiteY1" fmla="*/ 0 h 75932"/>
                  <a:gd name="connsiteX2" fmla="*/ 63690 w 63689"/>
                  <a:gd name="connsiteY2" fmla="*/ 13919 h 75932"/>
                  <a:gd name="connsiteX3" fmla="*/ 55091 w 63689"/>
                  <a:gd name="connsiteY3" fmla="*/ 20841 h 75932"/>
                  <a:gd name="connsiteX4" fmla="*/ 35416 w 63689"/>
                  <a:gd name="connsiteY4" fmla="*/ 10421 h 75932"/>
                  <a:gd name="connsiteX5" fmla="*/ 12680 w 63689"/>
                  <a:gd name="connsiteY5" fmla="*/ 37966 h 75932"/>
                  <a:gd name="connsiteX6" fmla="*/ 35416 w 63689"/>
                  <a:gd name="connsiteY6" fmla="*/ 65585 h 75932"/>
                  <a:gd name="connsiteX7" fmla="*/ 55091 w 63689"/>
                  <a:gd name="connsiteY7" fmla="*/ 55164 h 75932"/>
                  <a:gd name="connsiteX8" fmla="*/ 63690 w 63689"/>
                  <a:gd name="connsiteY8" fmla="*/ 62087 h 75932"/>
                  <a:gd name="connsiteX9" fmla="*/ 35124 w 63689"/>
                  <a:gd name="connsiteY9" fmla="*/ 75933 h 75932"/>
                  <a:gd name="connsiteX10" fmla="*/ 0 w 63689"/>
                  <a:gd name="connsiteY10" fmla="*/ 38039 h 7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689" h="75932">
                    <a:moveTo>
                      <a:pt x="0" y="37966"/>
                    </a:moveTo>
                    <a:cubicBezTo>
                      <a:pt x="0" y="13336"/>
                      <a:pt x="15230" y="0"/>
                      <a:pt x="35124" y="0"/>
                    </a:cubicBezTo>
                    <a:cubicBezTo>
                      <a:pt x="48168" y="0"/>
                      <a:pt x="57933" y="5538"/>
                      <a:pt x="63690" y="13919"/>
                    </a:cubicBezTo>
                    <a:lnTo>
                      <a:pt x="55091" y="20841"/>
                    </a:lnTo>
                    <a:cubicBezTo>
                      <a:pt x="50646" y="14356"/>
                      <a:pt x="44452" y="10421"/>
                      <a:pt x="35416" y="10421"/>
                    </a:cubicBezTo>
                    <a:cubicBezTo>
                      <a:pt x="22080" y="10421"/>
                      <a:pt x="12680" y="19675"/>
                      <a:pt x="12680" y="37966"/>
                    </a:cubicBezTo>
                    <a:cubicBezTo>
                      <a:pt x="12680" y="56257"/>
                      <a:pt x="22080" y="65585"/>
                      <a:pt x="35416" y="65585"/>
                    </a:cubicBezTo>
                    <a:cubicBezTo>
                      <a:pt x="44379" y="65585"/>
                      <a:pt x="50646" y="61650"/>
                      <a:pt x="55091" y="55164"/>
                    </a:cubicBezTo>
                    <a:lnTo>
                      <a:pt x="63690" y="62087"/>
                    </a:lnTo>
                    <a:cubicBezTo>
                      <a:pt x="57933" y="70467"/>
                      <a:pt x="48241" y="75933"/>
                      <a:pt x="35124" y="75933"/>
                    </a:cubicBezTo>
                    <a:cubicBezTo>
                      <a:pt x="15157" y="75933"/>
                      <a:pt x="0" y="62670"/>
                      <a:pt x="0" y="3803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17" name="Freeform 370">
                <a:extLst>
                  <a:ext uri="{FF2B5EF4-FFF2-40B4-BE49-F238E27FC236}">
                    <a16:creationId xmlns:a16="http://schemas.microsoft.com/office/drawing/2014/main" id="{01A6BD0B-46FC-BC8B-C912-B516CF64E3A7}"/>
                  </a:ext>
                </a:extLst>
              </p:cNvPr>
              <p:cNvSpPr/>
              <p:nvPr/>
            </p:nvSpPr>
            <p:spPr>
              <a:xfrm>
                <a:off x="6282901" y="3005611"/>
                <a:ext cx="58516" cy="100417"/>
              </a:xfrm>
              <a:custGeom>
                <a:avLst/>
                <a:gdLst>
                  <a:gd name="connsiteX0" fmla="*/ 0 w 58516"/>
                  <a:gd name="connsiteY0" fmla="*/ 0 h 100417"/>
                  <a:gd name="connsiteX1" fmla="*/ 12169 w 58516"/>
                  <a:gd name="connsiteY1" fmla="*/ 0 h 100417"/>
                  <a:gd name="connsiteX2" fmla="*/ 12169 w 58516"/>
                  <a:gd name="connsiteY2" fmla="*/ 42484 h 100417"/>
                  <a:gd name="connsiteX3" fmla="*/ 12534 w 58516"/>
                  <a:gd name="connsiteY3" fmla="*/ 42484 h 100417"/>
                  <a:gd name="connsiteX4" fmla="*/ 35634 w 58516"/>
                  <a:gd name="connsiteY4" fmla="*/ 25869 h 100417"/>
                  <a:gd name="connsiteX5" fmla="*/ 58516 w 58516"/>
                  <a:gd name="connsiteY5" fmla="*/ 51666 h 100417"/>
                  <a:gd name="connsiteX6" fmla="*/ 58516 w 58516"/>
                  <a:gd name="connsiteY6" fmla="*/ 100417 h 100417"/>
                  <a:gd name="connsiteX7" fmla="*/ 46274 w 58516"/>
                  <a:gd name="connsiteY7" fmla="*/ 100417 h 100417"/>
                  <a:gd name="connsiteX8" fmla="*/ 46274 w 58516"/>
                  <a:gd name="connsiteY8" fmla="*/ 54071 h 100417"/>
                  <a:gd name="connsiteX9" fmla="*/ 31189 w 58516"/>
                  <a:gd name="connsiteY9" fmla="*/ 36727 h 100417"/>
                  <a:gd name="connsiteX10" fmla="*/ 12169 w 58516"/>
                  <a:gd name="connsiteY10" fmla="*/ 58006 h 100417"/>
                  <a:gd name="connsiteX11" fmla="*/ 12169 w 58516"/>
                  <a:gd name="connsiteY11" fmla="*/ 100417 h 100417"/>
                  <a:gd name="connsiteX12" fmla="*/ 0 w 58516"/>
                  <a:gd name="connsiteY12" fmla="*/ 100417 h 100417"/>
                  <a:gd name="connsiteX13" fmla="*/ 0 w 58516"/>
                  <a:gd name="connsiteY13" fmla="*/ 0 h 100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16" h="100417">
                    <a:moveTo>
                      <a:pt x="0" y="0"/>
                    </a:moveTo>
                    <a:lnTo>
                      <a:pt x="12169" y="0"/>
                    </a:lnTo>
                    <a:lnTo>
                      <a:pt x="12169" y="42484"/>
                    </a:lnTo>
                    <a:lnTo>
                      <a:pt x="12534" y="42484"/>
                    </a:lnTo>
                    <a:cubicBezTo>
                      <a:pt x="15303" y="34031"/>
                      <a:pt x="21789" y="25869"/>
                      <a:pt x="35634" y="25869"/>
                    </a:cubicBezTo>
                    <a:cubicBezTo>
                      <a:pt x="51083" y="25869"/>
                      <a:pt x="58516" y="36290"/>
                      <a:pt x="58516" y="51666"/>
                    </a:cubicBezTo>
                    <a:lnTo>
                      <a:pt x="58516" y="100417"/>
                    </a:lnTo>
                    <a:lnTo>
                      <a:pt x="46274" y="100417"/>
                    </a:lnTo>
                    <a:lnTo>
                      <a:pt x="46274" y="54071"/>
                    </a:lnTo>
                    <a:cubicBezTo>
                      <a:pt x="46274" y="43359"/>
                      <a:pt x="42411" y="36727"/>
                      <a:pt x="31189" y="36727"/>
                    </a:cubicBezTo>
                    <a:cubicBezTo>
                      <a:pt x="19967" y="36727"/>
                      <a:pt x="12169" y="44379"/>
                      <a:pt x="12169" y="58006"/>
                    </a:cubicBezTo>
                    <a:lnTo>
                      <a:pt x="12169" y="100417"/>
                    </a:lnTo>
                    <a:lnTo>
                      <a:pt x="0" y="100417"/>
                    </a:lnTo>
                    <a:lnTo>
                      <a:pt x="0" y="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18" name="Freeform 371">
                <a:extLst>
                  <a:ext uri="{FF2B5EF4-FFF2-40B4-BE49-F238E27FC236}">
                    <a16:creationId xmlns:a16="http://schemas.microsoft.com/office/drawing/2014/main" id="{17521674-D716-3D68-E26D-E1B61B5A9F35}"/>
                  </a:ext>
                </a:extLst>
              </p:cNvPr>
              <p:cNvSpPr/>
              <p:nvPr/>
            </p:nvSpPr>
            <p:spPr>
              <a:xfrm>
                <a:off x="6358760" y="3031480"/>
                <a:ext cx="58442" cy="75859"/>
              </a:xfrm>
              <a:custGeom>
                <a:avLst/>
                <a:gdLst>
                  <a:gd name="connsiteX0" fmla="*/ 72 w 58442"/>
                  <a:gd name="connsiteY0" fmla="*/ 54581 h 75859"/>
                  <a:gd name="connsiteX1" fmla="*/ 33302 w 58442"/>
                  <a:gd name="connsiteY1" fmla="*/ 31043 h 75859"/>
                  <a:gd name="connsiteX2" fmla="*/ 46273 w 58442"/>
                  <a:gd name="connsiteY2" fmla="*/ 31043 h 75859"/>
                  <a:gd name="connsiteX3" fmla="*/ 46273 w 58442"/>
                  <a:gd name="connsiteY3" fmla="*/ 26015 h 75859"/>
                  <a:gd name="connsiteX4" fmla="*/ 31480 w 58442"/>
                  <a:gd name="connsiteY4" fmla="*/ 10275 h 75859"/>
                  <a:gd name="connsiteX5" fmla="*/ 10785 w 58442"/>
                  <a:gd name="connsiteY5" fmla="*/ 20987 h 75859"/>
                  <a:gd name="connsiteX6" fmla="*/ 2915 w 58442"/>
                  <a:gd name="connsiteY6" fmla="*/ 13117 h 75859"/>
                  <a:gd name="connsiteX7" fmla="*/ 32282 w 58442"/>
                  <a:gd name="connsiteY7" fmla="*/ 0 h 75859"/>
                  <a:gd name="connsiteX8" fmla="*/ 58443 w 58442"/>
                  <a:gd name="connsiteY8" fmla="*/ 26015 h 75859"/>
                  <a:gd name="connsiteX9" fmla="*/ 58443 w 58442"/>
                  <a:gd name="connsiteY9" fmla="*/ 74475 h 75859"/>
                  <a:gd name="connsiteX10" fmla="*/ 46784 w 58442"/>
                  <a:gd name="connsiteY10" fmla="*/ 74475 h 75859"/>
                  <a:gd name="connsiteX11" fmla="*/ 46784 w 58442"/>
                  <a:gd name="connsiteY11" fmla="*/ 60921 h 75859"/>
                  <a:gd name="connsiteX12" fmla="*/ 46492 w 58442"/>
                  <a:gd name="connsiteY12" fmla="*/ 60921 h 75859"/>
                  <a:gd name="connsiteX13" fmla="*/ 22299 w 58442"/>
                  <a:gd name="connsiteY13" fmla="*/ 75860 h 75859"/>
                  <a:gd name="connsiteX14" fmla="*/ 0 w 58442"/>
                  <a:gd name="connsiteY14" fmla="*/ 54581 h 75859"/>
                  <a:gd name="connsiteX15" fmla="*/ 25651 w 58442"/>
                  <a:gd name="connsiteY15" fmla="*/ 65658 h 75859"/>
                  <a:gd name="connsiteX16" fmla="*/ 46273 w 58442"/>
                  <a:gd name="connsiteY16" fmla="*/ 47294 h 75859"/>
                  <a:gd name="connsiteX17" fmla="*/ 46273 w 58442"/>
                  <a:gd name="connsiteY17" fmla="*/ 40225 h 75859"/>
                  <a:gd name="connsiteX18" fmla="*/ 34905 w 58442"/>
                  <a:gd name="connsiteY18" fmla="*/ 40225 h 75859"/>
                  <a:gd name="connsiteX19" fmla="*/ 12607 w 58442"/>
                  <a:gd name="connsiteY19" fmla="*/ 54362 h 75859"/>
                  <a:gd name="connsiteX20" fmla="*/ 25651 w 58442"/>
                  <a:gd name="connsiteY20" fmla="*/ 65730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442" h="75859">
                    <a:moveTo>
                      <a:pt x="72" y="54581"/>
                    </a:moveTo>
                    <a:cubicBezTo>
                      <a:pt x="72" y="37529"/>
                      <a:pt x="14647" y="31043"/>
                      <a:pt x="33302" y="31043"/>
                    </a:cubicBezTo>
                    <a:lnTo>
                      <a:pt x="46273" y="31043"/>
                    </a:lnTo>
                    <a:lnTo>
                      <a:pt x="46273" y="26015"/>
                    </a:lnTo>
                    <a:cubicBezTo>
                      <a:pt x="46273" y="15959"/>
                      <a:pt x="41537" y="10275"/>
                      <a:pt x="31480" y="10275"/>
                    </a:cubicBezTo>
                    <a:cubicBezTo>
                      <a:pt x="22080" y="10275"/>
                      <a:pt x="15667" y="14429"/>
                      <a:pt x="10785" y="20987"/>
                    </a:cubicBezTo>
                    <a:lnTo>
                      <a:pt x="2915" y="13117"/>
                    </a:lnTo>
                    <a:cubicBezTo>
                      <a:pt x="8672" y="6194"/>
                      <a:pt x="17635" y="0"/>
                      <a:pt x="32282" y="0"/>
                    </a:cubicBezTo>
                    <a:cubicBezTo>
                      <a:pt x="49626" y="0"/>
                      <a:pt x="58443" y="10567"/>
                      <a:pt x="58443" y="26015"/>
                    </a:cubicBezTo>
                    <a:lnTo>
                      <a:pt x="58443" y="74475"/>
                    </a:lnTo>
                    <a:lnTo>
                      <a:pt x="46784" y="74475"/>
                    </a:lnTo>
                    <a:lnTo>
                      <a:pt x="46784" y="60921"/>
                    </a:lnTo>
                    <a:lnTo>
                      <a:pt x="46492" y="60921"/>
                    </a:lnTo>
                    <a:cubicBezTo>
                      <a:pt x="41610" y="71342"/>
                      <a:pt x="34177" y="75860"/>
                      <a:pt x="22299" y="75860"/>
                    </a:cubicBezTo>
                    <a:cubicBezTo>
                      <a:pt x="9400" y="75860"/>
                      <a:pt x="0" y="68281"/>
                      <a:pt x="0" y="54581"/>
                    </a:cubicBezTo>
                    <a:close/>
                    <a:moveTo>
                      <a:pt x="25651" y="65658"/>
                    </a:moveTo>
                    <a:cubicBezTo>
                      <a:pt x="39132" y="65658"/>
                      <a:pt x="46273" y="56403"/>
                      <a:pt x="46273" y="47294"/>
                    </a:cubicBezTo>
                    <a:lnTo>
                      <a:pt x="46273" y="40225"/>
                    </a:lnTo>
                    <a:lnTo>
                      <a:pt x="34905" y="40225"/>
                    </a:lnTo>
                    <a:cubicBezTo>
                      <a:pt x="23392" y="40225"/>
                      <a:pt x="12607" y="42703"/>
                      <a:pt x="12607" y="54362"/>
                    </a:cubicBezTo>
                    <a:cubicBezTo>
                      <a:pt x="12607" y="61285"/>
                      <a:pt x="17489" y="65730"/>
                      <a:pt x="25651" y="65730"/>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19" name="Freeform 372">
                <a:extLst>
                  <a:ext uri="{FF2B5EF4-FFF2-40B4-BE49-F238E27FC236}">
                    <a16:creationId xmlns:a16="http://schemas.microsoft.com/office/drawing/2014/main" id="{7E50809F-FEEC-F547-F661-01FF2FC8E134}"/>
                  </a:ext>
                </a:extLst>
              </p:cNvPr>
              <p:cNvSpPr/>
              <p:nvPr/>
            </p:nvSpPr>
            <p:spPr>
              <a:xfrm>
                <a:off x="6436223" y="3002987"/>
                <a:ext cx="16250" cy="103040"/>
              </a:xfrm>
              <a:custGeom>
                <a:avLst/>
                <a:gdLst>
                  <a:gd name="connsiteX0" fmla="*/ 8089 w 16250"/>
                  <a:gd name="connsiteY0" fmla="*/ 0 h 103040"/>
                  <a:gd name="connsiteX1" fmla="*/ 16251 w 16250"/>
                  <a:gd name="connsiteY1" fmla="*/ 8162 h 103040"/>
                  <a:gd name="connsiteX2" fmla="*/ 8089 w 16250"/>
                  <a:gd name="connsiteY2" fmla="*/ 16323 h 103040"/>
                  <a:gd name="connsiteX3" fmla="*/ 0 w 16250"/>
                  <a:gd name="connsiteY3" fmla="*/ 8162 h 103040"/>
                  <a:gd name="connsiteX4" fmla="*/ 8089 w 16250"/>
                  <a:gd name="connsiteY4" fmla="*/ 0 h 103040"/>
                  <a:gd name="connsiteX5" fmla="*/ 2041 w 16250"/>
                  <a:gd name="connsiteY5" fmla="*/ 29950 h 103040"/>
                  <a:gd name="connsiteX6" fmla="*/ 14210 w 16250"/>
                  <a:gd name="connsiteY6" fmla="*/ 29950 h 103040"/>
                  <a:gd name="connsiteX7" fmla="*/ 14210 w 16250"/>
                  <a:gd name="connsiteY7" fmla="*/ 103041 h 103040"/>
                  <a:gd name="connsiteX8" fmla="*/ 2041 w 16250"/>
                  <a:gd name="connsiteY8" fmla="*/ 103041 h 103040"/>
                  <a:gd name="connsiteX9" fmla="*/ 2041 w 16250"/>
                  <a:gd name="connsiteY9" fmla="*/ 29950 h 10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50" h="103040">
                    <a:moveTo>
                      <a:pt x="8089" y="0"/>
                    </a:moveTo>
                    <a:cubicBezTo>
                      <a:pt x="12826" y="0"/>
                      <a:pt x="16251" y="3425"/>
                      <a:pt x="16251" y="8162"/>
                    </a:cubicBezTo>
                    <a:cubicBezTo>
                      <a:pt x="16251" y="12898"/>
                      <a:pt x="12826" y="16323"/>
                      <a:pt x="8089" y="16323"/>
                    </a:cubicBezTo>
                    <a:cubicBezTo>
                      <a:pt x="3352" y="16323"/>
                      <a:pt x="0" y="12898"/>
                      <a:pt x="0" y="8162"/>
                    </a:cubicBezTo>
                    <a:cubicBezTo>
                      <a:pt x="0" y="3425"/>
                      <a:pt x="3425" y="0"/>
                      <a:pt x="8089" y="0"/>
                    </a:cubicBezTo>
                    <a:close/>
                    <a:moveTo>
                      <a:pt x="2041" y="29950"/>
                    </a:moveTo>
                    <a:lnTo>
                      <a:pt x="14210" y="29950"/>
                    </a:lnTo>
                    <a:lnTo>
                      <a:pt x="14210" y="103041"/>
                    </a:lnTo>
                    <a:lnTo>
                      <a:pt x="2041" y="103041"/>
                    </a:lnTo>
                    <a:lnTo>
                      <a:pt x="2041" y="29950"/>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20" name="Freeform 373">
                <a:extLst>
                  <a:ext uri="{FF2B5EF4-FFF2-40B4-BE49-F238E27FC236}">
                    <a16:creationId xmlns:a16="http://schemas.microsoft.com/office/drawing/2014/main" id="{48A1DE76-2CEB-DA82-9D44-9469B5A05CE3}"/>
                  </a:ext>
                </a:extLst>
              </p:cNvPr>
              <p:cNvSpPr/>
              <p:nvPr/>
            </p:nvSpPr>
            <p:spPr>
              <a:xfrm>
                <a:off x="6472076" y="3031553"/>
                <a:ext cx="58588" cy="74547"/>
              </a:xfrm>
              <a:custGeom>
                <a:avLst/>
                <a:gdLst>
                  <a:gd name="connsiteX0" fmla="*/ 0 w 58588"/>
                  <a:gd name="connsiteY0" fmla="*/ 1385 h 74547"/>
                  <a:gd name="connsiteX1" fmla="*/ 11659 w 58588"/>
                  <a:gd name="connsiteY1" fmla="*/ 1385 h 74547"/>
                  <a:gd name="connsiteX2" fmla="*/ 11659 w 58588"/>
                  <a:gd name="connsiteY2" fmla="*/ 16615 h 74547"/>
                  <a:gd name="connsiteX3" fmla="*/ 11951 w 58588"/>
                  <a:gd name="connsiteY3" fmla="*/ 16615 h 74547"/>
                  <a:gd name="connsiteX4" fmla="*/ 35707 w 58588"/>
                  <a:gd name="connsiteY4" fmla="*/ 0 h 74547"/>
                  <a:gd name="connsiteX5" fmla="*/ 58589 w 58588"/>
                  <a:gd name="connsiteY5" fmla="*/ 25796 h 74547"/>
                  <a:gd name="connsiteX6" fmla="*/ 58589 w 58588"/>
                  <a:gd name="connsiteY6" fmla="*/ 74548 h 74547"/>
                  <a:gd name="connsiteX7" fmla="*/ 46346 w 58588"/>
                  <a:gd name="connsiteY7" fmla="*/ 74548 h 74547"/>
                  <a:gd name="connsiteX8" fmla="*/ 46346 w 58588"/>
                  <a:gd name="connsiteY8" fmla="*/ 28201 h 74547"/>
                  <a:gd name="connsiteX9" fmla="*/ 31262 w 58588"/>
                  <a:gd name="connsiteY9" fmla="*/ 10858 h 74547"/>
                  <a:gd name="connsiteX10" fmla="*/ 12242 w 58588"/>
                  <a:gd name="connsiteY10" fmla="*/ 32137 h 74547"/>
                  <a:gd name="connsiteX11" fmla="*/ 12242 w 58588"/>
                  <a:gd name="connsiteY11" fmla="*/ 74548 h 74547"/>
                  <a:gd name="connsiteX12" fmla="*/ 73 w 58588"/>
                  <a:gd name="connsiteY12" fmla="*/ 74548 h 74547"/>
                  <a:gd name="connsiteX13" fmla="*/ 73 w 58588"/>
                  <a:gd name="connsiteY13" fmla="*/ 1457 h 7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88" h="74547">
                    <a:moveTo>
                      <a:pt x="0" y="1385"/>
                    </a:moveTo>
                    <a:lnTo>
                      <a:pt x="11659" y="1385"/>
                    </a:lnTo>
                    <a:lnTo>
                      <a:pt x="11659" y="16615"/>
                    </a:lnTo>
                    <a:lnTo>
                      <a:pt x="11951" y="16615"/>
                    </a:lnTo>
                    <a:cubicBezTo>
                      <a:pt x="14866" y="8963"/>
                      <a:pt x="20987" y="0"/>
                      <a:pt x="35707" y="0"/>
                    </a:cubicBezTo>
                    <a:cubicBezTo>
                      <a:pt x="51156" y="0"/>
                      <a:pt x="58589" y="10421"/>
                      <a:pt x="58589" y="25796"/>
                    </a:cubicBezTo>
                    <a:lnTo>
                      <a:pt x="58589" y="74548"/>
                    </a:lnTo>
                    <a:lnTo>
                      <a:pt x="46346" y="74548"/>
                    </a:lnTo>
                    <a:lnTo>
                      <a:pt x="46346" y="28201"/>
                    </a:lnTo>
                    <a:cubicBezTo>
                      <a:pt x="46346" y="17489"/>
                      <a:pt x="42484" y="10858"/>
                      <a:pt x="31262" y="10858"/>
                    </a:cubicBezTo>
                    <a:cubicBezTo>
                      <a:pt x="20040" y="10858"/>
                      <a:pt x="12242" y="18509"/>
                      <a:pt x="12242" y="32137"/>
                    </a:cubicBezTo>
                    <a:lnTo>
                      <a:pt x="12242" y="74548"/>
                    </a:lnTo>
                    <a:lnTo>
                      <a:pt x="73" y="74548"/>
                    </a:lnTo>
                    <a:lnTo>
                      <a:pt x="73" y="1457"/>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21" name="Freeform 374">
                <a:extLst>
                  <a:ext uri="{FF2B5EF4-FFF2-40B4-BE49-F238E27FC236}">
                    <a16:creationId xmlns:a16="http://schemas.microsoft.com/office/drawing/2014/main" id="{52191E1D-D7A8-42E2-6EF7-FA49DC61C858}"/>
                  </a:ext>
                </a:extLst>
              </p:cNvPr>
              <p:cNvSpPr/>
              <p:nvPr/>
            </p:nvSpPr>
            <p:spPr>
              <a:xfrm>
                <a:off x="5726014" y="3197701"/>
                <a:ext cx="96992" cy="74475"/>
              </a:xfrm>
              <a:custGeom>
                <a:avLst/>
                <a:gdLst>
                  <a:gd name="connsiteX0" fmla="*/ 0 w 96992"/>
                  <a:gd name="connsiteY0" fmla="*/ 1385 h 74475"/>
                  <a:gd name="connsiteX1" fmla="*/ 11659 w 96992"/>
                  <a:gd name="connsiteY1" fmla="*/ 1385 h 74475"/>
                  <a:gd name="connsiteX2" fmla="*/ 11659 w 96992"/>
                  <a:gd name="connsiteY2" fmla="*/ 16615 h 74475"/>
                  <a:gd name="connsiteX3" fmla="*/ 11951 w 96992"/>
                  <a:gd name="connsiteY3" fmla="*/ 16615 h 74475"/>
                  <a:gd name="connsiteX4" fmla="*/ 33303 w 96992"/>
                  <a:gd name="connsiteY4" fmla="*/ 0 h 74475"/>
                  <a:gd name="connsiteX5" fmla="*/ 53269 w 96992"/>
                  <a:gd name="connsiteY5" fmla="*/ 16615 h 74475"/>
                  <a:gd name="connsiteX6" fmla="*/ 53561 w 96992"/>
                  <a:gd name="connsiteY6" fmla="*/ 16615 h 74475"/>
                  <a:gd name="connsiteX7" fmla="*/ 75641 w 96992"/>
                  <a:gd name="connsiteY7" fmla="*/ 0 h 74475"/>
                  <a:gd name="connsiteX8" fmla="*/ 96992 w 96992"/>
                  <a:gd name="connsiteY8" fmla="*/ 25724 h 74475"/>
                  <a:gd name="connsiteX9" fmla="*/ 96992 w 96992"/>
                  <a:gd name="connsiteY9" fmla="*/ 74475 h 74475"/>
                  <a:gd name="connsiteX10" fmla="*/ 84823 w 96992"/>
                  <a:gd name="connsiteY10" fmla="*/ 74475 h 74475"/>
                  <a:gd name="connsiteX11" fmla="*/ 84823 w 96992"/>
                  <a:gd name="connsiteY11" fmla="*/ 28129 h 74475"/>
                  <a:gd name="connsiteX12" fmla="*/ 71633 w 96992"/>
                  <a:gd name="connsiteY12" fmla="*/ 10785 h 74475"/>
                  <a:gd name="connsiteX13" fmla="*/ 54581 w 96992"/>
                  <a:gd name="connsiteY13" fmla="*/ 32064 h 74475"/>
                  <a:gd name="connsiteX14" fmla="*/ 54581 w 96992"/>
                  <a:gd name="connsiteY14" fmla="*/ 74475 h 74475"/>
                  <a:gd name="connsiteX15" fmla="*/ 42411 w 96992"/>
                  <a:gd name="connsiteY15" fmla="*/ 74475 h 74475"/>
                  <a:gd name="connsiteX16" fmla="*/ 42411 w 96992"/>
                  <a:gd name="connsiteY16" fmla="*/ 28129 h 74475"/>
                  <a:gd name="connsiteX17" fmla="*/ 29222 w 96992"/>
                  <a:gd name="connsiteY17" fmla="*/ 10785 h 74475"/>
                  <a:gd name="connsiteX18" fmla="*/ 12169 w 96992"/>
                  <a:gd name="connsiteY18" fmla="*/ 32064 h 74475"/>
                  <a:gd name="connsiteX19" fmla="*/ 12169 w 96992"/>
                  <a:gd name="connsiteY19" fmla="*/ 74475 h 74475"/>
                  <a:gd name="connsiteX20" fmla="*/ 0 w 96992"/>
                  <a:gd name="connsiteY20" fmla="*/ 74475 h 74475"/>
                  <a:gd name="connsiteX21" fmla="*/ 0 w 96992"/>
                  <a:gd name="connsiteY21"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6992" h="74475">
                    <a:moveTo>
                      <a:pt x="0" y="1385"/>
                    </a:moveTo>
                    <a:lnTo>
                      <a:pt x="11659" y="1385"/>
                    </a:lnTo>
                    <a:lnTo>
                      <a:pt x="11659" y="16615"/>
                    </a:lnTo>
                    <a:lnTo>
                      <a:pt x="11951" y="16615"/>
                    </a:lnTo>
                    <a:cubicBezTo>
                      <a:pt x="15449" y="5903"/>
                      <a:pt x="23173" y="0"/>
                      <a:pt x="33303" y="0"/>
                    </a:cubicBezTo>
                    <a:cubicBezTo>
                      <a:pt x="43431" y="0"/>
                      <a:pt x="50719" y="5174"/>
                      <a:pt x="53269" y="16615"/>
                    </a:cubicBezTo>
                    <a:lnTo>
                      <a:pt x="53561" y="16615"/>
                    </a:lnTo>
                    <a:cubicBezTo>
                      <a:pt x="56913" y="5101"/>
                      <a:pt x="65585" y="0"/>
                      <a:pt x="75641" y="0"/>
                    </a:cubicBezTo>
                    <a:cubicBezTo>
                      <a:pt x="89341" y="0"/>
                      <a:pt x="96992" y="7652"/>
                      <a:pt x="96992" y="25724"/>
                    </a:cubicBezTo>
                    <a:lnTo>
                      <a:pt x="96992" y="74475"/>
                    </a:lnTo>
                    <a:lnTo>
                      <a:pt x="84823" y="74475"/>
                    </a:lnTo>
                    <a:lnTo>
                      <a:pt x="84823" y="28129"/>
                    </a:lnTo>
                    <a:cubicBezTo>
                      <a:pt x="84823" y="17416"/>
                      <a:pt x="81471" y="10785"/>
                      <a:pt x="71633" y="10785"/>
                    </a:cubicBezTo>
                    <a:cubicBezTo>
                      <a:pt x="61212" y="10785"/>
                      <a:pt x="54581" y="18437"/>
                      <a:pt x="54581" y="32064"/>
                    </a:cubicBezTo>
                    <a:lnTo>
                      <a:pt x="54581" y="74475"/>
                    </a:lnTo>
                    <a:lnTo>
                      <a:pt x="42411" y="74475"/>
                    </a:lnTo>
                    <a:lnTo>
                      <a:pt x="42411" y="28129"/>
                    </a:lnTo>
                    <a:cubicBezTo>
                      <a:pt x="42411" y="17416"/>
                      <a:pt x="39059" y="10785"/>
                      <a:pt x="29222" y="10785"/>
                    </a:cubicBezTo>
                    <a:cubicBezTo>
                      <a:pt x="18874" y="10785"/>
                      <a:pt x="12169" y="18437"/>
                      <a:pt x="12169" y="32064"/>
                    </a:cubicBezTo>
                    <a:lnTo>
                      <a:pt x="12169" y="74475"/>
                    </a:lnTo>
                    <a:lnTo>
                      <a:pt x="0" y="74475"/>
                    </a:lnTo>
                    <a:lnTo>
                      <a:pt x="0"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22" name="Freeform 375">
                <a:extLst>
                  <a:ext uri="{FF2B5EF4-FFF2-40B4-BE49-F238E27FC236}">
                    <a16:creationId xmlns:a16="http://schemas.microsoft.com/office/drawing/2014/main" id="{081A0B71-458F-CACC-50E6-CC79A3D11943}"/>
                  </a:ext>
                </a:extLst>
              </p:cNvPr>
              <p:cNvSpPr/>
              <p:nvPr/>
            </p:nvSpPr>
            <p:spPr>
              <a:xfrm>
                <a:off x="5840350" y="3197628"/>
                <a:ext cx="58442" cy="75786"/>
              </a:xfrm>
              <a:custGeom>
                <a:avLst/>
                <a:gdLst>
                  <a:gd name="connsiteX0" fmla="*/ 73 w 58442"/>
                  <a:gd name="connsiteY0" fmla="*/ 54581 h 75786"/>
                  <a:gd name="connsiteX1" fmla="*/ 33303 w 58442"/>
                  <a:gd name="connsiteY1" fmla="*/ 31043 h 75786"/>
                  <a:gd name="connsiteX2" fmla="*/ 46273 w 58442"/>
                  <a:gd name="connsiteY2" fmla="*/ 31043 h 75786"/>
                  <a:gd name="connsiteX3" fmla="*/ 46273 w 58442"/>
                  <a:gd name="connsiteY3" fmla="*/ 26015 h 75786"/>
                  <a:gd name="connsiteX4" fmla="*/ 31481 w 58442"/>
                  <a:gd name="connsiteY4" fmla="*/ 10275 h 75786"/>
                  <a:gd name="connsiteX5" fmla="*/ 10785 w 58442"/>
                  <a:gd name="connsiteY5" fmla="*/ 20987 h 75786"/>
                  <a:gd name="connsiteX6" fmla="*/ 2915 w 58442"/>
                  <a:gd name="connsiteY6" fmla="*/ 13117 h 75786"/>
                  <a:gd name="connsiteX7" fmla="*/ 32282 w 58442"/>
                  <a:gd name="connsiteY7" fmla="*/ 0 h 75786"/>
                  <a:gd name="connsiteX8" fmla="*/ 58443 w 58442"/>
                  <a:gd name="connsiteY8" fmla="*/ 26015 h 75786"/>
                  <a:gd name="connsiteX9" fmla="*/ 58443 w 58442"/>
                  <a:gd name="connsiteY9" fmla="*/ 74475 h 75786"/>
                  <a:gd name="connsiteX10" fmla="*/ 46784 w 58442"/>
                  <a:gd name="connsiteY10" fmla="*/ 74475 h 75786"/>
                  <a:gd name="connsiteX11" fmla="*/ 46784 w 58442"/>
                  <a:gd name="connsiteY11" fmla="*/ 60848 h 75786"/>
                  <a:gd name="connsiteX12" fmla="*/ 46492 w 58442"/>
                  <a:gd name="connsiteY12" fmla="*/ 60848 h 75786"/>
                  <a:gd name="connsiteX13" fmla="*/ 22299 w 58442"/>
                  <a:gd name="connsiteY13" fmla="*/ 75787 h 75786"/>
                  <a:gd name="connsiteX14" fmla="*/ 0 w 58442"/>
                  <a:gd name="connsiteY14" fmla="*/ 54508 h 75786"/>
                  <a:gd name="connsiteX15" fmla="*/ 25724 w 58442"/>
                  <a:gd name="connsiteY15" fmla="*/ 65658 h 75786"/>
                  <a:gd name="connsiteX16" fmla="*/ 46346 w 58442"/>
                  <a:gd name="connsiteY16" fmla="*/ 47294 h 75786"/>
                  <a:gd name="connsiteX17" fmla="*/ 46346 w 58442"/>
                  <a:gd name="connsiteY17" fmla="*/ 40225 h 75786"/>
                  <a:gd name="connsiteX18" fmla="*/ 34978 w 58442"/>
                  <a:gd name="connsiteY18" fmla="*/ 40225 h 75786"/>
                  <a:gd name="connsiteX19" fmla="*/ 12680 w 58442"/>
                  <a:gd name="connsiteY19" fmla="*/ 54363 h 75786"/>
                  <a:gd name="connsiteX20" fmla="*/ 25724 w 58442"/>
                  <a:gd name="connsiteY20" fmla="*/ 65731 h 7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442" h="75786">
                    <a:moveTo>
                      <a:pt x="73" y="54581"/>
                    </a:moveTo>
                    <a:cubicBezTo>
                      <a:pt x="73" y="37529"/>
                      <a:pt x="14647" y="31043"/>
                      <a:pt x="33303" y="31043"/>
                    </a:cubicBezTo>
                    <a:lnTo>
                      <a:pt x="46273" y="31043"/>
                    </a:lnTo>
                    <a:lnTo>
                      <a:pt x="46273" y="26015"/>
                    </a:lnTo>
                    <a:cubicBezTo>
                      <a:pt x="46273" y="15959"/>
                      <a:pt x="41537" y="10275"/>
                      <a:pt x="31481" y="10275"/>
                    </a:cubicBezTo>
                    <a:cubicBezTo>
                      <a:pt x="22080" y="10275"/>
                      <a:pt x="15667" y="14429"/>
                      <a:pt x="10785" y="20987"/>
                    </a:cubicBezTo>
                    <a:lnTo>
                      <a:pt x="2915" y="13117"/>
                    </a:lnTo>
                    <a:cubicBezTo>
                      <a:pt x="8672" y="6194"/>
                      <a:pt x="17635" y="0"/>
                      <a:pt x="32282" y="0"/>
                    </a:cubicBezTo>
                    <a:cubicBezTo>
                      <a:pt x="49626" y="0"/>
                      <a:pt x="58443" y="10567"/>
                      <a:pt x="58443" y="26015"/>
                    </a:cubicBezTo>
                    <a:lnTo>
                      <a:pt x="58443" y="74475"/>
                    </a:lnTo>
                    <a:lnTo>
                      <a:pt x="46784" y="74475"/>
                    </a:lnTo>
                    <a:lnTo>
                      <a:pt x="46784" y="60848"/>
                    </a:lnTo>
                    <a:lnTo>
                      <a:pt x="46492" y="60848"/>
                    </a:lnTo>
                    <a:cubicBezTo>
                      <a:pt x="41610" y="71269"/>
                      <a:pt x="34177" y="75787"/>
                      <a:pt x="22299" y="75787"/>
                    </a:cubicBezTo>
                    <a:cubicBezTo>
                      <a:pt x="9400" y="75787"/>
                      <a:pt x="0" y="68208"/>
                      <a:pt x="0" y="54508"/>
                    </a:cubicBezTo>
                    <a:close/>
                    <a:moveTo>
                      <a:pt x="25724" y="65658"/>
                    </a:moveTo>
                    <a:cubicBezTo>
                      <a:pt x="39205" y="65658"/>
                      <a:pt x="46346" y="56403"/>
                      <a:pt x="46346" y="47294"/>
                    </a:cubicBezTo>
                    <a:lnTo>
                      <a:pt x="46346" y="40225"/>
                    </a:lnTo>
                    <a:lnTo>
                      <a:pt x="34978" y="40225"/>
                    </a:lnTo>
                    <a:cubicBezTo>
                      <a:pt x="23465" y="40225"/>
                      <a:pt x="12680" y="42703"/>
                      <a:pt x="12680" y="54363"/>
                    </a:cubicBezTo>
                    <a:cubicBezTo>
                      <a:pt x="12680" y="61285"/>
                      <a:pt x="17562" y="65731"/>
                      <a:pt x="25724" y="6573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23" name="Freeform 376">
                <a:extLst>
                  <a:ext uri="{FF2B5EF4-FFF2-40B4-BE49-F238E27FC236}">
                    <a16:creationId xmlns:a16="http://schemas.microsoft.com/office/drawing/2014/main" id="{EE2908E2-969C-E370-9385-5833FA26C54A}"/>
                  </a:ext>
                </a:extLst>
              </p:cNvPr>
              <p:cNvSpPr/>
              <p:nvPr/>
            </p:nvSpPr>
            <p:spPr>
              <a:xfrm>
                <a:off x="5919853" y="3197701"/>
                <a:ext cx="58589" cy="74475"/>
              </a:xfrm>
              <a:custGeom>
                <a:avLst/>
                <a:gdLst>
                  <a:gd name="connsiteX0" fmla="*/ 0 w 58589"/>
                  <a:gd name="connsiteY0" fmla="*/ 1385 h 74475"/>
                  <a:gd name="connsiteX1" fmla="*/ 11660 w 58589"/>
                  <a:gd name="connsiteY1" fmla="*/ 1385 h 74475"/>
                  <a:gd name="connsiteX2" fmla="*/ 11660 w 58589"/>
                  <a:gd name="connsiteY2" fmla="*/ 16615 h 74475"/>
                  <a:gd name="connsiteX3" fmla="*/ 11951 w 58589"/>
                  <a:gd name="connsiteY3" fmla="*/ 16615 h 74475"/>
                  <a:gd name="connsiteX4" fmla="*/ 35707 w 58589"/>
                  <a:gd name="connsiteY4" fmla="*/ 0 h 74475"/>
                  <a:gd name="connsiteX5" fmla="*/ 58589 w 58589"/>
                  <a:gd name="connsiteY5" fmla="*/ 25724 h 74475"/>
                  <a:gd name="connsiteX6" fmla="*/ 58589 w 58589"/>
                  <a:gd name="connsiteY6" fmla="*/ 74475 h 74475"/>
                  <a:gd name="connsiteX7" fmla="*/ 46346 w 58589"/>
                  <a:gd name="connsiteY7" fmla="*/ 74475 h 74475"/>
                  <a:gd name="connsiteX8" fmla="*/ 46346 w 58589"/>
                  <a:gd name="connsiteY8" fmla="*/ 28129 h 74475"/>
                  <a:gd name="connsiteX9" fmla="*/ 31262 w 58589"/>
                  <a:gd name="connsiteY9" fmla="*/ 10785 h 74475"/>
                  <a:gd name="connsiteX10" fmla="*/ 12242 w 58589"/>
                  <a:gd name="connsiteY10" fmla="*/ 32064 h 74475"/>
                  <a:gd name="connsiteX11" fmla="*/ 12242 w 58589"/>
                  <a:gd name="connsiteY11" fmla="*/ 74475 h 74475"/>
                  <a:gd name="connsiteX12" fmla="*/ 73 w 58589"/>
                  <a:gd name="connsiteY12" fmla="*/ 74475 h 74475"/>
                  <a:gd name="connsiteX13" fmla="*/ 73 w 58589"/>
                  <a:gd name="connsiteY13"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89" h="74475">
                    <a:moveTo>
                      <a:pt x="0" y="1385"/>
                    </a:moveTo>
                    <a:lnTo>
                      <a:pt x="11660" y="1385"/>
                    </a:lnTo>
                    <a:lnTo>
                      <a:pt x="11660" y="16615"/>
                    </a:lnTo>
                    <a:lnTo>
                      <a:pt x="11951" y="16615"/>
                    </a:lnTo>
                    <a:cubicBezTo>
                      <a:pt x="14866" y="8963"/>
                      <a:pt x="20987" y="0"/>
                      <a:pt x="35707" y="0"/>
                    </a:cubicBezTo>
                    <a:cubicBezTo>
                      <a:pt x="51156" y="0"/>
                      <a:pt x="58589" y="10421"/>
                      <a:pt x="58589" y="25724"/>
                    </a:cubicBezTo>
                    <a:lnTo>
                      <a:pt x="58589" y="74475"/>
                    </a:lnTo>
                    <a:lnTo>
                      <a:pt x="46346" y="74475"/>
                    </a:lnTo>
                    <a:lnTo>
                      <a:pt x="46346" y="28129"/>
                    </a:lnTo>
                    <a:cubicBezTo>
                      <a:pt x="46346" y="17416"/>
                      <a:pt x="42484" y="10785"/>
                      <a:pt x="31262" y="10785"/>
                    </a:cubicBezTo>
                    <a:cubicBezTo>
                      <a:pt x="20040" y="10785"/>
                      <a:pt x="12242" y="18437"/>
                      <a:pt x="12242" y="32064"/>
                    </a:cubicBezTo>
                    <a:lnTo>
                      <a:pt x="12242" y="74475"/>
                    </a:lnTo>
                    <a:lnTo>
                      <a:pt x="73" y="74475"/>
                    </a:lnTo>
                    <a:lnTo>
                      <a:pt x="73"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24" name="Freeform 377">
                <a:extLst>
                  <a:ext uri="{FF2B5EF4-FFF2-40B4-BE49-F238E27FC236}">
                    <a16:creationId xmlns:a16="http://schemas.microsoft.com/office/drawing/2014/main" id="{46E84277-B6C5-85FA-AD42-2610BD8DDF16}"/>
                  </a:ext>
                </a:extLst>
              </p:cNvPr>
              <p:cNvSpPr/>
              <p:nvPr/>
            </p:nvSpPr>
            <p:spPr>
              <a:xfrm>
                <a:off x="5995713" y="3197628"/>
                <a:ext cx="58442" cy="75786"/>
              </a:xfrm>
              <a:custGeom>
                <a:avLst/>
                <a:gdLst>
                  <a:gd name="connsiteX0" fmla="*/ 73 w 58442"/>
                  <a:gd name="connsiteY0" fmla="*/ 54581 h 75786"/>
                  <a:gd name="connsiteX1" fmla="*/ 33303 w 58442"/>
                  <a:gd name="connsiteY1" fmla="*/ 31043 h 75786"/>
                  <a:gd name="connsiteX2" fmla="*/ 46273 w 58442"/>
                  <a:gd name="connsiteY2" fmla="*/ 31043 h 75786"/>
                  <a:gd name="connsiteX3" fmla="*/ 46273 w 58442"/>
                  <a:gd name="connsiteY3" fmla="*/ 26015 h 75786"/>
                  <a:gd name="connsiteX4" fmla="*/ 31481 w 58442"/>
                  <a:gd name="connsiteY4" fmla="*/ 10275 h 75786"/>
                  <a:gd name="connsiteX5" fmla="*/ 10785 w 58442"/>
                  <a:gd name="connsiteY5" fmla="*/ 20987 h 75786"/>
                  <a:gd name="connsiteX6" fmla="*/ 2915 w 58442"/>
                  <a:gd name="connsiteY6" fmla="*/ 13117 h 75786"/>
                  <a:gd name="connsiteX7" fmla="*/ 32282 w 58442"/>
                  <a:gd name="connsiteY7" fmla="*/ 0 h 75786"/>
                  <a:gd name="connsiteX8" fmla="*/ 58443 w 58442"/>
                  <a:gd name="connsiteY8" fmla="*/ 26015 h 75786"/>
                  <a:gd name="connsiteX9" fmla="*/ 58443 w 58442"/>
                  <a:gd name="connsiteY9" fmla="*/ 74475 h 75786"/>
                  <a:gd name="connsiteX10" fmla="*/ 46784 w 58442"/>
                  <a:gd name="connsiteY10" fmla="*/ 74475 h 75786"/>
                  <a:gd name="connsiteX11" fmla="*/ 46784 w 58442"/>
                  <a:gd name="connsiteY11" fmla="*/ 60848 h 75786"/>
                  <a:gd name="connsiteX12" fmla="*/ 46492 w 58442"/>
                  <a:gd name="connsiteY12" fmla="*/ 60848 h 75786"/>
                  <a:gd name="connsiteX13" fmla="*/ 22299 w 58442"/>
                  <a:gd name="connsiteY13" fmla="*/ 75787 h 75786"/>
                  <a:gd name="connsiteX14" fmla="*/ 0 w 58442"/>
                  <a:gd name="connsiteY14" fmla="*/ 54508 h 75786"/>
                  <a:gd name="connsiteX15" fmla="*/ 25724 w 58442"/>
                  <a:gd name="connsiteY15" fmla="*/ 65658 h 75786"/>
                  <a:gd name="connsiteX16" fmla="*/ 46346 w 58442"/>
                  <a:gd name="connsiteY16" fmla="*/ 47294 h 75786"/>
                  <a:gd name="connsiteX17" fmla="*/ 46346 w 58442"/>
                  <a:gd name="connsiteY17" fmla="*/ 40225 h 75786"/>
                  <a:gd name="connsiteX18" fmla="*/ 34978 w 58442"/>
                  <a:gd name="connsiteY18" fmla="*/ 40225 h 75786"/>
                  <a:gd name="connsiteX19" fmla="*/ 12680 w 58442"/>
                  <a:gd name="connsiteY19" fmla="*/ 54363 h 75786"/>
                  <a:gd name="connsiteX20" fmla="*/ 25724 w 58442"/>
                  <a:gd name="connsiteY20" fmla="*/ 65731 h 7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442" h="75786">
                    <a:moveTo>
                      <a:pt x="73" y="54581"/>
                    </a:moveTo>
                    <a:cubicBezTo>
                      <a:pt x="73" y="37529"/>
                      <a:pt x="14647" y="31043"/>
                      <a:pt x="33303" y="31043"/>
                    </a:cubicBezTo>
                    <a:lnTo>
                      <a:pt x="46273" y="31043"/>
                    </a:lnTo>
                    <a:lnTo>
                      <a:pt x="46273" y="26015"/>
                    </a:lnTo>
                    <a:cubicBezTo>
                      <a:pt x="46273" y="15959"/>
                      <a:pt x="41537" y="10275"/>
                      <a:pt x="31481" y="10275"/>
                    </a:cubicBezTo>
                    <a:cubicBezTo>
                      <a:pt x="22080" y="10275"/>
                      <a:pt x="15667" y="14429"/>
                      <a:pt x="10785" y="20987"/>
                    </a:cubicBezTo>
                    <a:lnTo>
                      <a:pt x="2915" y="13117"/>
                    </a:lnTo>
                    <a:cubicBezTo>
                      <a:pt x="8672" y="6194"/>
                      <a:pt x="17635" y="0"/>
                      <a:pt x="32282" y="0"/>
                    </a:cubicBezTo>
                    <a:cubicBezTo>
                      <a:pt x="49626" y="0"/>
                      <a:pt x="58443" y="10567"/>
                      <a:pt x="58443" y="26015"/>
                    </a:cubicBezTo>
                    <a:lnTo>
                      <a:pt x="58443" y="74475"/>
                    </a:lnTo>
                    <a:lnTo>
                      <a:pt x="46784" y="74475"/>
                    </a:lnTo>
                    <a:lnTo>
                      <a:pt x="46784" y="60848"/>
                    </a:lnTo>
                    <a:lnTo>
                      <a:pt x="46492" y="60848"/>
                    </a:lnTo>
                    <a:cubicBezTo>
                      <a:pt x="41610" y="71269"/>
                      <a:pt x="34177" y="75787"/>
                      <a:pt x="22299" y="75787"/>
                    </a:cubicBezTo>
                    <a:cubicBezTo>
                      <a:pt x="9400" y="75787"/>
                      <a:pt x="0" y="68208"/>
                      <a:pt x="0" y="54508"/>
                    </a:cubicBezTo>
                    <a:close/>
                    <a:moveTo>
                      <a:pt x="25724" y="65658"/>
                    </a:moveTo>
                    <a:cubicBezTo>
                      <a:pt x="39205" y="65658"/>
                      <a:pt x="46346" y="56403"/>
                      <a:pt x="46346" y="47294"/>
                    </a:cubicBezTo>
                    <a:lnTo>
                      <a:pt x="46346" y="40225"/>
                    </a:lnTo>
                    <a:lnTo>
                      <a:pt x="34978" y="40225"/>
                    </a:lnTo>
                    <a:cubicBezTo>
                      <a:pt x="23465" y="40225"/>
                      <a:pt x="12680" y="42703"/>
                      <a:pt x="12680" y="54363"/>
                    </a:cubicBezTo>
                    <a:cubicBezTo>
                      <a:pt x="12680" y="61285"/>
                      <a:pt x="17562" y="65731"/>
                      <a:pt x="25724" y="65731"/>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25" name="Freeform 378">
                <a:extLst>
                  <a:ext uri="{FF2B5EF4-FFF2-40B4-BE49-F238E27FC236}">
                    <a16:creationId xmlns:a16="http://schemas.microsoft.com/office/drawing/2014/main" id="{500DFB90-07BB-8F80-9211-BB3E6A62EC45}"/>
                  </a:ext>
                </a:extLst>
              </p:cNvPr>
              <p:cNvSpPr/>
              <p:nvPr/>
            </p:nvSpPr>
            <p:spPr>
              <a:xfrm>
                <a:off x="6068876" y="3189466"/>
                <a:ext cx="68280" cy="112805"/>
              </a:xfrm>
              <a:custGeom>
                <a:avLst/>
                <a:gdLst>
                  <a:gd name="connsiteX0" fmla="*/ 0 w 68280"/>
                  <a:gd name="connsiteY0" fmla="*/ 94442 h 112805"/>
                  <a:gd name="connsiteX1" fmla="*/ 13117 w 68280"/>
                  <a:gd name="connsiteY1" fmla="*/ 78629 h 112805"/>
                  <a:gd name="connsiteX2" fmla="*/ 5101 w 68280"/>
                  <a:gd name="connsiteY2" fmla="*/ 68427 h 112805"/>
                  <a:gd name="connsiteX3" fmla="*/ 15230 w 68280"/>
                  <a:gd name="connsiteY3" fmla="*/ 55820 h 112805"/>
                  <a:gd name="connsiteX4" fmla="*/ 3425 w 68280"/>
                  <a:gd name="connsiteY4" fmla="*/ 34177 h 112805"/>
                  <a:gd name="connsiteX5" fmla="*/ 32064 w 68280"/>
                  <a:gd name="connsiteY5" fmla="*/ 8162 h 112805"/>
                  <a:gd name="connsiteX6" fmla="*/ 48751 w 68280"/>
                  <a:gd name="connsiteY6" fmla="*/ 12097 h 112805"/>
                  <a:gd name="connsiteX7" fmla="*/ 64564 w 68280"/>
                  <a:gd name="connsiteY7" fmla="*/ 0 h 112805"/>
                  <a:gd name="connsiteX8" fmla="*/ 66969 w 68280"/>
                  <a:gd name="connsiteY8" fmla="*/ 0 h 112805"/>
                  <a:gd name="connsiteX9" fmla="*/ 66969 w 68280"/>
                  <a:gd name="connsiteY9" fmla="*/ 12243 h 112805"/>
                  <a:gd name="connsiteX10" fmla="*/ 64491 w 68280"/>
                  <a:gd name="connsiteY10" fmla="*/ 12243 h 112805"/>
                  <a:gd name="connsiteX11" fmla="*/ 52686 w 68280"/>
                  <a:gd name="connsiteY11" fmla="*/ 14866 h 112805"/>
                  <a:gd name="connsiteX12" fmla="*/ 60557 w 68280"/>
                  <a:gd name="connsiteY12" fmla="*/ 34177 h 112805"/>
                  <a:gd name="connsiteX13" fmla="*/ 31772 w 68280"/>
                  <a:gd name="connsiteY13" fmla="*/ 59682 h 112805"/>
                  <a:gd name="connsiteX14" fmla="*/ 19092 w 68280"/>
                  <a:gd name="connsiteY14" fmla="*/ 57496 h 112805"/>
                  <a:gd name="connsiteX15" fmla="*/ 16615 w 68280"/>
                  <a:gd name="connsiteY15" fmla="*/ 62451 h 112805"/>
                  <a:gd name="connsiteX16" fmla="*/ 36436 w 68280"/>
                  <a:gd name="connsiteY16" fmla="*/ 70103 h 112805"/>
                  <a:gd name="connsiteX17" fmla="*/ 68281 w 68280"/>
                  <a:gd name="connsiteY17" fmla="*/ 89560 h 112805"/>
                  <a:gd name="connsiteX18" fmla="*/ 32501 w 68280"/>
                  <a:gd name="connsiteY18" fmla="*/ 112806 h 112805"/>
                  <a:gd name="connsiteX19" fmla="*/ 146 w 68280"/>
                  <a:gd name="connsiteY19" fmla="*/ 94442 h 112805"/>
                  <a:gd name="connsiteX20" fmla="*/ 32938 w 68280"/>
                  <a:gd name="connsiteY20" fmla="*/ 103187 h 112805"/>
                  <a:gd name="connsiteX21" fmla="*/ 55382 w 68280"/>
                  <a:gd name="connsiteY21" fmla="*/ 91017 h 112805"/>
                  <a:gd name="connsiteX22" fmla="*/ 32938 w 68280"/>
                  <a:gd name="connsiteY22" fmla="*/ 81617 h 112805"/>
                  <a:gd name="connsiteX23" fmla="*/ 17781 w 68280"/>
                  <a:gd name="connsiteY23" fmla="*/ 80013 h 112805"/>
                  <a:gd name="connsiteX24" fmla="*/ 11878 w 68280"/>
                  <a:gd name="connsiteY24" fmla="*/ 91017 h 112805"/>
                  <a:gd name="connsiteX25" fmla="*/ 32938 w 68280"/>
                  <a:gd name="connsiteY25" fmla="*/ 103187 h 112805"/>
                  <a:gd name="connsiteX26" fmla="*/ 31554 w 68280"/>
                  <a:gd name="connsiteY26" fmla="*/ 50209 h 112805"/>
                  <a:gd name="connsiteX27" fmla="*/ 48023 w 68280"/>
                  <a:gd name="connsiteY27" fmla="*/ 34250 h 112805"/>
                  <a:gd name="connsiteX28" fmla="*/ 32209 w 68280"/>
                  <a:gd name="connsiteY28" fmla="*/ 17781 h 112805"/>
                  <a:gd name="connsiteX29" fmla="*/ 15886 w 68280"/>
                  <a:gd name="connsiteY29" fmla="*/ 34250 h 112805"/>
                  <a:gd name="connsiteX30" fmla="*/ 31481 w 68280"/>
                  <a:gd name="connsiteY30" fmla="*/ 50209 h 112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8280" h="112805">
                    <a:moveTo>
                      <a:pt x="0" y="94442"/>
                    </a:moveTo>
                    <a:cubicBezTo>
                      <a:pt x="0" y="86208"/>
                      <a:pt x="6121" y="80742"/>
                      <a:pt x="13117" y="78629"/>
                    </a:cubicBezTo>
                    <a:cubicBezTo>
                      <a:pt x="8235" y="76807"/>
                      <a:pt x="5101" y="73674"/>
                      <a:pt x="5101" y="68427"/>
                    </a:cubicBezTo>
                    <a:cubicBezTo>
                      <a:pt x="5101" y="62670"/>
                      <a:pt x="8818" y="58152"/>
                      <a:pt x="15230" y="55820"/>
                    </a:cubicBezTo>
                    <a:cubicBezTo>
                      <a:pt x="7651" y="51520"/>
                      <a:pt x="3425" y="43869"/>
                      <a:pt x="3425" y="34177"/>
                    </a:cubicBezTo>
                    <a:cubicBezTo>
                      <a:pt x="3425" y="20040"/>
                      <a:pt x="13044" y="8162"/>
                      <a:pt x="32064" y="8162"/>
                    </a:cubicBezTo>
                    <a:cubicBezTo>
                      <a:pt x="38986" y="8162"/>
                      <a:pt x="44525" y="9546"/>
                      <a:pt x="48751" y="12097"/>
                    </a:cubicBezTo>
                    <a:cubicBezTo>
                      <a:pt x="51885" y="4591"/>
                      <a:pt x="56038" y="0"/>
                      <a:pt x="64564" y="0"/>
                    </a:cubicBezTo>
                    <a:lnTo>
                      <a:pt x="66969" y="0"/>
                    </a:lnTo>
                    <a:lnTo>
                      <a:pt x="66969" y="12243"/>
                    </a:lnTo>
                    <a:lnTo>
                      <a:pt x="64491" y="12243"/>
                    </a:lnTo>
                    <a:cubicBezTo>
                      <a:pt x="58006" y="12243"/>
                      <a:pt x="55018" y="13190"/>
                      <a:pt x="52686" y="14866"/>
                    </a:cubicBezTo>
                    <a:cubicBezTo>
                      <a:pt x="58006" y="19675"/>
                      <a:pt x="60557" y="26598"/>
                      <a:pt x="60557" y="34177"/>
                    </a:cubicBezTo>
                    <a:cubicBezTo>
                      <a:pt x="60557" y="47877"/>
                      <a:pt x="50646" y="59682"/>
                      <a:pt x="31772" y="59682"/>
                    </a:cubicBezTo>
                    <a:cubicBezTo>
                      <a:pt x="26963" y="59682"/>
                      <a:pt x="22736" y="58953"/>
                      <a:pt x="19092" y="57496"/>
                    </a:cubicBezTo>
                    <a:cubicBezTo>
                      <a:pt x="17562" y="58662"/>
                      <a:pt x="16615" y="60192"/>
                      <a:pt x="16615" y="62451"/>
                    </a:cubicBezTo>
                    <a:cubicBezTo>
                      <a:pt x="16615" y="68427"/>
                      <a:pt x="23392" y="69374"/>
                      <a:pt x="36436" y="70103"/>
                    </a:cubicBezTo>
                    <a:cubicBezTo>
                      <a:pt x="52614" y="70904"/>
                      <a:pt x="68281" y="72435"/>
                      <a:pt x="68281" y="89560"/>
                    </a:cubicBezTo>
                    <a:cubicBezTo>
                      <a:pt x="68281" y="105810"/>
                      <a:pt x="55747" y="112806"/>
                      <a:pt x="32501" y="112806"/>
                    </a:cubicBezTo>
                    <a:cubicBezTo>
                      <a:pt x="9255" y="112806"/>
                      <a:pt x="146" y="104863"/>
                      <a:pt x="146" y="94442"/>
                    </a:cubicBezTo>
                    <a:close/>
                    <a:moveTo>
                      <a:pt x="32938" y="103187"/>
                    </a:moveTo>
                    <a:cubicBezTo>
                      <a:pt x="47075" y="103187"/>
                      <a:pt x="55382" y="100417"/>
                      <a:pt x="55382" y="91017"/>
                    </a:cubicBezTo>
                    <a:cubicBezTo>
                      <a:pt x="55382" y="83365"/>
                      <a:pt x="48460" y="82272"/>
                      <a:pt x="32938" y="81617"/>
                    </a:cubicBezTo>
                    <a:cubicBezTo>
                      <a:pt x="27546" y="81325"/>
                      <a:pt x="22226" y="80961"/>
                      <a:pt x="17781" y="80013"/>
                    </a:cubicBezTo>
                    <a:cubicBezTo>
                      <a:pt x="14356" y="82418"/>
                      <a:pt x="11878" y="86062"/>
                      <a:pt x="11878" y="91017"/>
                    </a:cubicBezTo>
                    <a:cubicBezTo>
                      <a:pt x="11878" y="99762"/>
                      <a:pt x="17708" y="103187"/>
                      <a:pt x="32938" y="103187"/>
                    </a:cubicBezTo>
                    <a:close/>
                    <a:moveTo>
                      <a:pt x="31554" y="50209"/>
                    </a:moveTo>
                    <a:cubicBezTo>
                      <a:pt x="41683" y="50209"/>
                      <a:pt x="48023" y="43650"/>
                      <a:pt x="48023" y="34250"/>
                    </a:cubicBezTo>
                    <a:cubicBezTo>
                      <a:pt x="48023" y="24194"/>
                      <a:pt x="42047" y="17781"/>
                      <a:pt x="32209" y="17781"/>
                    </a:cubicBezTo>
                    <a:cubicBezTo>
                      <a:pt x="22372" y="17781"/>
                      <a:pt x="15886" y="24194"/>
                      <a:pt x="15886" y="34250"/>
                    </a:cubicBezTo>
                    <a:cubicBezTo>
                      <a:pt x="15886" y="45035"/>
                      <a:pt x="22518" y="50209"/>
                      <a:pt x="31481" y="50209"/>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26" name="Freeform 379">
                <a:extLst>
                  <a:ext uri="{FF2B5EF4-FFF2-40B4-BE49-F238E27FC236}">
                    <a16:creationId xmlns:a16="http://schemas.microsoft.com/office/drawing/2014/main" id="{4ECFFE5D-7E58-E6C2-3D92-A622A95A5A7A}"/>
                  </a:ext>
                </a:extLst>
              </p:cNvPr>
              <p:cNvSpPr/>
              <p:nvPr/>
            </p:nvSpPr>
            <p:spPr>
              <a:xfrm>
                <a:off x="6142622" y="3197701"/>
                <a:ext cx="67333" cy="75859"/>
              </a:xfrm>
              <a:custGeom>
                <a:avLst/>
                <a:gdLst>
                  <a:gd name="connsiteX0" fmla="*/ 73 w 67333"/>
                  <a:gd name="connsiteY0" fmla="*/ 37893 h 75859"/>
                  <a:gd name="connsiteX1" fmla="*/ 35489 w 67333"/>
                  <a:gd name="connsiteY1" fmla="*/ 0 h 75859"/>
                  <a:gd name="connsiteX2" fmla="*/ 67334 w 67333"/>
                  <a:gd name="connsiteY2" fmla="*/ 35270 h 75859"/>
                  <a:gd name="connsiteX3" fmla="*/ 67115 w 67333"/>
                  <a:gd name="connsiteY3" fmla="*/ 40954 h 75859"/>
                  <a:gd name="connsiteX4" fmla="*/ 12826 w 67333"/>
                  <a:gd name="connsiteY4" fmla="*/ 40954 h 75859"/>
                  <a:gd name="connsiteX5" fmla="*/ 36800 w 67333"/>
                  <a:gd name="connsiteY5" fmla="*/ 65512 h 75859"/>
                  <a:gd name="connsiteX6" fmla="*/ 57132 w 67333"/>
                  <a:gd name="connsiteY6" fmla="*/ 56767 h 75859"/>
                  <a:gd name="connsiteX7" fmla="*/ 64783 w 67333"/>
                  <a:gd name="connsiteY7" fmla="*/ 64346 h 75859"/>
                  <a:gd name="connsiteX8" fmla="*/ 36800 w 67333"/>
                  <a:gd name="connsiteY8" fmla="*/ 75860 h 75859"/>
                  <a:gd name="connsiteX9" fmla="*/ 0 w 67333"/>
                  <a:gd name="connsiteY9" fmla="*/ 37893 h 75859"/>
                  <a:gd name="connsiteX10" fmla="*/ 54945 w 67333"/>
                  <a:gd name="connsiteY10" fmla="*/ 31554 h 75859"/>
                  <a:gd name="connsiteX11" fmla="*/ 34905 w 67333"/>
                  <a:gd name="connsiteY11" fmla="*/ 10421 h 75859"/>
                  <a:gd name="connsiteX12" fmla="*/ 13117 w 67333"/>
                  <a:gd name="connsiteY12" fmla="*/ 31554 h 75859"/>
                  <a:gd name="connsiteX13" fmla="*/ 54873 w 67333"/>
                  <a:gd name="connsiteY13" fmla="*/ 31554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333" h="75859">
                    <a:moveTo>
                      <a:pt x="73" y="37893"/>
                    </a:moveTo>
                    <a:cubicBezTo>
                      <a:pt x="73" y="12388"/>
                      <a:pt x="16615" y="0"/>
                      <a:pt x="35489" y="0"/>
                    </a:cubicBezTo>
                    <a:cubicBezTo>
                      <a:pt x="59172" y="0"/>
                      <a:pt x="67334" y="19020"/>
                      <a:pt x="67334" y="35270"/>
                    </a:cubicBezTo>
                    <a:cubicBezTo>
                      <a:pt x="67334" y="37238"/>
                      <a:pt x="67334" y="39205"/>
                      <a:pt x="67115" y="40954"/>
                    </a:cubicBezTo>
                    <a:lnTo>
                      <a:pt x="12826" y="40954"/>
                    </a:lnTo>
                    <a:cubicBezTo>
                      <a:pt x="13700" y="56767"/>
                      <a:pt x="21716" y="65512"/>
                      <a:pt x="36800" y="65512"/>
                    </a:cubicBezTo>
                    <a:cubicBezTo>
                      <a:pt x="45691" y="65512"/>
                      <a:pt x="51812" y="63034"/>
                      <a:pt x="57132" y="56767"/>
                    </a:cubicBezTo>
                    <a:lnTo>
                      <a:pt x="64783" y="64346"/>
                    </a:lnTo>
                    <a:cubicBezTo>
                      <a:pt x="57642" y="72362"/>
                      <a:pt x="49553" y="75860"/>
                      <a:pt x="36800" y="75860"/>
                    </a:cubicBezTo>
                    <a:cubicBezTo>
                      <a:pt x="14720" y="75860"/>
                      <a:pt x="0" y="62597"/>
                      <a:pt x="0" y="37893"/>
                    </a:cubicBezTo>
                    <a:close/>
                    <a:moveTo>
                      <a:pt x="54945" y="31554"/>
                    </a:moveTo>
                    <a:cubicBezTo>
                      <a:pt x="53634" y="17198"/>
                      <a:pt x="46201" y="10421"/>
                      <a:pt x="34905" y="10421"/>
                    </a:cubicBezTo>
                    <a:cubicBezTo>
                      <a:pt x="23610" y="10421"/>
                      <a:pt x="15085" y="17416"/>
                      <a:pt x="13117" y="31554"/>
                    </a:cubicBezTo>
                    <a:lnTo>
                      <a:pt x="54873" y="31554"/>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27" name="Freeform 380">
                <a:extLst>
                  <a:ext uri="{FF2B5EF4-FFF2-40B4-BE49-F238E27FC236}">
                    <a16:creationId xmlns:a16="http://schemas.microsoft.com/office/drawing/2014/main" id="{10A8C2F0-3FF1-8217-D236-BD76D5476A81}"/>
                  </a:ext>
                </a:extLst>
              </p:cNvPr>
              <p:cNvSpPr/>
              <p:nvPr/>
            </p:nvSpPr>
            <p:spPr>
              <a:xfrm>
                <a:off x="6227154" y="3197701"/>
                <a:ext cx="96992" cy="74475"/>
              </a:xfrm>
              <a:custGeom>
                <a:avLst/>
                <a:gdLst>
                  <a:gd name="connsiteX0" fmla="*/ 0 w 96992"/>
                  <a:gd name="connsiteY0" fmla="*/ 1385 h 74475"/>
                  <a:gd name="connsiteX1" fmla="*/ 11659 w 96992"/>
                  <a:gd name="connsiteY1" fmla="*/ 1385 h 74475"/>
                  <a:gd name="connsiteX2" fmla="*/ 11659 w 96992"/>
                  <a:gd name="connsiteY2" fmla="*/ 16615 h 74475"/>
                  <a:gd name="connsiteX3" fmla="*/ 11951 w 96992"/>
                  <a:gd name="connsiteY3" fmla="*/ 16615 h 74475"/>
                  <a:gd name="connsiteX4" fmla="*/ 33302 w 96992"/>
                  <a:gd name="connsiteY4" fmla="*/ 0 h 74475"/>
                  <a:gd name="connsiteX5" fmla="*/ 53269 w 96992"/>
                  <a:gd name="connsiteY5" fmla="*/ 16615 h 74475"/>
                  <a:gd name="connsiteX6" fmla="*/ 53561 w 96992"/>
                  <a:gd name="connsiteY6" fmla="*/ 16615 h 74475"/>
                  <a:gd name="connsiteX7" fmla="*/ 75641 w 96992"/>
                  <a:gd name="connsiteY7" fmla="*/ 0 h 74475"/>
                  <a:gd name="connsiteX8" fmla="*/ 96992 w 96992"/>
                  <a:gd name="connsiteY8" fmla="*/ 25724 h 74475"/>
                  <a:gd name="connsiteX9" fmla="*/ 96992 w 96992"/>
                  <a:gd name="connsiteY9" fmla="*/ 74475 h 74475"/>
                  <a:gd name="connsiteX10" fmla="*/ 84823 w 96992"/>
                  <a:gd name="connsiteY10" fmla="*/ 74475 h 74475"/>
                  <a:gd name="connsiteX11" fmla="*/ 84823 w 96992"/>
                  <a:gd name="connsiteY11" fmla="*/ 28129 h 74475"/>
                  <a:gd name="connsiteX12" fmla="*/ 71633 w 96992"/>
                  <a:gd name="connsiteY12" fmla="*/ 10785 h 74475"/>
                  <a:gd name="connsiteX13" fmla="*/ 54581 w 96992"/>
                  <a:gd name="connsiteY13" fmla="*/ 32064 h 74475"/>
                  <a:gd name="connsiteX14" fmla="*/ 54581 w 96992"/>
                  <a:gd name="connsiteY14" fmla="*/ 74475 h 74475"/>
                  <a:gd name="connsiteX15" fmla="*/ 42411 w 96992"/>
                  <a:gd name="connsiteY15" fmla="*/ 74475 h 74475"/>
                  <a:gd name="connsiteX16" fmla="*/ 42411 w 96992"/>
                  <a:gd name="connsiteY16" fmla="*/ 28129 h 74475"/>
                  <a:gd name="connsiteX17" fmla="*/ 29221 w 96992"/>
                  <a:gd name="connsiteY17" fmla="*/ 10785 h 74475"/>
                  <a:gd name="connsiteX18" fmla="*/ 12169 w 96992"/>
                  <a:gd name="connsiteY18" fmla="*/ 32064 h 74475"/>
                  <a:gd name="connsiteX19" fmla="*/ 12169 w 96992"/>
                  <a:gd name="connsiteY19" fmla="*/ 74475 h 74475"/>
                  <a:gd name="connsiteX20" fmla="*/ 0 w 96992"/>
                  <a:gd name="connsiteY20" fmla="*/ 74475 h 74475"/>
                  <a:gd name="connsiteX21" fmla="*/ 0 w 96992"/>
                  <a:gd name="connsiteY21"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6992" h="74475">
                    <a:moveTo>
                      <a:pt x="0" y="1385"/>
                    </a:moveTo>
                    <a:lnTo>
                      <a:pt x="11659" y="1385"/>
                    </a:lnTo>
                    <a:lnTo>
                      <a:pt x="11659" y="16615"/>
                    </a:lnTo>
                    <a:lnTo>
                      <a:pt x="11951" y="16615"/>
                    </a:lnTo>
                    <a:cubicBezTo>
                      <a:pt x="15449" y="5903"/>
                      <a:pt x="23173" y="0"/>
                      <a:pt x="33302" y="0"/>
                    </a:cubicBezTo>
                    <a:cubicBezTo>
                      <a:pt x="43431" y="0"/>
                      <a:pt x="50719" y="5174"/>
                      <a:pt x="53269" y="16615"/>
                    </a:cubicBezTo>
                    <a:lnTo>
                      <a:pt x="53561" y="16615"/>
                    </a:lnTo>
                    <a:cubicBezTo>
                      <a:pt x="56913" y="5101"/>
                      <a:pt x="65585" y="0"/>
                      <a:pt x="75641" y="0"/>
                    </a:cubicBezTo>
                    <a:cubicBezTo>
                      <a:pt x="89341" y="0"/>
                      <a:pt x="96992" y="7652"/>
                      <a:pt x="96992" y="25724"/>
                    </a:cubicBezTo>
                    <a:lnTo>
                      <a:pt x="96992" y="74475"/>
                    </a:lnTo>
                    <a:lnTo>
                      <a:pt x="84823" y="74475"/>
                    </a:lnTo>
                    <a:lnTo>
                      <a:pt x="84823" y="28129"/>
                    </a:lnTo>
                    <a:cubicBezTo>
                      <a:pt x="84823" y="17416"/>
                      <a:pt x="81471" y="10785"/>
                      <a:pt x="71633" y="10785"/>
                    </a:cubicBezTo>
                    <a:cubicBezTo>
                      <a:pt x="61212" y="10785"/>
                      <a:pt x="54581" y="18437"/>
                      <a:pt x="54581" y="32064"/>
                    </a:cubicBezTo>
                    <a:lnTo>
                      <a:pt x="54581" y="74475"/>
                    </a:lnTo>
                    <a:lnTo>
                      <a:pt x="42411" y="74475"/>
                    </a:lnTo>
                    <a:lnTo>
                      <a:pt x="42411" y="28129"/>
                    </a:lnTo>
                    <a:cubicBezTo>
                      <a:pt x="42411" y="17416"/>
                      <a:pt x="39059" y="10785"/>
                      <a:pt x="29221" y="10785"/>
                    </a:cubicBezTo>
                    <a:cubicBezTo>
                      <a:pt x="18874" y="10785"/>
                      <a:pt x="12169" y="18437"/>
                      <a:pt x="12169" y="32064"/>
                    </a:cubicBezTo>
                    <a:lnTo>
                      <a:pt x="12169" y="74475"/>
                    </a:lnTo>
                    <a:lnTo>
                      <a:pt x="0" y="74475"/>
                    </a:lnTo>
                    <a:lnTo>
                      <a:pt x="0"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28" name="Freeform 381">
                <a:extLst>
                  <a:ext uri="{FF2B5EF4-FFF2-40B4-BE49-F238E27FC236}">
                    <a16:creationId xmlns:a16="http://schemas.microsoft.com/office/drawing/2014/main" id="{147A4116-3534-2874-80F2-0F62FDA1041C}"/>
                  </a:ext>
                </a:extLst>
              </p:cNvPr>
              <p:cNvSpPr/>
              <p:nvPr/>
            </p:nvSpPr>
            <p:spPr>
              <a:xfrm>
                <a:off x="6340615" y="3197701"/>
                <a:ext cx="67333" cy="75859"/>
              </a:xfrm>
              <a:custGeom>
                <a:avLst/>
                <a:gdLst>
                  <a:gd name="connsiteX0" fmla="*/ 73 w 67333"/>
                  <a:gd name="connsiteY0" fmla="*/ 37893 h 75859"/>
                  <a:gd name="connsiteX1" fmla="*/ 35489 w 67333"/>
                  <a:gd name="connsiteY1" fmla="*/ 0 h 75859"/>
                  <a:gd name="connsiteX2" fmla="*/ 67334 w 67333"/>
                  <a:gd name="connsiteY2" fmla="*/ 35270 h 75859"/>
                  <a:gd name="connsiteX3" fmla="*/ 67115 w 67333"/>
                  <a:gd name="connsiteY3" fmla="*/ 40954 h 75859"/>
                  <a:gd name="connsiteX4" fmla="*/ 12826 w 67333"/>
                  <a:gd name="connsiteY4" fmla="*/ 40954 h 75859"/>
                  <a:gd name="connsiteX5" fmla="*/ 36801 w 67333"/>
                  <a:gd name="connsiteY5" fmla="*/ 65512 h 75859"/>
                  <a:gd name="connsiteX6" fmla="*/ 57132 w 67333"/>
                  <a:gd name="connsiteY6" fmla="*/ 56767 h 75859"/>
                  <a:gd name="connsiteX7" fmla="*/ 64783 w 67333"/>
                  <a:gd name="connsiteY7" fmla="*/ 64346 h 75859"/>
                  <a:gd name="connsiteX8" fmla="*/ 36801 w 67333"/>
                  <a:gd name="connsiteY8" fmla="*/ 75860 h 75859"/>
                  <a:gd name="connsiteX9" fmla="*/ 0 w 67333"/>
                  <a:gd name="connsiteY9" fmla="*/ 37893 h 75859"/>
                  <a:gd name="connsiteX10" fmla="*/ 54946 w 67333"/>
                  <a:gd name="connsiteY10" fmla="*/ 31554 h 75859"/>
                  <a:gd name="connsiteX11" fmla="*/ 34906 w 67333"/>
                  <a:gd name="connsiteY11" fmla="*/ 10421 h 75859"/>
                  <a:gd name="connsiteX12" fmla="*/ 13117 w 67333"/>
                  <a:gd name="connsiteY12" fmla="*/ 31554 h 75859"/>
                  <a:gd name="connsiteX13" fmla="*/ 54873 w 67333"/>
                  <a:gd name="connsiteY13" fmla="*/ 31554 h 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333" h="75859">
                    <a:moveTo>
                      <a:pt x="73" y="37893"/>
                    </a:moveTo>
                    <a:cubicBezTo>
                      <a:pt x="73" y="12388"/>
                      <a:pt x="16615" y="0"/>
                      <a:pt x="35489" y="0"/>
                    </a:cubicBezTo>
                    <a:cubicBezTo>
                      <a:pt x="59172" y="0"/>
                      <a:pt x="67334" y="19020"/>
                      <a:pt x="67334" y="35270"/>
                    </a:cubicBezTo>
                    <a:cubicBezTo>
                      <a:pt x="67334" y="37238"/>
                      <a:pt x="67334" y="39205"/>
                      <a:pt x="67115" y="40954"/>
                    </a:cubicBezTo>
                    <a:lnTo>
                      <a:pt x="12826" y="40954"/>
                    </a:lnTo>
                    <a:cubicBezTo>
                      <a:pt x="13700" y="56767"/>
                      <a:pt x="21716" y="65512"/>
                      <a:pt x="36801" y="65512"/>
                    </a:cubicBezTo>
                    <a:cubicBezTo>
                      <a:pt x="45691" y="65512"/>
                      <a:pt x="51812" y="63034"/>
                      <a:pt x="57132" y="56767"/>
                    </a:cubicBezTo>
                    <a:lnTo>
                      <a:pt x="64783" y="64346"/>
                    </a:lnTo>
                    <a:cubicBezTo>
                      <a:pt x="57642" y="72362"/>
                      <a:pt x="49553" y="75860"/>
                      <a:pt x="36801" y="75860"/>
                    </a:cubicBezTo>
                    <a:cubicBezTo>
                      <a:pt x="14720" y="75860"/>
                      <a:pt x="0" y="62597"/>
                      <a:pt x="0" y="37893"/>
                    </a:cubicBezTo>
                    <a:close/>
                    <a:moveTo>
                      <a:pt x="54946" y="31554"/>
                    </a:moveTo>
                    <a:cubicBezTo>
                      <a:pt x="53634" y="17198"/>
                      <a:pt x="46201" y="10421"/>
                      <a:pt x="34906" y="10421"/>
                    </a:cubicBezTo>
                    <a:cubicBezTo>
                      <a:pt x="23611" y="10421"/>
                      <a:pt x="15085" y="17416"/>
                      <a:pt x="13117" y="31554"/>
                    </a:cubicBezTo>
                    <a:lnTo>
                      <a:pt x="54873" y="31554"/>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29" name="Freeform 382">
                <a:extLst>
                  <a:ext uri="{FF2B5EF4-FFF2-40B4-BE49-F238E27FC236}">
                    <a16:creationId xmlns:a16="http://schemas.microsoft.com/office/drawing/2014/main" id="{4C390165-C9CF-A537-AC6C-3EBF9D4ABE50}"/>
                  </a:ext>
                </a:extLst>
              </p:cNvPr>
              <p:cNvSpPr/>
              <p:nvPr/>
            </p:nvSpPr>
            <p:spPr>
              <a:xfrm>
                <a:off x="6425147" y="3197701"/>
                <a:ext cx="58588" cy="74475"/>
              </a:xfrm>
              <a:custGeom>
                <a:avLst/>
                <a:gdLst>
                  <a:gd name="connsiteX0" fmla="*/ 0 w 58588"/>
                  <a:gd name="connsiteY0" fmla="*/ 1385 h 74475"/>
                  <a:gd name="connsiteX1" fmla="*/ 11659 w 58588"/>
                  <a:gd name="connsiteY1" fmla="*/ 1385 h 74475"/>
                  <a:gd name="connsiteX2" fmla="*/ 11659 w 58588"/>
                  <a:gd name="connsiteY2" fmla="*/ 16615 h 74475"/>
                  <a:gd name="connsiteX3" fmla="*/ 11951 w 58588"/>
                  <a:gd name="connsiteY3" fmla="*/ 16615 h 74475"/>
                  <a:gd name="connsiteX4" fmla="*/ 35707 w 58588"/>
                  <a:gd name="connsiteY4" fmla="*/ 0 h 74475"/>
                  <a:gd name="connsiteX5" fmla="*/ 58589 w 58588"/>
                  <a:gd name="connsiteY5" fmla="*/ 25724 h 74475"/>
                  <a:gd name="connsiteX6" fmla="*/ 58589 w 58588"/>
                  <a:gd name="connsiteY6" fmla="*/ 74475 h 74475"/>
                  <a:gd name="connsiteX7" fmla="*/ 46346 w 58588"/>
                  <a:gd name="connsiteY7" fmla="*/ 74475 h 74475"/>
                  <a:gd name="connsiteX8" fmla="*/ 46346 w 58588"/>
                  <a:gd name="connsiteY8" fmla="*/ 28129 h 74475"/>
                  <a:gd name="connsiteX9" fmla="*/ 31262 w 58588"/>
                  <a:gd name="connsiteY9" fmla="*/ 10785 h 74475"/>
                  <a:gd name="connsiteX10" fmla="*/ 12242 w 58588"/>
                  <a:gd name="connsiteY10" fmla="*/ 32064 h 74475"/>
                  <a:gd name="connsiteX11" fmla="*/ 12242 w 58588"/>
                  <a:gd name="connsiteY11" fmla="*/ 74475 h 74475"/>
                  <a:gd name="connsiteX12" fmla="*/ 73 w 58588"/>
                  <a:gd name="connsiteY12" fmla="*/ 74475 h 74475"/>
                  <a:gd name="connsiteX13" fmla="*/ 73 w 58588"/>
                  <a:gd name="connsiteY13" fmla="*/ 1385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588" h="74475">
                    <a:moveTo>
                      <a:pt x="0" y="1385"/>
                    </a:moveTo>
                    <a:lnTo>
                      <a:pt x="11659" y="1385"/>
                    </a:lnTo>
                    <a:lnTo>
                      <a:pt x="11659" y="16615"/>
                    </a:lnTo>
                    <a:lnTo>
                      <a:pt x="11951" y="16615"/>
                    </a:lnTo>
                    <a:cubicBezTo>
                      <a:pt x="14866" y="8963"/>
                      <a:pt x="20987" y="0"/>
                      <a:pt x="35707" y="0"/>
                    </a:cubicBezTo>
                    <a:cubicBezTo>
                      <a:pt x="51156" y="0"/>
                      <a:pt x="58589" y="10421"/>
                      <a:pt x="58589" y="25724"/>
                    </a:cubicBezTo>
                    <a:lnTo>
                      <a:pt x="58589" y="74475"/>
                    </a:lnTo>
                    <a:lnTo>
                      <a:pt x="46346" y="74475"/>
                    </a:lnTo>
                    <a:lnTo>
                      <a:pt x="46346" y="28129"/>
                    </a:lnTo>
                    <a:cubicBezTo>
                      <a:pt x="46346" y="17416"/>
                      <a:pt x="42484" y="10785"/>
                      <a:pt x="31262" y="10785"/>
                    </a:cubicBezTo>
                    <a:cubicBezTo>
                      <a:pt x="20040" y="10785"/>
                      <a:pt x="12242" y="18437"/>
                      <a:pt x="12242" y="32064"/>
                    </a:cubicBezTo>
                    <a:lnTo>
                      <a:pt x="12242" y="74475"/>
                    </a:lnTo>
                    <a:lnTo>
                      <a:pt x="73" y="74475"/>
                    </a:lnTo>
                    <a:lnTo>
                      <a:pt x="73" y="1385"/>
                    </a:ln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sp>
            <p:nvSpPr>
              <p:cNvPr id="1730" name="Freeform 383">
                <a:extLst>
                  <a:ext uri="{FF2B5EF4-FFF2-40B4-BE49-F238E27FC236}">
                    <a16:creationId xmlns:a16="http://schemas.microsoft.com/office/drawing/2014/main" id="{C0E60C79-9BE6-5107-3AD4-9EECD5FAA921}"/>
                  </a:ext>
                </a:extLst>
              </p:cNvPr>
              <p:cNvSpPr/>
              <p:nvPr/>
            </p:nvSpPr>
            <p:spPr>
              <a:xfrm>
                <a:off x="6495249" y="3181378"/>
                <a:ext cx="39350" cy="91818"/>
              </a:xfrm>
              <a:custGeom>
                <a:avLst/>
                <a:gdLst>
                  <a:gd name="connsiteX0" fmla="*/ 10785 w 39350"/>
                  <a:gd name="connsiteY0" fmla="*/ 75058 h 91818"/>
                  <a:gd name="connsiteX1" fmla="*/ 10785 w 39350"/>
                  <a:gd name="connsiteY1" fmla="*/ 27910 h 91818"/>
                  <a:gd name="connsiteX2" fmla="*/ 0 w 39350"/>
                  <a:gd name="connsiteY2" fmla="*/ 27910 h 91818"/>
                  <a:gd name="connsiteX3" fmla="*/ 0 w 39350"/>
                  <a:gd name="connsiteY3" fmla="*/ 21570 h 91818"/>
                  <a:gd name="connsiteX4" fmla="*/ 21570 w 39350"/>
                  <a:gd name="connsiteY4" fmla="*/ 0 h 91818"/>
                  <a:gd name="connsiteX5" fmla="*/ 22954 w 39350"/>
                  <a:gd name="connsiteY5" fmla="*/ 0 h 91818"/>
                  <a:gd name="connsiteX6" fmla="*/ 22954 w 39350"/>
                  <a:gd name="connsiteY6" fmla="*/ 17708 h 91818"/>
                  <a:gd name="connsiteX7" fmla="*/ 39351 w 39350"/>
                  <a:gd name="connsiteY7" fmla="*/ 17708 h 91818"/>
                  <a:gd name="connsiteX8" fmla="*/ 39351 w 39350"/>
                  <a:gd name="connsiteY8" fmla="*/ 27910 h 91818"/>
                  <a:gd name="connsiteX9" fmla="*/ 22954 w 39350"/>
                  <a:gd name="connsiteY9" fmla="*/ 27910 h 91818"/>
                  <a:gd name="connsiteX10" fmla="*/ 22954 w 39350"/>
                  <a:gd name="connsiteY10" fmla="*/ 72507 h 91818"/>
                  <a:gd name="connsiteX11" fmla="*/ 30971 w 39350"/>
                  <a:gd name="connsiteY11" fmla="*/ 80815 h 91818"/>
                  <a:gd name="connsiteX12" fmla="*/ 39278 w 39350"/>
                  <a:gd name="connsiteY12" fmla="*/ 79649 h 91818"/>
                  <a:gd name="connsiteX13" fmla="*/ 39278 w 39350"/>
                  <a:gd name="connsiteY13" fmla="*/ 90725 h 91818"/>
                  <a:gd name="connsiteX14" fmla="*/ 29149 w 39350"/>
                  <a:gd name="connsiteY14" fmla="*/ 91819 h 91818"/>
                  <a:gd name="connsiteX15" fmla="*/ 10785 w 39350"/>
                  <a:gd name="connsiteY15" fmla="*/ 74985 h 9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50" h="91818">
                    <a:moveTo>
                      <a:pt x="10785" y="75058"/>
                    </a:moveTo>
                    <a:lnTo>
                      <a:pt x="10785" y="27910"/>
                    </a:lnTo>
                    <a:lnTo>
                      <a:pt x="0" y="27910"/>
                    </a:lnTo>
                    <a:lnTo>
                      <a:pt x="0" y="21570"/>
                    </a:lnTo>
                    <a:lnTo>
                      <a:pt x="21570" y="0"/>
                    </a:lnTo>
                    <a:lnTo>
                      <a:pt x="22954" y="0"/>
                    </a:lnTo>
                    <a:lnTo>
                      <a:pt x="22954" y="17708"/>
                    </a:lnTo>
                    <a:lnTo>
                      <a:pt x="39351" y="17708"/>
                    </a:lnTo>
                    <a:lnTo>
                      <a:pt x="39351" y="27910"/>
                    </a:lnTo>
                    <a:lnTo>
                      <a:pt x="22954" y="27910"/>
                    </a:lnTo>
                    <a:lnTo>
                      <a:pt x="22954" y="72507"/>
                    </a:lnTo>
                    <a:cubicBezTo>
                      <a:pt x="22954" y="78993"/>
                      <a:pt x="25068" y="80815"/>
                      <a:pt x="30971" y="80815"/>
                    </a:cubicBezTo>
                    <a:cubicBezTo>
                      <a:pt x="33885" y="80815"/>
                      <a:pt x="36800" y="80305"/>
                      <a:pt x="39278" y="79649"/>
                    </a:cubicBezTo>
                    <a:lnTo>
                      <a:pt x="39278" y="90725"/>
                    </a:lnTo>
                    <a:cubicBezTo>
                      <a:pt x="36654" y="91381"/>
                      <a:pt x="32719" y="91819"/>
                      <a:pt x="29149" y="91819"/>
                    </a:cubicBezTo>
                    <a:cubicBezTo>
                      <a:pt x="16469" y="91819"/>
                      <a:pt x="10785" y="86717"/>
                      <a:pt x="10785" y="74985"/>
                    </a:cubicBezTo>
                    <a:close/>
                  </a:path>
                </a:pathLst>
              </a:custGeom>
              <a:solidFill>
                <a:srgbClr val="00144A"/>
              </a:solidFill>
              <a:ln w="7285"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endParaRPr lang="en-DE" sz="1799"/>
              </a:p>
            </p:txBody>
          </p:sp>
        </p:grpSp>
      </p:grpSp>
    </p:spTree>
    <p:custDataLst>
      <p:custData r:id="rId1"/>
      <p:custData r:id="rId2"/>
    </p:custDataLst>
    <p:extLst>
      <p:ext uri="{BB962C8B-B14F-4D97-AF65-F5344CB8AC3E}">
        <p14:creationId xmlns:p14="http://schemas.microsoft.com/office/powerpoint/2010/main" val="36519444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Rounded Corners 62">
            <a:extLst>
              <a:ext uri="{FF2B5EF4-FFF2-40B4-BE49-F238E27FC236}">
                <a16:creationId xmlns:a16="http://schemas.microsoft.com/office/drawing/2014/main" id="{5A252A2D-FEF1-E41F-DB4D-3FA6AEDAC0BC}"/>
              </a:ext>
            </a:extLst>
          </p:cNvPr>
          <p:cNvSpPr/>
          <p:nvPr/>
        </p:nvSpPr>
        <p:spPr bwMode="gray">
          <a:xfrm>
            <a:off x="3300456" y="3018686"/>
            <a:ext cx="5590299" cy="699875"/>
          </a:xfrm>
          <a:custGeom>
            <a:avLst/>
            <a:gdLst>
              <a:gd name="connsiteX0" fmla="*/ 0 w 5587918"/>
              <a:gd name="connsiteY0" fmla="*/ 237301 h 1423775"/>
              <a:gd name="connsiteX1" fmla="*/ 237301 w 5587918"/>
              <a:gd name="connsiteY1" fmla="*/ 0 h 1423775"/>
              <a:gd name="connsiteX2" fmla="*/ 5350617 w 5587918"/>
              <a:gd name="connsiteY2" fmla="*/ 0 h 1423775"/>
              <a:gd name="connsiteX3" fmla="*/ 5587918 w 5587918"/>
              <a:gd name="connsiteY3" fmla="*/ 237301 h 1423775"/>
              <a:gd name="connsiteX4" fmla="*/ 5587918 w 5587918"/>
              <a:gd name="connsiteY4" fmla="*/ 1186474 h 1423775"/>
              <a:gd name="connsiteX5" fmla="*/ 5350617 w 5587918"/>
              <a:gd name="connsiteY5" fmla="*/ 1423775 h 1423775"/>
              <a:gd name="connsiteX6" fmla="*/ 237301 w 5587918"/>
              <a:gd name="connsiteY6" fmla="*/ 1423775 h 1423775"/>
              <a:gd name="connsiteX7" fmla="*/ 0 w 5587918"/>
              <a:gd name="connsiteY7" fmla="*/ 1186474 h 1423775"/>
              <a:gd name="connsiteX8" fmla="*/ 0 w 5587918"/>
              <a:gd name="connsiteY8" fmla="*/ 237301 h 1423775"/>
              <a:gd name="connsiteX0" fmla="*/ 5350617 w 5587918"/>
              <a:gd name="connsiteY0" fmla="*/ 1423775 h 1515215"/>
              <a:gd name="connsiteX1" fmla="*/ 237301 w 5587918"/>
              <a:gd name="connsiteY1" fmla="*/ 1423775 h 1515215"/>
              <a:gd name="connsiteX2" fmla="*/ 0 w 5587918"/>
              <a:gd name="connsiteY2" fmla="*/ 1186474 h 1515215"/>
              <a:gd name="connsiteX3" fmla="*/ 0 w 5587918"/>
              <a:gd name="connsiteY3" fmla="*/ 237301 h 1515215"/>
              <a:gd name="connsiteX4" fmla="*/ 237301 w 5587918"/>
              <a:gd name="connsiteY4" fmla="*/ 0 h 1515215"/>
              <a:gd name="connsiteX5" fmla="*/ 5350617 w 5587918"/>
              <a:gd name="connsiteY5" fmla="*/ 0 h 1515215"/>
              <a:gd name="connsiteX6" fmla="*/ 5587918 w 5587918"/>
              <a:gd name="connsiteY6" fmla="*/ 237301 h 1515215"/>
              <a:gd name="connsiteX7" fmla="*/ 5587918 w 5587918"/>
              <a:gd name="connsiteY7" fmla="*/ 1186474 h 1515215"/>
              <a:gd name="connsiteX8" fmla="*/ 5442057 w 5587918"/>
              <a:gd name="connsiteY8" fmla="*/ 1515215 h 1515215"/>
              <a:gd name="connsiteX0" fmla="*/ 5350617 w 5587918"/>
              <a:gd name="connsiteY0" fmla="*/ 1423775 h 1423775"/>
              <a:gd name="connsiteX1" fmla="*/ 237301 w 5587918"/>
              <a:gd name="connsiteY1" fmla="*/ 1423775 h 1423775"/>
              <a:gd name="connsiteX2" fmla="*/ 0 w 5587918"/>
              <a:gd name="connsiteY2" fmla="*/ 1186474 h 1423775"/>
              <a:gd name="connsiteX3" fmla="*/ 0 w 5587918"/>
              <a:gd name="connsiteY3" fmla="*/ 237301 h 1423775"/>
              <a:gd name="connsiteX4" fmla="*/ 237301 w 5587918"/>
              <a:gd name="connsiteY4" fmla="*/ 0 h 1423775"/>
              <a:gd name="connsiteX5" fmla="*/ 5350617 w 5587918"/>
              <a:gd name="connsiteY5" fmla="*/ 0 h 1423775"/>
              <a:gd name="connsiteX6" fmla="*/ 5587918 w 5587918"/>
              <a:gd name="connsiteY6" fmla="*/ 237301 h 1423775"/>
              <a:gd name="connsiteX7" fmla="*/ 5587918 w 5587918"/>
              <a:gd name="connsiteY7" fmla="*/ 1186474 h 1423775"/>
              <a:gd name="connsiteX0" fmla="*/ 237301 w 5587918"/>
              <a:gd name="connsiteY0" fmla="*/ 1423775 h 1423775"/>
              <a:gd name="connsiteX1" fmla="*/ 0 w 5587918"/>
              <a:gd name="connsiteY1" fmla="*/ 1186474 h 1423775"/>
              <a:gd name="connsiteX2" fmla="*/ 0 w 5587918"/>
              <a:gd name="connsiteY2" fmla="*/ 237301 h 1423775"/>
              <a:gd name="connsiteX3" fmla="*/ 237301 w 5587918"/>
              <a:gd name="connsiteY3" fmla="*/ 0 h 1423775"/>
              <a:gd name="connsiteX4" fmla="*/ 5350617 w 5587918"/>
              <a:gd name="connsiteY4" fmla="*/ 0 h 1423775"/>
              <a:gd name="connsiteX5" fmla="*/ 5587918 w 5587918"/>
              <a:gd name="connsiteY5" fmla="*/ 237301 h 1423775"/>
              <a:gd name="connsiteX6" fmla="*/ 5587918 w 5587918"/>
              <a:gd name="connsiteY6" fmla="*/ 1186474 h 1423775"/>
              <a:gd name="connsiteX0" fmla="*/ 0 w 5587918"/>
              <a:gd name="connsiteY0" fmla="*/ 1186474 h 1186474"/>
              <a:gd name="connsiteX1" fmla="*/ 0 w 5587918"/>
              <a:gd name="connsiteY1" fmla="*/ 237301 h 1186474"/>
              <a:gd name="connsiteX2" fmla="*/ 237301 w 5587918"/>
              <a:gd name="connsiteY2" fmla="*/ 0 h 1186474"/>
              <a:gd name="connsiteX3" fmla="*/ 5350617 w 5587918"/>
              <a:gd name="connsiteY3" fmla="*/ 0 h 1186474"/>
              <a:gd name="connsiteX4" fmla="*/ 5587918 w 5587918"/>
              <a:gd name="connsiteY4" fmla="*/ 237301 h 1186474"/>
              <a:gd name="connsiteX5" fmla="*/ 5587918 w 5587918"/>
              <a:gd name="connsiteY5" fmla="*/ 1186474 h 1186474"/>
              <a:gd name="connsiteX0" fmla="*/ 2381 w 5590299"/>
              <a:gd name="connsiteY0" fmla="*/ 1186474 h 1186474"/>
              <a:gd name="connsiteX1" fmla="*/ 0 w 5590299"/>
              <a:gd name="connsiteY1" fmla="*/ 354370 h 1186474"/>
              <a:gd name="connsiteX2" fmla="*/ 239682 w 5590299"/>
              <a:gd name="connsiteY2" fmla="*/ 0 h 1186474"/>
              <a:gd name="connsiteX3" fmla="*/ 5352998 w 5590299"/>
              <a:gd name="connsiteY3" fmla="*/ 0 h 1186474"/>
              <a:gd name="connsiteX4" fmla="*/ 5590299 w 5590299"/>
              <a:gd name="connsiteY4" fmla="*/ 237301 h 1186474"/>
              <a:gd name="connsiteX5" fmla="*/ 5590299 w 5590299"/>
              <a:gd name="connsiteY5" fmla="*/ 1186474 h 1186474"/>
              <a:gd name="connsiteX0" fmla="*/ 2381 w 5590299"/>
              <a:gd name="connsiteY0" fmla="*/ 1186474 h 1186474"/>
              <a:gd name="connsiteX1" fmla="*/ 0 w 5590299"/>
              <a:gd name="connsiteY1" fmla="*/ 354370 h 1186474"/>
              <a:gd name="connsiteX2" fmla="*/ 239682 w 5590299"/>
              <a:gd name="connsiteY2" fmla="*/ 0 h 1186474"/>
              <a:gd name="connsiteX3" fmla="*/ 5352998 w 5590299"/>
              <a:gd name="connsiteY3" fmla="*/ 0 h 1186474"/>
              <a:gd name="connsiteX4" fmla="*/ 5590299 w 5590299"/>
              <a:gd name="connsiteY4" fmla="*/ 326111 h 1186474"/>
              <a:gd name="connsiteX5" fmla="*/ 5590299 w 5590299"/>
              <a:gd name="connsiteY5" fmla="*/ 1186474 h 1186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90299" h="1186474">
                <a:moveTo>
                  <a:pt x="2381" y="1186474"/>
                </a:moveTo>
                <a:cubicBezTo>
                  <a:pt x="1587" y="909106"/>
                  <a:pt x="794" y="631738"/>
                  <a:pt x="0" y="354370"/>
                </a:cubicBezTo>
                <a:cubicBezTo>
                  <a:pt x="0" y="223312"/>
                  <a:pt x="108624" y="0"/>
                  <a:pt x="239682" y="0"/>
                </a:cubicBezTo>
                <a:lnTo>
                  <a:pt x="5352998" y="0"/>
                </a:lnTo>
                <a:cubicBezTo>
                  <a:pt x="5484056" y="0"/>
                  <a:pt x="5590299" y="195053"/>
                  <a:pt x="5590299" y="326111"/>
                </a:cubicBezTo>
                <a:lnTo>
                  <a:pt x="5590299" y="1186474"/>
                </a:lnTo>
              </a:path>
            </a:pathLst>
          </a:custGeom>
          <a:noFill/>
          <a:ln w="12700" algn="ctr">
            <a:gradFill>
              <a:gsLst>
                <a:gs pos="0">
                  <a:srgbClr val="89D1FF"/>
                </a:gs>
                <a:gs pos="61000">
                  <a:srgbClr val="89D1FF">
                    <a:alpha val="0"/>
                  </a:srgbClr>
                </a:gs>
              </a:gsLst>
              <a:lin ang="5400000" scaled="1"/>
            </a:gradFill>
            <a:prstDash val="dash"/>
            <a:miter lim="800000"/>
            <a:headEnd/>
            <a:tailEnd/>
          </a:ln>
        </p:spPr>
        <p:txBody>
          <a:bodyPr lIns="182880" tIns="146304" rIns="182880" bIns="146304" rtlCol="0" anchor="t"/>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200"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sp>
        <p:nvSpPr>
          <p:cNvPr id="103" name="Rectangle: Rounded Corners 94">
            <a:extLst>
              <a:ext uri="{FF2B5EF4-FFF2-40B4-BE49-F238E27FC236}">
                <a16:creationId xmlns:a16="http://schemas.microsoft.com/office/drawing/2014/main" id="{5F5F8E5C-F4FA-07AB-98C1-2ED225C7D834}"/>
              </a:ext>
            </a:extLst>
          </p:cNvPr>
          <p:cNvSpPr/>
          <p:nvPr/>
        </p:nvSpPr>
        <p:spPr bwMode="gray">
          <a:xfrm>
            <a:off x="573089" y="3429000"/>
            <a:ext cx="5462671" cy="2854325"/>
          </a:xfrm>
          <a:prstGeom prst="roundRect">
            <a:avLst>
              <a:gd name="adj" fmla="val 4792"/>
            </a:avLst>
          </a:prstGeom>
          <a:solidFill>
            <a:srgbClr val="EBF8FF"/>
          </a:solidFill>
          <a:ln w="25400" algn="ctr">
            <a:noFill/>
            <a:miter lim="800000"/>
            <a:headEnd/>
            <a:tailEnd/>
          </a:ln>
        </p:spPr>
        <p:txBody>
          <a:bodyPr lIns="182880" tIns="146304" rIns="182880" bIns="146304" rtlCol="0" anchor="t"/>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200"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sp>
        <p:nvSpPr>
          <p:cNvPr id="120" name="Rectangle: Rounded Corners 94">
            <a:extLst>
              <a:ext uri="{FF2B5EF4-FFF2-40B4-BE49-F238E27FC236}">
                <a16:creationId xmlns:a16="http://schemas.microsoft.com/office/drawing/2014/main" id="{492A46AA-263B-79BE-5BAE-C012A3263916}"/>
              </a:ext>
            </a:extLst>
          </p:cNvPr>
          <p:cNvSpPr/>
          <p:nvPr/>
        </p:nvSpPr>
        <p:spPr bwMode="gray">
          <a:xfrm>
            <a:off x="6161006" y="3429000"/>
            <a:ext cx="5462671" cy="2854325"/>
          </a:xfrm>
          <a:prstGeom prst="roundRect">
            <a:avLst>
              <a:gd name="adj" fmla="val 4792"/>
            </a:avLst>
          </a:prstGeom>
          <a:solidFill>
            <a:srgbClr val="EBF8FF"/>
          </a:solidFill>
          <a:ln w="25400" algn="ctr">
            <a:noFill/>
            <a:miter lim="800000"/>
            <a:headEnd/>
            <a:tailEnd/>
          </a:ln>
        </p:spPr>
        <p:txBody>
          <a:bodyPr lIns="182880" tIns="146304" rIns="182880" bIns="146304" rtlCol="0" anchor="t"/>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200"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pic>
        <p:nvPicPr>
          <p:cNvPr id="121" name="Graphic 120">
            <a:extLst>
              <a:ext uri="{FF2B5EF4-FFF2-40B4-BE49-F238E27FC236}">
                <a16:creationId xmlns:a16="http://schemas.microsoft.com/office/drawing/2014/main" id="{782CE179-99A3-DDCC-277C-32F731BAA4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7421" y="3820478"/>
            <a:ext cx="960979" cy="855507"/>
          </a:xfrm>
          <a:prstGeom prst="rect">
            <a:avLst/>
          </a:prstGeom>
        </p:spPr>
      </p:pic>
      <p:pic>
        <p:nvPicPr>
          <p:cNvPr id="122" name="Graphic 121">
            <a:extLst>
              <a:ext uri="{FF2B5EF4-FFF2-40B4-BE49-F238E27FC236}">
                <a16:creationId xmlns:a16="http://schemas.microsoft.com/office/drawing/2014/main" id="{E0FF4777-6083-302B-3B6B-78FDEBD4AB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24794" y="3756978"/>
            <a:ext cx="1120595" cy="855507"/>
          </a:xfrm>
          <a:prstGeom prst="rect">
            <a:avLst/>
          </a:prstGeom>
        </p:spPr>
      </p:pic>
      <p:sp>
        <p:nvSpPr>
          <p:cNvPr id="123" name="Rectangle: Top Corners Rounded 122">
            <a:extLst>
              <a:ext uri="{FF2B5EF4-FFF2-40B4-BE49-F238E27FC236}">
                <a16:creationId xmlns:a16="http://schemas.microsoft.com/office/drawing/2014/main" id="{049ED2E8-5EFC-12A0-9086-FB38AE0525E4}"/>
              </a:ext>
            </a:extLst>
          </p:cNvPr>
          <p:cNvSpPr/>
          <p:nvPr/>
        </p:nvSpPr>
        <p:spPr bwMode="gray">
          <a:xfrm flipV="1">
            <a:off x="574676" y="5248276"/>
            <a:ext cx="5461082" cy="1035049"/>
          </a:xfrm>
          <a:prstGeom prst="round2SameRect">
            <a:avLst>
              <a:gd name="adj1" fmla="val 13026"/>
              <a:gd name="adj2" fmla="val 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85" tIns="146228" rIns="182785" bIns="146228" numCol="1" spcCol="0" rtlCol="0" fromWordArt="0" anchor="ctr" anchorCtr="0" forceAA="0" compatLnSpc="1">
            <a:prstTxWarp prst="textNoShape">
              <a:avLst/>
            </a:prstTxWarp>
            <a:noAutofit/>
          </a:bodyPr>
          <a:lstStyle/>
          <a:p>
            <a:pPr marL="0" marR="0" lvl="0" indent="0" algn="ctr" defTabSz="932006" rtl="0" eaLnBrk="1" fontAlgn="base" latinLnBrk="0" hangingPunct="1">
              <a:lnSpc>
                <a:spcPct val="100000"/>
              </a:lnSpc>
              <a:spcBef>
                <a:spcPct val="0"/>
              </a:spcBef>
              <a:spcAft>
                <a:spcPct val="0"/>
              </a:spcAft>
              <a:buClrTx/>
              <a:buSzTx/>
              <a:buFontTx/>
              <a:buNone/>
              <a:tabLst/>
              <a:defRPr/>
            </a:pPr>
            <a:endParaRPr kumimoji="0" lang="en-US" sz="1199" b="0" i="0" u="none" strike="noStrike" kern="1200" cap="none" spc="0" normalizeH="0" baseline="0" noProof="0">
              <a:ln>
                <a:noFill/>
              </a:ln>
              <a:gradFill>
                <a:gsLst>
                  <a:gs pos="0">
                    <a:srgbClr val="00144A"/>
                  </a:gs>
                  <a:gs pos="100000">
                    <a:srgbClr val="00144A"/>
                  </a:gs>
                </a:gsLst>
                <a:lin ang="5400000" scaled="1"/>
              </a:gradFill>
              <a:effectLst/>
              <a:uLnTx/>
              <a:uFillTx/>
              <a:latin typeface="72 Brand Medium" panose="020B0604030603020204" pitchFamily="34" charset="0"/>
              <a:ea typeface="+mn-ea"/>
              <a:cs typeface="72" panose="020B0503030000000003" pitchFamily="34" charset="0"/>
            </a:endParaRPr>
          </a:p>
        </p:txBody>
      </p:sp>
      <p:sp>
        <p:nvSpPr>
          <p:cNvPr id="124" name="Rectangle: Top Corners Rounded 123">
            <a:extLst>
              <a:ext uri="{FF2B5EF4-FFF2-40B4-BE49-F238E27FC236}">
                <a16:creationId xmlns:a16="http://schemas.microsoft.com/office/drawing/2014/main" id="{301A1A36-6912-1DB8-7777-ADAF037B8DEA}"/>
              </a:ext>
            </a:extLst>
          </p:cNvPr>
          <p:cNvSpPr/>
          <p:nvPr/>
        </p:nvSpPr>
        <p:spPr bwMode="gray">
          <a:xfrm flipV="1">
            <a:off x="6162594" y="5248276"/>
            <a:ext cx="5461082" cy="1035049"/>
          </a:xfrm>
          <a:prstGeom prst="round2SameRect">
            <a:avLst>
              <a:gd name="adj1" fmla="val 13026"/>
              <a:gd name="adj2" fmla="val 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85" tIns="146228" rIns="182785" bIns="146228" numCol="1" spcCol="0" rtlCol="0" fromWordArt="0" anchor="ctr" anchorCtr="0" forceAA="0" compatLnSpc="1">
            <a:prstTxWarp prst="textNoShape">
              <a:avLst/>
            </a:prstTxWarp>
            <a:noAutofit/>
          </a:bodyPr>
          <a:lstStyle/>
          <a:p>
            <a:pPr marL="0" marR="0" lvl="0" indent="0" algn="ctr" defTabSz="932006" rtl="0" eaLnBrk="1" fontAlgn="base" latinLnBrk="0" hangingPunct="1">
              <a:lnSpc>
                <a:spcPct val="100000"/>
              </a:lnSpc>
              <a:spcBef>
                <a:spcPct val="0"/>
              </a:spcBef>
              <a:spcAft>
                <a:spcPct val="0"/>
              </a:spcAft>
              <a:buClrTx/>
              <a:buSzTx/>
              <a:buFontTx/>
              <a:buNone/>
              <a:tabLst/>
              <a:defRPr/>
            </a:pPr>
            <a:endParaRPr kumimoji="0" lang="en-US" sz="1199" b="0" i="0" u="none" strike="noStrike" kern="1200" cap="none" spc="0" normalizeH="0" baseline="0" noProof="0">
              <a:ln>
                <a:noFill/>
              </a:ln>
              <a:gradFill>
                <a:gsLst>
                  <a:gs pos="0">
                    <a:srgbClr val="00144A"/>
                  </a:gs>
                  <a:gs pos="100000">
                    <a:srgbClr val="00144A"/>
                  </a:gs>
                </a:gsLst>
                <a:lin ang="5400000" scaled="1"/>
              </a:gradFill>
              <a:effectLst/>
              <a:uLnTx/>
              <a:uFillTx/>
              <a:latin typeface="72 Brand Medium" panose="020B0604030603020204" pitchFamily="34" charset="0"/>
              <a:ea typeface="+mn-ea"/>
              <a:cs typeface="72" panose="020B0503030000000003" pitchFamily="34" charset="0"/>
            </a:endParaRPr>
          </a:p>
        </p:txBody>
      </p:sp>
      <p:sp>
        <p:nvSpPr>
          <p:cNvPr id="125" name="Text Placeholder 2">
            <a:extLst>
              <a:ext uri="{FF2B5EF4-FFF2-40B4-BE49-F238E27FC236}">
                <a16:creationId xmlns:a16="http://schemas.microsoft.com/office/drawing/2014/main" id="{733FB3EE-AFA3-0F1B-2576-646F907361D9}"/>
              </a:ext>
            </a:extLst>
          </p:cNvPr>
          <p:cNvSpPr txBox="1">
            <a:spLocks/>
          </p:cNvSpPr>
          <p:nvPr/>
        </p:nvSpPr>
        <p:spPr>
          <a:xfrm>
            <a:off x="947420" y="5527272"/>
            <a:ext cx="4515072" cy="477054"/>
          </a:xfrm>
          <a:prstGeom prst="rect">
            <a:avLst/>
          </a:prstGeom>
        </p:spPr>
        <p:txBody>
          <a:bodyPr wrap="square" lIns="0" tIns="0" rIns="0" bIns="0">
            <a:spAutoFit/>
          </a:bodyPr>
          <a:lstStyle>
            <a:lvl1pPr marL="0" indent="0" algn="l" defTabSz="1088558" rtl="0" eaLnBrk="1" latinLnBrk="0" hangingPunct="1">
              <a:spcBef>
                <a:spcPts val="1800"/>
              </a:spcBef>
              <a:buClrTx/>
              <a:buSzPct val="80000"/>
              <a:buFont typeface="72 Brand" panose="02000000000000000000" pitchFamily="2" charset="0"/>
              <a:buChar char="​"/>
              <a:defRPr sz="2000" b="0" i="0" kern="1200">
                <a:solidFill>
                  <a:schemeClr val="tx1"/>
                </a:solidFill>
                <a:latin typeface="+mn-lt"/>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0"/>
              </a:spcBef>
              <a:spcAft>
                <a:spcPts val="600"/>
              </a:spcAft>
              <a:buClrTx/>
              <a:buSzPct val="80000"/>
              <a:buFont typeface="72 Brand" panose="02000000000000000000" pitchFamily="2" charset="0"/>
              <a:buChar char="​"/>
              <a:tabLst/>
              <a:defRPr/>
            </a:pPr>
            <a:r>
              <a:rPr kumimoji="0" lang="en-US" sz="1400" b="0" i="0" u="none" strike="noStrike" kern="0" cap="none" spc="0" normalizeH="0" baseline="0" noProof="0">
                <a:ln>
                  <a:noFill/>
                </a:ln>
                <a:gradFill>
                  <a:gsLst>
                    <a:gs pos="0">
                      <a:srgbClr val="002A86"/>
                    </a:gs>
                    <a:gs pos="100000">
                      <a:srgbClr val="002A86"/>
                    </a:gs>
                  </a:gsLst>
                  <a:lin ang="5400000" scaled="1"/>
                </a:gradFill>
                <a:effectLst/>
                <a:uLnTx/>
                <a:uFillTx/>
                <a:latin typeface="72 Brand Medium"/>
                <a:ea typeface="+mn-ea"/>
                <a:cs typeface="+mn-cs"/>
              </a:rPr>
              <a:t>Existing SAP ERP Customer</a:t>
            </a:r>
          </a:p>
          <a:p>
            <a:pPr marL="0" marR="0" lvl="0" indent="0" algn="l" defTabSz="1088558" rtl="0" eaLnBrk="1" fontAlgn="base" latinLnBrk="0" hangingPunct="1">
              <a:lnSpc>
                <a:spcPct val="100000"/>
              </a:lnSpc>
              <a:spcBef>
                <a:spcPts val="0"/>
              </a:spcBef>
              <a:spcAft>
                <a:spcPts val="600"/>
              </a:spcAft>
              <a:buClrTx/>
              <a:buSzPct val="80000"/>
              <a:buFont typeface="72 Brand" panose="02000000000000000000" pitchFamily="2" charset="0"/>
              <a:buChar char="​"/>
              <a:tabLst/>
              <a:defRPr/>
            </a:pPr>
            <a:r>
              <a:rPr kumimoji="0" lang="en-US" sz="1200" b="0" i="0" u="none" strike="noStrike" kern="1200" cap="none" spc="0" normalizeH="0" baseline="0" noProof="0">
                <a:ln>
                  <a:noFill/>
                </a:ln>
                <a:gradFill>
                  <a:gsLst>
                    <a:gs pos="0">
                      <a:srgbClr val="000000"/>
                    </a:gs>
                    <a:gs pos="100000">
                      <a:srgbClr val="000000"/>
                    </a:gs>
                  </a:gsLst>
                  <a:lin ang="2700000" scaled="1"/>
                </a:gradFill>
                <a:effectLst/>
                <a:uLnTx/>
                <a:uFillTx/>
                <a:latin typeface="72 Brand"/>
                <a:ea typeface="+mn-ea"/>
                <a:cs typeface="+mn-cs"/>
              </a:rPr>
              <a:t>Modernize legacy system with SAP Business Suite</a:t>
            </a:r>
          </a:p>
        </p:txBody>
      </p:sp>
      <p:sp>
        <p:nvSpPr>
          <p:cNvPr id="126" name="Text Placeholder 2">
            <a:extLst>
              <a:ext uri="{FF2B5EF4-FFF2-40B4-BE49-F238E27FC236}">
                <a16:creationId xmlns:a16="http://schemas.microsoft.com/office/drawing/2014/main" id="{51B57757-40BB-4F30-706C-FC94A13D7FF5}"/>
              </a:ext>
            </a:extLst>
          </p:cNvPr>
          <p:cNvSpPr txBox="1">
            <a:spLocks/>
          </p:cNvSpPr>
          <p:nvPr/>
        </p:nvSpPr>
        <p:spPr>
          <a:xfrm>
            <a:off x="6424793" y="5527272"/>
            <a:ext cx="4515072" cy="477054"/>
          </a:xfrm>
          <a:prstGeom prst="rect">
            <a:avLst/>
          </a:prstGeom>
        </p:spPr>
        <p:txBody>
          <a:bodyPr wrap="square" lIns="0" tIns="0" rIns="0" bIns="0">
            <a:spAutoFit/>
          </a:bodyPr>
          <a:lstStyle>
            <a:lvl1pPr marL="0" indent="0" algn="l" defTabSz="1088558" rtl="0" eaLnBrk="1" latinLnBrk="0" hangingPunct="1">
              <a:spcBef>
                <a:spcPts val="1800"/>
              </a:spcBef>
              <a:buClrTx/>
              <a:buSzPct val="80000"/>
              <a:buFont typeface="72 Brand" panose="02000000000000000000" pitchFamily="2" charset="0"/>
              <a:buChar char="​"/>
              <a:defRPr sz="2000" b="0" i="0" kern="1200">
                <a:solidFill>
                  <a:schemeClr val="tx1"/>
                </a:solidFill>
                <a:latin typeface="+mn-lt"/>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558" rtl="0" eaLnBrk="1" fontAlgn="base" latinLnBrk="0" hangingPunct="1">
              <a:lnSpc>
                <a:spcPct val="100000"/>
              </a:lnSpc>
              <a:spcBef>
                <a:spcPts val="0"/>
              </a:spcBef>
              <a:spcAft>
                <a:spcPts val="600"/>
              </a:spcAft>
              <a:buClrTx/>
              <a:buSzPct val="80000"/>
              <a:buFont typeface="72 Brand" panose="02000000000000000000" pitchFamily="2" charset="0"/>
              <a:buChar char="​"/>
              <a:tabLst>
                <a:tab pos="1611610" algn="l"/>
              </a:tabLst>
              <a:defRPr/>
            </a:pPr>
            <a:r>
              <a:rPr kumimoji="0" lang="en-US" sz="1400" b="0" i="0" u="none" strike="noStrike" kern="0" cap="none" spc="0" normalizeH="0" baseline="0" noProof="0">
                <a:ln>
                  <a:noFill/>
                </a:ln>
                <a:gradFill>
                  <a:gsLst>
                    <a:gs pos="0">
                      <a:srgbClr val="002A86"/>
                    </a:gs>
                    <a:gs pos="100000">
                      <a:srgbClr val="002A86"/>
                    </a:gs>
                  </a:gsLst>
                  <a:lin ang="5400000" scaled="1"/>
                </a:gradFill>
                <a:effectLst/>
                <a:uLnTx/>
                <a:uFillTx/>
                <a:latin typeface="72 Brand Medium"/>
                <a:ea typeface="+mn-ea"/>
                <a:cs typeface="+mn-cs"/>
              </a:rPr>
              <a:t>New SAP ERP Customer</a:t>
            </a:r>
          </a:p>
          <a:p>
            <a:pPr marL="0" marR="0" lvl="0" indent="0" algn="l" defTabSz="1088558" rtl="0" eaLnBrk="1" fontAlgn="base" latinLnBrk="0" hangingPunct="1">
              <a:lnSpc>
                <a:spcPct val="100000"/>
              </a:lnSpc>
              <a:spcBef>
                <a:spcPts val="0"/>
              </a:spcBef>
              <a:spcAft>
                <a:spcPts val="600"/>
              </a:spcAft>
              <a:buClrTx/>
              <a:buSzPct val="80000"/>
              <a:buFont typeface="72 Brand" panose="02000000000000000000" pitchFamily="2" charset="0"/>
              <a:buChar char="​"/>
              <a:tabLst>
                <a:tab pos="1611610" algn="l"/>
              </a:tabLst>
              <a:defRPr/>
            </a:pPr>
            <a:r>
              <a:rPr kumimoji="0" lang="en-US" sz="1200" b="0" i="0" u="none" strike="noStrike" kern="1200" cap="none" spc="0" normalizeH="0" baseline="0" noProof="0">
                <a:ln>
                  <a:noFill/>
                </a:ln>
                <a:gradFill>
                  <a:gsLst>
                    <a:gs pos="0">
                      <a:srgbClr val="000000"/>
                    </a:gs>
                    <a:gs pos="100000">
                      <a:srgbClr val="000000"/>
                    </a:gs>
                  </a:gsLst>
                  <a:lin ang="2700000" scaled="1"/>
                </a:gradFill>
                <a:effectLst/>
                <a:uLnTx/>
                <a:uFillTx/>
                <a:latin typeface="72 Brand"/>
                <a:ea typeface="+mn-ea"/>
                <a:cs typeface="+mn-cs"/>
              </a:rPr>
              <a:t>Start fresh with SAP Business Suite</a:t>
            </a:r>
          </a:p>
        </p:txBody>
      </p:sp>
      <p:grpSp>
        <p:nvGrpSpPr>
          <p:cNvPr id="127" name="Group 126">
            <a:extLst>
              <a:ext uri="{FF2B5EF4-FFF2-40B4-BE49-F238E27FC236}">
                <a16:creationId xmlns:a16="http://schemas.microsoft.com/office/drawing/2014/main" id="{123A482D-87FB-0B80-86D3-FD04CF1ECC9F}"/>
              </a:ext>
            </a:extLst>
          </p:cNvPr>
          <p:cNvGrpSpPr/>
          <p:nvPr/>
        </p:nvGrpSpPr>
        <p:grpSpPr>
          <a:xfrm>
            <a:off x="2465389" y="3609976"/>
            <a:ext cx="2590637" cy="1437071"/>
            <a:chOff x="2463800" y="3609975"/>
            <a:chExt cx="2590637" cy="1437071"/>
          </a:xfrm>
        </p:grpSpPr>
        <p:sp>
          <p:nvSpPr>
            <p:cNvPr id="128" name="Rectangle: Rounded Corners 127">
              <a:extLst>
                <a:ext uri="{FF2B5EF4-FFF2-40B4-BE49-F238E27FC236}">
                  <a16:creationId xmlns:a16="http://schemas.microsoft.com/office/drawing/2014/main" id="{0698A787-79AB-84C8-B700-1C10095F7939}"/>
                </a:ext>
              </a:extLst>
            </p:cNvPr>
            <p:cNvSpPr/>
            <p:nvPr/>
          </p:nvSpPr>
          <p:spPr bwMode="auto">
            <a:xfrm>
              <a:off x="4482475" y="4839304"/>
              <a:ext cx="514973" cy="157983"/>
            </a:xfrm>
            <a:prstGeom prst="roundRect">
              <a:avLst>
                <a:gd name="adj" fmla="val 8796"/>
              </a:avLst>
            </a:prstGeom>
            <a:gradFill>
              <a:gsLst>
                <a:gs pos="0">
                  <a:schemeClr val="bg1">
                    <a:alpha val="60000"/>
                  </a:schemeClr>
                </a:gs>
                <a:gs pos="100000">
                  <a:schemeClr val="bg1"/>
                </a:gs>
              </a:gsLst>
              <a:lin ang="2700000" scaled="1"/>
            </a:gradFill>
            <a:ln>
              <a:gradFill flip="none" rotWithShape="1">
                <a:gsLst>
                  <a:gs pos="0">
                    <a:schemeClr val="accent1">
                      <a:lumMod val="5000"/>
                      <a:lumOff val="95000"/>
                    </a:scheme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mn-cs"/>
              </a:endParaRPr>
            </a:p>
          </p:txBody>
        </p:sp>
        <p:grpSp>
          <p:nvGrpSpPr>
            <p:cNvPr id="129" name="Group 128">
              <a:extLst>
                <a:ext uri="{FF2B5EF4-FFF2-40B4-BE49-F238E27FC236}">
                  <a16:creationId xmlns:a16="http://schemas.microsoft.com/office/drawing/2014/main" id="{542BAE9A-C435-0EA7-1863-29EACBFB8F95}"/>
                </a:ext>
              </a:extLst>
            </p:cNvPr>
            <p:cNvGrpSpPr/>
            <p:nvPr/>
          </p:nvGrpSpPr>
          <p:grpSpPr>
            <a:xfrm>
              <a:off x="4425639" y="3853455"/>
              <a:ext cx="628798" cy="1193591"/>
              <a:chOff x="3581882" y="1571400"/>
              <a:chExt cx="1234431" cy="2343210"/>
            </a:xfrm>
          </p:grpSpPr>
          <p:sp>
            <p:nvSpPr>
              <p:cNvPr id="172" name="Rectangle: Rounded Corners 171">
                <a:extLst>
                  <a:ext uri="{FF2B5EF4-FFF2-40B4-BE49-F238E27FC236}">
                    <a16:creationId xmlns:a16="http://schemas.microsoft.com/office/drawing/2014/main" id="{52B9F8C2-D912-E82F-A178-426A3CAED213}"/>
                  </a:ext>
                </a:extLst>
              </p:cNvPr>
              <p:cNvSpPr/>
              <p:nvPr/>
            </p:nvSpPr>
            <p:spPr bwMode="auto">
              <a:xfrm>
                <a:off x="3581882" y="1571400"/>
                <a:ext cx="1234133" cy="2343210"/>
              </a:xfrm>
              <a:prstGeom prst="roundRect">
                <a:avLst>
                  <a:gd name="adj" fmla="val 7251"/>
                </a:avLst>
              </a:prstGeom>
              <a:gradFill>
                <a:gsLst>
                  <a:gs pos="0">
                    <a:schemeClr val="bg1">
                      <a:alpha val="60000"/>
                    </a:schemeClr>
                  </a:gs>
                  <a:gs pos="100000">
                    <a:schemeClr val="bg1"/>
                  </a:gs>
                </a:gsLst>
                <a:lin ang="27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mn-cs"/>
                </a:endParaRPr>
              </a:p>
            </p:txBody>
          </p:sp>
          <p:sp>
            <p:nvSpPr>
              <p:cNvPr id="173" name="Rectangle: Top Corners Rounded 172">
                <a:extLst>
                  <a:ext uri="{FF2B5EF4-FFF2-40B4-BE49-F238E27FC236}">
                    <a16:creationId xmlns:a16="http://schemas.microsoft.com/office/drawing/2014/main" id="{9EFE6A8B-6963-411D-8ED2-5802D4D1F228}"/>
                  </a:ext>
                </a:extLst>
              </p:cNvPr>
              <p:cNvSpPr/>
              <p:nvPr/>
            </p:nvSpPr>
            <p:spPr bwMode="auto">
              <a:xfrm>
                <a:off x="3589919" y="1576886"/>
                <a:ext cx="1226394" cy="247653"/>
              </a:xfrm>
              <a:prstGeom prst="round2SameRect">
                <a:avLst>
                  <a:gd name="adj1" fmla="val 28667"/>
                  <a:gd name="adj2" fmla="val 0"/>
                </a:avLst>
              </a:prstGeom>
              <a:solidFill>
                <a:srgbClr val="5D36FF"/>
              </a:solidFill>
              <a:ln>
                <a:solidFill>
                  <a:srgbClr val="5D36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72" panose="020B0503030000000003" pitchFamily="34" charset="0"/>
                </a:endParaRPr>
              </a:p>
            </p:txBody>
          </p:sp>
          <p:grpSp>
            <p:nvGrpSpPr>
              <p:cNvPr id="174" name="Group 173">
                <a:extLst>
                  <a:ext uri="{FF2B5EF4-FFF2-40B4-BE49-F238E27FC236}">
                    <a16:creationId xmlns:a16="http://schemas.microsoft.com/office/drawing/2014/main" id="{635EEA5B-3F1A-519F-D8DB-2D6810E0BE18}"/>
                  </a:ext>
                </a:extLst>
              </p:cNvPr>
              <p:cNvGrpSpPr/>
              <p:nvPr/>
            </p:nvGrpSpPr>
            <p:grpSpPr>
              <a:xfrm>
                <a:off x="3772727" y="2010207"/>
                <a:ext cx="809654" cy="159637"/>
                <a:chOff x="3661259" y="1912713"/>
                <a:chExt cx="809654" cy="159637"/>
              </a:xfrm>
            </p:grpSpPr>
            <p:grpSp>
              <p:nvGrpSpPr>
                <p:cNvPr id="198" name="Group 197">
                  <a:extLst>
                    <a:ext uri="{FF2B5EF4-FFF2-40B4-BE49-F238E27FC236}">
                      <a16:creationId xmlns:a16="http://schemas.microsoft.com/office/drawing/2014/main" id="{C7411590-C883-97CA-33F5-3527EA042639}"/>
                    </a:ext>
                  </a:extLst>
                </p:cNvPr>
                <p:cNvGrpSpPr/>
                <p:nvPr/>
              </p:nvGrpSpPr>
              <p:grpSpPr>
                <a:xfrm>
                  <a:off x="3661259" y="1977962"/>
                  <a:ext cx="618137" cy="94388"/>
                  <a:chOff x="5293549" y="3795123"/>
                  <a:chExt cx="641670" cy="78580"/>
                </a:xfrm>
              </p:grpSpPr>
              <p:sp>
                <p:nvSpPr>
                  <p:cNvPr id="201" name="Rectangle: Rounded Corners 200">
                    <a:extLst>
                      <a:ext uri="{FF2B5EF4-FFF2-40B4-BE49-F238E27FC236}">
                        <a16:creationId xmlns:a16="http://schemas.microsoft.com/office/drawing/2014/main" id="{27664505-9E02-1948-1CD8-EB68CAD3724F}"/>
                      </a:ext>
                    </a:extLst>
                  </p:cNvPr>
                  <p:cNvSpPr/>
                  <p:nvPr/>
                </p:nvSpPr>
                <p:spPr bwMode="auto">
                  <a:xfrm>
                    <a:off x="5293549" y="3795163"/>
                    <a:ext cx="641670" cy="78534"/>
                  </a:xfrm>
                  <a:prstGeom prst="roundRect">
                    <a:avLst>
                      <a:gd name="adj" fmla="val 31826"/>
                    </a:avLst>
                  </a:prstGeom>
                  <a:solidFill>
                    <a:srgbClr val="D5DAD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sp>
                <p:nvSpPr>
                  <p:cNvPr id="202" name="Rectangle: Rounded Corners 201">
                    <a:extLst>
                      <a:ext uri="{FF2B5EF4-FFF2-40B4-BE49-F238E27FC236}">
                        <a16:creationId xmlns:a16="http://schemas.microsoft.com/office/drawing/2014/main" id="{E1CED055-17DD-C933-9BAE-906F51EBE525}"/>
                      </a:ext>
                    </a:extLst>
                  </p:cNvPr>
                  <p:cNvSpPr/>
                  <p:nvPr/>
                </p:nvSpPr>
                <p:spPr bwMode="auto">
                  <a:xfrm>
                    <a:off x="5293554" y="3795123"/>
                    <a:ext cx="127536" cy="78580"/>
                  </a:xfrm>
                  <a:prstGeom prst="roundRect">
                    <a:avLst>
                      <a:gd name="adj" fmla="val 29817"/>
                    </a:avLst>
                  </a:prstGeom>
                  <a:solidFill>
                    <a:srgbClr val="00CE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grpSp>
            <p:cxnSp>
              <p:nvCxnSpPr>
                <p:cNvPr id="199" name="Straight Connector 198">
                  <a:extLst>
                    <a:ext uri="{FF2B5EF4-FFF2-40B4-BE49-F238E27FC236}">
                      <a16:creationId xmlns:a16="http://schemas.microsoft.com/office/drawing/2014/main" id="{8F1077B6-F872-576A-D588-93BAC2822161}"/>
                    </a:ext>
                  </a:extLst>
                </p:cNvPr>
                <p:cNvCxnSpPr>
                  <a:cxnSpLocks/>
                </p:cNvCxnSpPr>
                <p:nvPr/>
              </p:nvCxnSpPr>
              <p:spPr>
                <a:xfrm>
                  <a:off x="3677116" y="1912713"/>
                  <a:ext cx="346780" cy="0"/>
                </a:xfrm>
                <a:prstGeom prst="line">
                  <a:avLst/>
                </a:prstGeom>
                <a:ln w="9525" cap="rnd">
                  <a:solidFill>
                    <a:srgbClr val="5D36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1D7D8CBA-9D30-4C7A-38DE-FD699F7A02D1}"/>
                    </a:ext>
                  </a:extLst>
                </p:cNvPr>
                <p:cNvCxnSpPr>
                  <a:cxnSpLocks/>
                </p:cNvCxnSpPr>
                <p:nvPr/>
              </p:nvCxnSpPr>
              <p:spPr>
                <a:xfrm>
                  <a:off x="4360301" y="2019908"/>
                  <a:ext cx="110612" cy="0"/>
                </a:xfrm>
                <a:prstGeom prst="line">
                  <a:avLst/>
                </a:prstGeom>
                <a:ln w="25400" cap="rnd">
                  <a:solidFill>
                    <a:srgbClr val="F31DE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75" name="Group 174">
                <a:extLst>
                  <a:ext uri="{FF2B5EF4-FFF2-40B4-BE49-F238E27FC236}">
                    <a16:creationId xmlns:a16="http://schemas.microsoft.com/office/drawing/2014/main" id="{7CC8CA9E-051D-A4B7-1456-1A101E1C7A3C}"/>
                  </a:ext>
                </a:extLst>
              </p:cNvPr>
              <p:cNvGrpSpPr/>
              <p:nvPr/>
            </p:nvGrpSpPr>
            <p:grpSpPr>
              <a:xfrm>
                <a:off x="3780348" y="2399981"/>
                <a:ext cx="809654" cy="159640"/>
                <a:chOff x="3813659" y="2065113"/>
                <a:chExt cx="809654" cy="159640"/>
              </a:xfrm>
            </p:grpSpPr>
            <p:grpSp>
              <p:nvGrpSpPr>
                <p:cNvPr id="193" name="Group 192">
                  <a:extLst>
                    <a:ext uri="{FF2B5EF4-FFF2-40B4-BE49-F238E27FC236}">
                      <a16:creationId xmlns:a16="http://schemas.microsoft.com/office/drawing/2014/main" id="{7DDF02E5-97BF-8F80-B84D-5EB602922245}"/>
                    </a:ext>
                  </a:extLst>
                </p:cNvPr>
                <p:cNvGrpSpPr/>
                <p:nvPr/>
              </p:nvGrpSpPr>
              <p:grpSpPr>
                <a:xfrm>
                  <a:off x="3813659" y="2130372"/>
                  <a:ext cx="618137" cy="94381"/>
                  <a:chOff x="5293549" y="3795123"/>
                  <a:chExt cx="641670" cy="78574"/>
                </a:xfrm>
              </p:grpSpPr>
              <p:sp>
                <p:nvSpPr>
                  <p:cNvPr id="196" name="Rectangle: Rounded Corners 195">
                    <a:extLst>
                      <a:ext uri="{FF2B5EF4-FFF2-40B4-BE49-F238E27FC236}">
                        <a16:creationId xmlns:a16="http://schemas.microsoft.com/office/drawing/2014/main" id="{85A50A98-B6BF-EABE-8578-5464B043C688}"/>
                      </a:ext>
                    </a:extLst>
                  </p:cNvPr>
                  <p:cNvSpPr/>
                  <p:nvPr/>
                </p:nvSpPr>
                <p:spPr bwMode="auto">
                  <a:xfrm>
                    <a:off x="5293549" y="3795163"/>
                    <a:ext cx="641670" cy="78534"/>
                  </a:xfrm>
                  <a:prstGeom prst="roundRect">
                    <a:avLst>
                      <a:gd name="adj" fmla="val 31826"/>
                    </a:avLst>
                  </a:prstGeom>
                  <a:solidFill>
                    <a:srgbClr val="D5DAD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sp>
                <p:nvSpPr>
                  <p:cNvPr id="197" name="Rectangle: Rounded Corners 196">
                    <a:extLst>
                      <a:ext uri="{FF2B5EF4-FFF2-40B4-BE49-F238E27FC236}">
                        <a16:creationId xmlns:a16="http://schemas.microsoft.com/office/drawing/2014/main" id="{AF0D67C9-73E4-8424-73FE-3CDF03DA0FD3}"/>
                      </a:ext>
                    </a:extLst>
                  </p:cNvPr>
                  <p:cNvSpPr/>
                  <p:nvPr/>
                </p:nvSpPr>
                <p:spPr bwMode="auto">
                  <a:xfrm>
                    <a:off x="5293554" y="3795123"/>
                    <a:ext cx="466630" cy="78519"/>
                  </a:xfrm>
                  <a:prstGeom prst="roundRect">
                    <a:avLst>
                      <a:gd name="adj" fmla="val 29817"/>
                    </a:avLst>
                  </a:prstGeom>
                  <a:solidFill>
                    <a:srgbClr val="00CE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grpSp>
            <p:cxnSp>
              <p:nvCxnSpPr>
                <p:cNvPr id="194" name="Straight Connector 193">
                  <a:extLst>
                    <a:ext uri="{FF2B5EF4-FFF2-40B4-BE49-F238E27FC236}">
                      <a16:creationId xmlns:a16="http://schemas.microsoft.com/office/drawing/2014/main" id="{8C68C175-DF6D-FF87-1B1E-A6E83766D376}"/>
                    </a:ext>
                  </a:extLst>
                </p:cNvPr>
                <p:cNvCxnSpPr>
                  <a:cxnSpLocks/>
                </p:cNvCxnSpPr>
                <p:nvPr/>
              </p:nvCxnSpPr>
              <p:spPr>
                <a:xfrm>
                  <a:off x="3829516" y="2065113"/>
                  <a:ext cx="346780" cy="0"/>
                </a:xfrm>
                <a:prstGeom prst="line">
                  <a:avLst/>
                </a:prstGeom>
                <a:ln w="9525" cap="rnd">
                  <a:solidFill>
                    <a:srgbClr val="5D36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25F94256-674C-0E02-A313-4B8B26DA5921}"/>
                    </a:ext>
                  </a:extLst>
                </p:cNvPr>
                <p:cNvCxnSpPr>
                  <a:cxnSpLocks/>
                </p:cNvCxnSpPr>
                <p:nvPr/>
              </p:nvCxnSpPr>
              <p:spPr>
                <a:xfrm>
                  <a:off x="4512701" y="2172308"/>
                  <a:ext cx="110612" cy="0"/>
                </a:xfrm>
                <a:prstGeom prst="line">
                  <a:avLst/>
                </a:prstGeom>
                <a:ln w="25400" cap="rnd">
                  <a:solidFill>
                    <a:srgbClr val="F31DE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76" name="Group 175">
                <a:extLst>
                  <a:ext uri="{FF2B5EF4-FFF2-40B4-BE49-F238E27FC236}">
                    <a16:creationId xmlns:a16="http://schemas.microsoft.com/office/drawing/2014/main" id="{B5583A5A-56EE-4989-65EB-A9C39426149D}"/>
                  </a:ext>
                </a:extLst>
              </p:cNvPr>
              <p:cNvGrpSpPr/>
              <p:nvPr/>
            </p:nvGrpSpPr>
            <p:grpSpPr>
              <a:xfrm>
                <a:off x="3782901" y="2789758"/>
                <a:ext cx="809654" cy="159640"/>
                <a:chOff x="3813659" y="2065113"/>
                <a:chExt cx="809654" cy="159640"/>
              </a:xfrm>
            </p:grpSpPr>
            <p:grpSp>
              <p:nvGrpSpPr>
                <p:cNvPr id="188" name="Group 187">
                  <a:extLst>
                    <a:ext uri="{FF2B5EF4-FFF2-40B4-BE49-F238E27FC236}">
                      <a16:creationId xmlns:a16="http://schemas.microsoft.com/office/drawing/2014/main" id="{04FBCBDF-2ECB-409B-2BB1-6DF4B0B249C3}"/>
                    </a:ext>
                  </a:extLst>
                </p:cNvPr>
                <p:cNvGrpSpPr/>
                <p:nvPr/>
              </p:nvGrpSpPr>
              <p:grpSpPr>
                <a:xfrm>
                  <a:off x="3813659" y="2130372"/>
                  <a:ext cx="618137" cy="94381"/>
                  <a:chOff x="5293549" y="3795123"/>
                  <a:chExt cx="641670" cy="78574"/>
                </a:xfrm>
              </p:grpSpPr>
              <p:sp>
                <p:nvSpPr>
                  <p:cNvPr id="191" name="Rectangle: Rounded Corners 190">
                    <a:extLst>
                      <a:ext uri="{FF2B5EF4-FFF2-40B4-BE49-F238E27FC236}">
                        <a16:creationId xmlns:a16="http://schemas.microsoft.com/office/drawing/2014/main" id="{8189F13A-06F0-7C8B-A130-F9DE7E5103E8}"/>
                      </a:ext>
                    </a:extLst>
                  </p:cNvPr>
                  <p:cNvSpPr/>
                  <p:nvPr/>
                </p:nvSpPr>
                <p:spPr bwMode="auto">
                  <a:xfrm>
                    <a:off x="5293549" y="3795163"/>
                    <a:ext cx="641670" cy="78534"/>
                  </a:xfrm>
                  <a:prstGeom prst="roundRect">
                    <a:avLst>
                      <a:gd name="adj" fmla="val 31826"/>
                    </a:avLst>
                  </a:prstGeom>
                  <a:solidFill>
                    <a:srgbClr val="D5DAD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sp>
                <p:nvSpPr>
                  <p:cNvPr id="192" name="Rectangle: Rounded Corners 191">
                    <a:extLst>
                      <a:ext uri="{FF2B5EF4-FFF2-40B4-BE49-F238E27FC236}">
                        <a16:creationId xmlns:a16="http://schemas.microsoft.com/office/drawing/2014/main" id="{17B6AAFD-94B3-3237-BBA0-22023A30D46E}"/>
                      </a:ext>
                    </a:extLst>
                  </p:cNvPr>
                  <p:cNvSpPr/>
                  <p:nvPr/>
                </p:nvSpPr>
                <p:spPr bwMode="auto">
                  <a:xfrm>
                    <a:off x="5293554" y="3795123"/>
                    <a:ext cx="639015" cy="78532"/>
                  </a:xfrm>
                  <a:prstGeom prst="roundRect">
                    <a:avLst>
                      <a:gd name="adj" fmla="val 29817"/>
                    </a:avLst>
                  </a:prstGeom>
                  <a:solidFill>
                    <a:srgbClr val="00CE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grpSp>
            <p:cxnSp>
              <p:nvCxnSpPr>
                <p:cNvPr id="189" name="Straight Connector 188">
                  <a:extLst>
                    <a:ext uri="{FF2B5EF4-FFF2-40B4-BE49-F238E27FC236}">
                      <a16:creationId xmlns:a16="http://schemas.microsoft.com/office/drawing/2014/main" id="{E9ACD27C-13F3-D203-0606-7B2A11FA77D1}"/>
                    </a:ext>
                  </a:extLst>
                </p:cNvPr>
                <p:cNvCxnSpPr>
                  <a:cxnSpLocks/>
                </p:cNvCxnSpPr>
                <p:nvPr/>
              </p:nvCxnSpPr>
              <p:spPr>
                <a:xfrm>
                  <a:off x="3829516" y="2065113"/>
                  <a:ext cx="346780" cy="0"/>
                </a:xfrm>
                <a:prstGeom prst="line">
                  <a:avLst/>
                </a:prstGeom>
                <a:ln w="9525" cap="rnd">
                  <a:solidFill>
                    <a:srgbClr val="5D36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F69B593B-903D-6879-E683-9D96356EE425}"/>
                    </a:ext>
                  </a:extLst>
                </p:cNvPr>
                <p:cNvCxnSpPr>
                  <a:cxnSpLocks/>
                </p:cNvCxnSpPr>
                <p:nvPr/>
              </p:nvCxnSpPr>
              <p:spPr>
                <a:xfrm>
                  <a:off x="4512701" y="2172308"/>
                  <a:ext cx="110612" cy="0"/>
                </a:xfrm>
                <a:prstGeom prst="line">
                  <a:avLst/>
                </a:prstGeom>
                <a:ln w="25400" cap="rnd">
                  <a:solidFill>
                    <a:srgbClr val="F31DE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77" name="Group 176">
                <a:extLst>
                  <a:ext uri="{FF2B5EF4-FFF2-40B4-BE49-F238E27FC236}">
                    <a16:creationId xmlns:a16="http://schemas.microsoft.com/office/drawing/2014/main" id="{8328AC83-0AEA-B82E-F73B-2AE5EC332C18}"/>
                  </a:ext>
                </a:extLst>
              </p:cNvPr>
              <p:cNvGrpSpPr/>
              <p:nvPr/>
            </p:nvGrpSpPr>
            <p:grpSpPr>
              <a:xfrm>
                <a:off x="3780348" y="3179536"/>
                <a:ext cx="809654" cy="159640"/>
                <a:chOff x="3813659" y="2065113"/>
                <a:chExt cx="809654" cy="159640"/>
              </a:xfrm>
            </p:grpSpPr>
            <p:grpSp>
              <p:nvGrpSpPr>
                <p:cNvPr id="183" name="Group 182">
                  <a:extLst>
                    <a:ext uri="{FF2B5EF4-FFF2-40B4-BE49-F238E27FC236}">
                      <a16:creationId xmlns:a16="http://schemas.microsoft.com/office/drawing/2014/main" id="{3EEF0E73-3D64-87BF-F2CE-145641B36D34}"/>
                    </a:ext>
                  </a:extLst>
                </p:cNvPr>
                <p:cNvGrpSpPr/>
                <p:nvPr/>
              </p:nvGrpSpPr>
              <p:grpSpPr>
                <a:xfrm>
                  <a:off x="3813659" y="2130372"/>
                  <a:ext cx="618137" cy="94381"/>
                  <a:chOff x="5293549" y="3795123"/>
                  <a:chExt cx="641670" cy="78574"/>
                </a:xfrm>
              </p:grpSpPr>
              <p:sp>
                <p:nvSpPr>
                  <p:cNvPr id="186" name="Rectangle: Rounded Corners 185">
                    <a:extLst>
                      <a:ext uri="{FF2B5EF4-FFF2-40B4-BE49-F238E27FC236}">
                        <a16:creationId xmlns:a16="http://schemas.microsoft.com/office/drawing/2014/main" id="{FEA2301A-B8DC-E5AB-B746-B5302F5F0B9C}"/>
                      </a:ext>
                    </a:extLst>
                  </p:cNvPr>
                  <p:cNvSpPr/>
                  <p:nvPr/>
                </p:nvSpPr>
                <p:spPr bwMode="auto">
                  <a:xfrm>
                    <a:off x="5293549" y="3795163"/>
                    <a:ext cx="641670" cy="78534"/>
                  </a:xfrm>
                  <a:prstGeom prst="roundRect">
                    <a:avLst>
                      <a:gd name="adj" fmla="val 31826"/>
                    </a:avLst>
                  </a:prstGeom>
                  <a:solidFill>
                    <a:srgbClr val="D5DAD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sp>
                <p:nvSpPr>
                  <p:cNvPr id="187" name="Rectangle: Rounded Corners 186">
                    <a:extLst>
                      <a:ext uri="{FF2B5EF4-FFF2-40B4-BE49-F238E27FC236}">
                        <a16:creationId xmlns:a16="http://schemas.microsoft.com/office/drawing/2014/main" id="{6B24D54F-CA3D-5086-AAEA-3682F70C5387}"/>
                      </a:ext>
                    </a:extLst>
                  </p:cNvPr>
                  <p:cNvSpPr/>
                  <p:nvPr/>
                </p:nvSpPr>
                <p:spPr bwMode="auto">
                  <a:xfrm>
                    <a:off x="5293554" y="3795123"/>
                    <a:ext cx="359982" cy="78512"/>
                  </a:xfrm>
                  <a:prstGeom prst="roundRect">
                    <a:avLst>
                      <a:gd name="adj" fmla="val 29817"/>
                    </a:avLst>
                  </a:prstGeom>
                  <a:solidFill>
                    <a:srgbClr val="00CE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grpSp>
            <p:cxnSp>
              <p:nvCxnSpPr>
                <p:cNvPr id="184" name="Straight Connector 183">
                  <a:extLst>
                    <a:ext uri="{FF2B5EF4-FFF2-40B4-BE49-F238E27FC236}">
                      <a16:creationId xmlns:a16="http://schemas.microsoft.com/office/drawing/2014/main" id="{64C6E05A-1E68-59EC-CF5B-3DF67F9A5E29}"/>
                    </a:ext>
                  </a:extLst>
                </p:cNvPr>
                <p:cNvCxnSpPr>
                  <a:cxnSpLocks/>
                </p:cNvCxnSpPr>
                <p:nvPr/>
              </p:nvCxnSpPr>
              <p:spPr>
                <a:xfrm>
                  <a:off x="3829516" y="2065113"/>
                  <a:ext cx="346780" cy="0"/>
                </a:xfrm>
                <a:prstGeom prst="line">
                  <a:avLst/>
                </a:prstGeom>
                <a:ln w="9525" cap="rnd">
                  <a:solidFill>
                    <a:srgbClr val="5D36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635567E8-CA04-84BF-767C-D3D205D27091}"/>
                    </a:ext>
                  </a:extLst>
                </p:cNvPr>
                <p:cNvCxnSpPr>
                  <a:cxnSpLocks/>
                </p:cNvCxnSpPr>
                <p:nvPr/>
              </p:nvCxnSpPr>
              <p:spPr>
                <a:xfrm>
                  <a:off x="4512701" y="2172308"/>
                  <a:ext cx="110612" cy="0"/>
                </a:xfrm>
                <a:prstGeom prst="line">
                  <a:avLst/>
                </a:prstGeom>
                <a:ln w="25400" cap="rnd">
                  <a:solidFill>
                    <a:srgbClr val="F31DE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78" name="Group 177">
                <a:extLst>
                  <a:ext uri="{FF2B5EF4-FFF2-40B4-BE49-F238E27FC236}">
                    <a16:creationId xmlns:a16="http://schemas.microsoft.com/office/drawing/2014/main" id="{5A718F84-AAD0-F100-BAA7-948067C146E2}"/>
                  </a:ext>
                </a:extLst>
              </p:cNvPr>
              <p:cNvGrpSpPr/>
              <p:nvPr/>
            </p:nvGrpSpPr>
            <p:grpSpPr>
              <a:xfrm>
                <a:off x="3776959" y="3620258"/>
                <a:ext cx="802951" cy="93555"/>
                <a:chOff x="7282104" y="2247499"/>
                <a:chExt cx="518979" cy="60468"/>
              </a:xfrm>
            </p:grpSpPr>
            <p:sp>
              <p:nvSpPr>
                <p:cNvPr id="179" name="Rectangle: Rounded Corners 178">
                  <a:extLst>
                    <a:ext uri="{FF2B5EF4-FFF2-40B4-BE49-F238E27FC236}">
                      <a16:creationId xmlns:a16="http://schemas.microsoft.com/office/drawing/2014/main" id="{98CE9BD1-4947-07F2-085B-ED248AA89AE2}"/>
                    </a:ext>
                  </a:extLst>
                </p:cNvPr>
                <p:cNvSpPr/>
                <p:nvPr/>
              </p:nvSpPr>
              <p:spPr bwMode="auto">
                <a:xfrm>
                  <a:off x="7282104" y="2247499"/>
                  <a:ext cx="60467" cy="60467"/>
                </a:xfrm>
                <a:prstGeom prst="roundRect">
                  <a:avLst/>
                </a:prstGeom>
                <a:solidFill>
                  <a:srgbClr val="00CE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sp>
              <p:nvSpPr>
                <p:cNvPr id="180" name="Rectangle: Rounded Corners 179">
                  <a:extLst>
                    <a:ext uri="{FF2B5EF4-FFF2-40B4-BE49-F238E27FC236}">
                      <a16:creationId xmlns:a16="http://schemas.microsoft.com/office/drawing/2014/main" id="{17157564-E43F-A16C-A90D-0733E0B5EAD0}"/>
                    </a:ext>
                  </a:extLst>
                </p:cNvPr>
                <p:cNvSpPr/>
                <p:nvPr/>
              </p:nvSpPr>
              <p:spPr bwMode="auto">
                <a:xfrm>
                  <a:off x="7627932" y="2247500"/>
                  <a:ext cx="60467" cy="60467"/>
                </a:xfrm>
                <a:prstGeom prst="roundRect">
                  <a:avLst/>
                </a:prstGeom>
                <a:solidFill>
                  <a:srgbClr val="D5DAD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cxnSp>
              <p:nvCxnSpPr>
                <p:cNvPr id="181" name="Straight Connector 180">
                  <a:extLst>
                    <a:ext uri="{FF2B5EF4-FFF2-40B4-BE49-F238E27FC236}">
                      <a16:creationId xmlns:a16="http://schemas.microsoft.com/office/drawing/2014/main" id="{BB851792-1C7A-420F-ADAB-089B477899F2}"/>
                    </a:ext>
                  </a:extLst>
                </p:cNvPr>
                <p:cNvCxnSpPr>
                  <a:cxnSpLocks/>
                </p:cNvCxnSpPr>
                <p:nvPr/>
              </p:nvCxnSpPr>
              <p:spPr>
                <a:xfrm>
                  <a:off x="7383760" y="2277733"/>
                  <a:ext cx="111510" cy="0"/>
                </a:xfrm>
                <a:prstGeom prst="line">
                  <a:avLst/>
                </a:prstGeom>
                <a:ln w="25400" cap="rnd">
                  <a:solidFill>
                    <a:srgbClr val="F31DE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3C5EA0D6-3E23-764C-CD0E-99D1F39AB667}"/>
                    </a:ext>
                  </a:extLst>
                </p:cNvPr>
                <p:cNvCxnSpPr>
                  <a:cxnSpLocks/>
                </p:cNvCxnSpPr>
                <p:nvPr/>
              </p:nvCxnSpPr>
              <p:spPr>
                <a:xfrm>
                  <a:off x="7729590" y="2277728"/>
                  <a:ext cx="71493" cy="0"/>
                </a:xfrm>
                <a:prstGeom prst="line">
                  <a:avLst/>
                </a:prstGeom>
                <a:ln w="25400" cap="rnd">
                  <a:solidFill>
                    <a:srgbClr val="F31DED"/>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30" name="Rectangle: Rounded Corners 129">
              <a:extLst>
                <a:ext uri="{FF2B5EF4-FFF2-40B4-BE49-F238E27FC236}">
                  <a16:creationId xmlns:a16="http://schemas.microsoft.com/office/drawing/2014/main" id="{DC28B562-B9DB-9CC3-427D-B0AF05F9B740}"/>
                </a:ext>
              </a:extLst>
            </p:cNvPr>
            <p:cNvSpPr/>
            <p:nvPr/>
          </p:nvSpPr>
          <p:spPr bwMode="auto">
            <a:xfrm>
              <a:off x="3266290" y="3609975"/>
              <a:ext cx="1216994" cy="1150690"/>
            </a:xfrm>
            <a:prstGeom prst="roundRect">
              <a:avLst>
                <a:gd name="adj" fmla="val 383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eaLnBrk="0" fontAlgn="base" hangingPunct="0">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ndParaRPr>
            </a:p>
          </p:txBody>
        </p:sp>
        <p:sp>
          <p:nvSpPr>
            <p:cNvPr id="131" name="Rectangle: Rounded Corners 130">
              <a:extLst>
                <a:ext uri="{FF2B5EF4-FFF2-40B4-BE49-F238E27FC236}">
                  <a16:creationId xmlns:a16="http://schemas.microsoft.com/office/drawing/2014/main" id="{CBFF36A7-C9CD-BE45-8B33-058FD3E5AF49}"/>
                </a:ext>
              </a:extLst>
            </p:cNvPr>
            <p:cNvSpPr/>
            <p:nvPr/>
          </p:nvSpPr>
          <p:spPr bwMode="auto">
            <a:xfrm>
              <a:off x="3367711" y="4334753"/>
              <a:ext cx="481953" cy="282609"/>
            </a:xfrm>
            <a:prstGeom prst="roundRect">
              <a:avLst>
                <a:gd name="adj" fmla="val 8384"/>
              </a:avLst>
            </a:prstGeom>
            <a:solidFill>
              <a:srgbClr val="E7F4FF"/>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mn-cs"/>
              </a:endParaRPr>
            </a:p>
          </p:txBody>
        </p:sp>
        <p:sp>
          <p:nvSpPr>
            <p:cNvPr id="132" name="Rectangle: Rounded Corners 131">
              <a:extLst>
                <a:ext uri="{FF2B5EF4-FFF2-40B4-BE49-F238E27FC236}">
                  <a16:creationId xmlns:a16="http://schemas.microsoft.com/office/drawing/2014/main" id="{FCF071CE-8810-8FF8-2233-6C94A4AD9E3E}"/>
                </a:ext>
              </a:extLst>
            </p:cNvPr>
            <p:cNvSpPr/>
            <p:nvPr/>
          </p:nvSpPr>
          <p:spPr bwMode="auto">
            <a:xfrm>
              <a:off x="3921410" y="4333702"/>
              <a:ext cx="481953" cy="282609"/>
            </a:xfrm>
            <a:prstGeom prst="roundRect">
              <a:avLst>
                <a:gd name="adj" fmla="val 8384"/>
              </a:avLst>
            </a:prstGeom>
            <a:solidFill>
              <a:srgbClr val="E7F4FF"/>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mn-cs"/>
              </a:endParaRPr>
            </a:p>
          </p:txBody>
        </p:sp>
        <p:sp>
          <p:nvSpPr>
            <p:cNvPr id="133" name="Rectangle: Top Corners Rounded 132">
              <a:extLst>
                <a:ext uri="{FF2B5EF4-FFF2-40B4-BE49-F238E27FC236}">
                  <a16:creationId xmlns:a16="http://schemas.microsoft.com/office/drawing/2014/main" id="{ADB0CA1F-6BE0-18C4-8691-A8F7DFC527F3}"/>
                </a:ext>
              </a:extLst>
            </p:cNvPr>
            <p:cNvSpPr/>
            <p:nvPr/>
          </p:nvSpPr>
          <p:spPr bwMode="auto">
            <a:xfrm>
              <a:off x="3266694" y="3611137"/>
              <a:ext cx="1216185" cy="166472"/>
            </a:xfrm>
            <a:prstGeom prst="round2SameRect">
              <a:avLst>
                <a:gd name="adj1" fmla="val 26028"/>
                <a:gd name="adj2" fmla="val 0"/>
              </a:avLst>
            </a:prstGeom>
            <a:solidFill>
              <a:srgbClr val="89D1FF"/>
            </a:solidFill>
            <a:ln>
              <a:solidFill>
                <a:srgbClr val="89D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72" panose="020B0503030000000003" pitchFamily="34" charset="0"/>
              </a:endParaRPr>
            </a:p>
          </p:txBody>
        </p:sp>
        <p:cxnSp>
          <p:nvCxnSpPr>
            <p:cNvPr id="134" name="Straight Connector 133">
              <a:extLst>
                <a:ext uri="{FF2B5EF4-FFF2-40B4-BE49-F238E27FC236}">
                  <a16:creationId xmlns:a16="http://schemas.microsoft.com/office/drawing/2014/main" id="{D5D4F4CC-A66E-773A-1FD9-197BD404542F}"/>
                </a:ext>
              </a:extLst>
            </p:cNvPr>
            <p:cNvCxnSpPr>
              <a:cxnSpLocks/>
            </p:cNvCxnSpPr>
            <p:nvPr/>
          </p:nvCxnSpPr>
          <p:spPr>
            <a:xfrm>
              <a:off x="3908985" y="3974991"/>
              <a:ext cx="473814" cy="0"/>
            </a:xfrm>
            <a:prstGeom prst="line">
              <a:avLst/>
            </a:prstGeom>
            <a:ln w="38100"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5" name="Rectangle: Rounded Corners 134">
              <a:extLst>
                <a:ext uri="{FF2B5EF4-FFF2-40B4-BE49-F238E27FC236}">
                  <a16:creationId xmlns:a16="http://schemas.microsoft.com/office/drawing/2014/main" id="{988E7BB1-E809-6BD1-0AB9-2E6C2060EEBB}"/>
                </a:ext>
              </a:extLst>
            </p:cNvPr>
            <p:cNvSpPr/>
            <p:nvPr/>
          </p:nvSpPr>
          <p:spPr bwMode="auto">
            <a:xfrm>
              <a:off x="3654915" y="3672293"/>
              <a:ext cx="372022" cy="48590"/>
            </a:xfrm>
            <a:prstGeom prst="roundRect">
              <a:avLst>
                <a:gd name="adj" fmla="val 50000"/>
              </a:avLst>
            </a:prstGeom>
            <a:solidFill>
              <a:srgbClr val="D5DADD"/>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mn-cs"/>
              </a:endParaRPr>
            </a:p>
          </p:txBody>
        </p:sp>
        <p:sp>
          <p:nvSpPr>
            <p:cNvPr id="136" name="Rectangle: Rounded Corners 135">
              <a:extLst>
                <a:ext uri="{FF2B5EF4-FFF2-40B4-BE49-F238E27FC236}">
                  <a16:creationId xmlns:a16="http://schemas.microsoft.com/office/drawing/2014/main" id="{2FC78553-39CE-4825-02D1-6669AF6F5130}"/>
                </a:ext>
              </a:extLst>
            </p:cNvPr>
            <p:cNvSpPr/>
            <p:nvPr/>
          </p:nvSpPr>
          <p:spPr bwMode="auto">
            <a:xfrm>
              <a:off x="4105207" y="3671514"/>
              <a:ext cx="245585" cy="48079"/>
            </a:xfrm>
            <a:prstGeom prst="roundRect">
              <a:avLst>
                <a:gd name="adj" fmla="val 50000"/>
              </a:avLst>
            </a:prstGeom>
            <a:solidFill>
              <a:srgbClr val="E7F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grpSp>
          <p:nvGrpSpPr>
            <p:cNvPr id="137" name="Group 136">
              <a:extLst>
                <a:ext uri="{FF2B5EF4-FFF2-40B4-BE49-F238E27FC236}">
                  <a16:creationId xmlns:a16="http://schemas.microsoft.com/office/drawing/2014/main" id="{AE67DA73-4601-66E6-9BC5-6FBF91033907}"/>
                </a:ext>
              </a:extLst>
            </p:cNvPr>
            <p:cNvGrpSpPr/>
            <p:nvPr/>
          </p:nvGrpSpPr>
          <p:grpSpPr>
            <a:xfrm>
              <a:off x="3889939" y="4442979"/>
              <a:ext cx="475492" cy="229757"/>
              <a:chOff x="3460017" y="4313035"/>
              <a:chExt cx="933467" cy="451049"/>
            </a:xfrm>
          </p:grpSpPr>
          <p:grpSp>
            <p:nvGrpSpPr>
              <p:cNvPr id="159" name="Group 158">
                <a:extLst>
                  <a:ext uri="{FF2B5EF4-FFF2-40B4-BE49-F238E27FC236}">
                    <a16:creationId xmlns:a16="http://schemas.microsoft.com/office/drawing/2014/main" id="{7650B369-8B40-5C05-4446-9FB3C74052BC}"/>
                  </a:ext>
                </a:extLst>
              </p:cNvPr>
              <p:cNvGrpSpPr/>
              <p:nvPr/>
            </p:nvGrpSpPr>
            <p:grpSpPr>
              <a:xfrm>
                <a:off x="3460017" y="4313035"/>
                <a:ext cx="451050" cy="451049"/>
                <a:chOff x="4647941" y="4078281"/>
                <a:chExt cx="1263910" cy="1263906"/>
              </a:xfrm>
            </p:grpSpPr>
            <p:sp>
              <p:nvSpPr>
                <p:cNvPr id="167" name="Arc 166">
                  <a:extLst>
                    <a:ext uri="{FF2B5EF4-FFF2-40B4-BE49-F238E27FC236}">
                      <a16:creationId xmlns:a16="http://schemas.microsoft.com/office/drawing/2014/main" id="{B0E24E80-64C1-FF8C-0F78-E723E111F3FB}"/>
                    </a:ext>
                  </a:extLst>
                </p:cNvPr>
                <p:cNvSpPr/>
                <p:nvPr/>
              </p:nvSpPr>
              <p:spPr>
                <a:xfrm>
                  <a:off x="4647941" y="4078281"/>
                  <a:ext cx="1263910" cy="1263906"/>
                </a:xfrm>
                <a:prstGeom prst="arc">
                  <a:avLst>
                    <a:gd name="adj1" fmla="val 16200000"/>
                    <a:gd name="adj2" fmla="val 17369218"/>
                  </a:avLst>
                </a:prstGeom>
                <a:ln w="82550">
                  <a:solidFill>
                    <a:srgbClr val="1B90FF"/>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168" name="Arc 167">
                  <a:extLst>
                    <a:ext uri="{FF2B5EF4-FFF2-40B4-BE49-F238E27FC236}">
                      <a16:creationId xmlns:a16="http://schemas.microsoft.com/office/drawing/2014/main" id="{D102D4E1-6817-924B-867C-EABCADC52E8A}"/>
                    </a:ext>
                  </a:extLst>
                </p:cNvPr>
                <p:cNvSpPr/>
                <p:nvPr/>
              </p:nvSpPr>
              <p:spPr>
                <a:xfrm>
                  <a:off x="4647941" y="4078281"/>
                  <a:ext cx="1263910" cy="1263906"/>
                </a:xfrm>
                <a:prstGeom prst="arc">
                  <a:avLst>
                    <a:gd name="adj1" fmla="val 19975404"/>
                    <a:gd name="adj2" fmla="val 7092677"/>
                  </a:avLst>
                </a:prstGeom>
                <a:ln w="82550">
                  <a:solidFill>
                    <a:srgbClr val="00CEAC"/>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169" name="Arc 168">
                  <a:extLst>
                    <a:ext uri="{FF2B5EF4-FFF2-40B4-BE49-F238E27FC236}">
                      <a16:creationId xmlns:a16="http://schemas.microsoft.com/office/drawing/2014/main" id="{C8771880-EAAB-64CB-DAFA-4AB7B4527F37}"/>
                    </a:ext>
                  </a:extLst>
                </p:cNvPr>
                <p:cNvSpPr/>
                <p:nvPr/>
              </p:nvSpPr>
              <p:spPr>
                <a:xfrm>
                  <a:off x="4647941" y="4078281"/>
                  <a:ext cx="1263910" cy="1263906"/>
                </a:xfrm>
                <a:prstGeom prst="arc">
                  <a:avLst>
                    <a:gd name="adj1" fmla="val 12836944"/>
                    <a:gd name="adj2" fmla="val 11058170"/>
                  </a:avLst>
                </a:prstGeom>
                <a:ln w="82550">
                  <a:solidFill>
                    <a:srgbClr val="FFB300"/>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170" name="Arc 169">
                  <a:extLst>
                    <a:ext uri="{FF2B5EF4-FFF2-40B4-BE49-F238E27FC236}">
                      <a16:creationId xmlns:a16="http://schemas.microsoft.com/office/drawing/2014/main" id="{CD9F2A09-FD16-D60A-68CF-A062BD558AE5}"/>
                    </a:ext>
                  </a:extLst>
                </p:cNvPr>
                <p:cNvSpPr/>
                <p:nvPr/>
              </p:nvSpPr>
              <p:spPr>
                <a:xfrm>
                  <a:off x="4647941" y="4078281"/>
                  <a:ext cx="1263910" cy="1263906"/>
                </a:xfrm>
                <a:prstGeom prst="arc">
                  <a:avLst>
                    <a:gd name="adj1" fmla="val 11069233"/>
                    <a:gd name="adj2" fmla="val 14190588"/>
                  </a:avLst>
                </a:prstGeom>
                <a:ln w="82550">
                  <a:solidFill>
                    <a:srgbClr val="7858FF"/>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171" name="Arc 170">
                  <a:extLst>
                    <a:ext uri="{FF2B5EF4-FFF2-40B4-BE49-F238E27FC236}">
                      <a16:creationId xmlns:a16="http://schemas.microsoft.com/office/drawing/2014/main" id="{CD097783-B5D9-7507-629D-295CEC227E13}"/>
                    </a:ext>
                  </a:extLst>
                </p:cNvPr>
                <p:cNvSpPr/>
                <p:nvPr/>
              </p:nvSpPr>
              <p:spPr>
                <a:xfrm>
                  <a:off x="4647941" y="4078281"/>
                  <a:ext cx="1263910" cy="1263906"/>
                </a:xfrm>
                <a:prstGeom prst="arc">
                  <a:avLst>
                    <a:gd name="adj1" fmla="val 14148211"/>
                    <a:gd name="adj2" fmla="val 16267558"/>
                  </a:avLst>
                </a:prstGeom>
                <a:ln w="82550">
                  <a:solidFill>
                    <a:srgbClr val="F31DED"/>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grpSp>
          <p:grpSp>
            <p:nvGrpSpPr>
              <p:cNvPr id="160" name="Group 159">
                <a:extLst>
                  <a:ext uri="{FF2B5EF4-FFF2-40B4-BE49-F238E27FC236}">
                    <a16:creationId xmlns:a16="http://schemas.microsoft.com/office/drawing/2014/main" id="{877487DE-7013-217D-09AB-ED64895FAD9E}"/>
                  </a:ext>
                </a:extLst>
              </p:cNvPr>
              <p:cNvGrpSpPr/>
              <p:nvPr/>
            </p:nvGrpSpPr>
            <p:grpSpPr>
              <a:xfrm>
                <a:off x="4063679" y="4337816"/>
                <a:ext cx="329805" cy="251626"/>
                <a:chOff x="7282104" y="2247499"/>
                <a:chExt cx="213166" cy="162636"/>
              </a:xfrm>
            </p:grpSpPr>
            <p:sp>
              <p:nvSpPr>
                <p:cNvPr id="163" name="Rectangle: Rounded Corners 162">
                  <a:extLst>
                    <a:ext uri="{FF2B5EF4-FFF2-40B4-BE49-F238E27FC236}">
                      <a16:creationId xmlns:a16="http://schemas.microsoft.com/office/drawing/2014/main" id="{0D616D04-05EE-9ABE-6E74-7F1BA6C357F1}"/>
                    </a:ext>
                  </a:extLst>
                </p:cNvPr>
                <p:cNvSpPr/>
                <p:nvPr/>
              </p:nvSpPr>
              <p:spPr bwMode="auto">
                <a:xfrm>
                  <a:off x="7282104" y="2247499"/>
                  <a:ext cx="60467" cy="60467"/>
                </a:xfrm>
                <a:prstGeom prst="roundRect">
                  <a:avLst/>
                </a:prstGeom>
                <a:solidFill>
                  <a:srgbClr val="F31D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sp>
              <p:nvSpPr>
                <p:cNvPr id="164" name="Rectangle: Rounded Corners 163">
                  <a:extLst>
                    <a:ext uri="{FF2B5EF4-FFF2-40B4-BE49-F238E27FC236}">
                      <a16:creationId xmlns:a16="http://schemas.microsoft.com/office/drawing/2014/main" id="{E7E39801-54ED-2A35-97C6-8C5C1EC43396}"/>
                    </a:ext>
                  </a:extLst>
                </p:cNvPr>
                <p:cNvSpPr/>
                <p:nvPr/>
              </p:nvSpPr>
              <p:spPr bwMode="auto">
                <a:xfrm>
                  <a:off x="7282104" y="2349668"/>
                  <a:ext cx="60467" cy="60467"/>
                </a:xfrm>
                <a:prstGeom prst="round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cxnSp>
              <p:nvCxnSpPr>
                <p:cNvPr id="165" name="Straight Connector 164">
                  <a:extLst>
                    <a:ext uri="{FF2B5EF4-FFF2-40B4-BE49-F238E27FC236}">
                      <a16:creationId xmlns:a16="http://schemas.microsoft.com/office/drawing/2014/main" id="{A9E370BA-59C3-35F6-C4F2-42B408F3D17B}"/>
                    </a:ext>
                  </a:extLst>
                </p:cNvPr>
                <p:cNvCxnSpPr>
                  <a:cxnSpLocks/>
                </p:cNvCxnSpPr>
                <p:nvPr/>
              </p:nvCxnSpPr>
              <p:spPr>
                <a:xfrm>
                  <a:off x="7383760" y="2277733"/>
                  <a:ext cx="111510" cy="0"/>
                </a:xfrm>
                <a:prstGeom prst="line">
                  <a:avLst/>
                </a:prstGeom>
                <a:ln w="25400" cap="rnd">
                  <a:solidFill>
                    <a:srgbClr val="BCE6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6E3F33FA-2CD2-DDE4-5A4E-3362E1B6E6CA}"/>
                    </a:ext>
                  </a:extLst>
                </p:cNvPr>
                <p:cNvCxnSpPr>
                  <a:cxnSpLocks/>
                </p:cNvCxnSpPr>
                <p:nvPr/>
              </p:nvCxnSpPr>
              <p:spPr>
                <a:xfrm>
                  <a:off x="7383760" y="2379901"/>
                  <a:ext cx="71493" cy="0"/>
                </a:xfrm>
                <a:prstGeom prst="line">
                  <a:avLst/>
                </a:prstGeom>
                <a:ln w="25400" cap="rnd">
                  <a:solidFill>
                    <a:srgbClr val="BCE6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61" name="Rectangle: Rounded Corners 160">
                <a:extLst>
                  <a:ext uri="{FF2B5EF4-FFF2-40B4-BE49-F238E27FC236}">
                    <a16:creationId xmlns:a16="http://schemas.microsoft.com/office/drawing/2014/main" id="{80E9E840-4C77-8545-16C4-7E144A3ACD14}"/>
                  </a:ext>
                </a:extLst>
              </p:cNvPr>
              <p:cNvSpPr/>
              <p:nvPr/>
            </p:nvSpPr>
            <p:spPr bwMode="auto">
              <a:xfrm>
                <a:off x="4062935" y="4657765"/>
                <a:ext cx="93553" cy="93553"/>
              </a:xfrm>
              <a:prstGeom prst="roundRect">
                <a:avLst/>
              </a:prstGeom>
              <a:solidFill>
                <a:srgbClr val="FFB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cxnSp>
            <p:nvCxnSpPr>
              <p:cNvPr id="162" name="Straight Connector 161">
                <a:extLst>
                  <a:ext uri="{FF2B5EF4-FFF2-40B4-BE49-F238E27FC236}">
                    <a16:creationId xmlns:a16="http://schemas.microsoft.com/office/drawing/2014/main" id="{13289C5C-F59F-88CA-4925-91587CE23748}"/>
                  </a:ext>
                </a:extLst>
              </p:cNvPr>
              <p:cNvCxnSpPr>
                <a:cxnSpLocks/>
              </p:cNvCxnSpPr>
              <p:nvPr/>
            </p:nvCxnSpPr>
            <p:spPr>
              <a:xfrm>
                <a:off x="4220215" y="4704541"/>
                <a:ext cx="110612" cy="0"/>
              </a:xfrm>
              <a:prstGeom prst="line">
                <a:avLst/>
              </a:prstGeom>
              <a:ln w="25400" cap="rnd">
                <a:solidFill>
                  <a:srgbClr val="BCE6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38" name="Oval 137">
              <a:extLst>
                <a:ext uri="{FF2B5EF4-FFF2-40B4-BE49-F238E27FC236}">
                  <a16:creationId xmlns:a16="http://schemas.microsoft.com/office/drawing/2014/main" id="{5420EC33-6FD6-A6F4-16DF-238B4172DE8F}"/>
                </a:ext>
              </a:extLst>
            </p:cNvPr>
            <p:cNvSpPr/>
            <p:nvPr/>
          </p:nvSpPr>
          <p:spPr bwMode="auto">
            <a:xfrm>
              <a:off x="3370279" y="3651304"/>
              <a:ext cx="90568" cy="90568"/>
            </a:xfrm>
            <a:prstGeom prst="ellipse">
              <a:avLst/>
            </a:prstGeom>
            <a:solidFill>
              <a:srgbClr val="E7F4FF"/>
            </a:solidFill>
            <a:ln>
              <a:solidFill>
                <a:srgbClr val="E7F4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mn-cs"/>
              </a:endParaRPr>
            </a:p>
          </p:txBody>
        </p:sp>
        <p:sp>
          <p:nvSpPr>
            <p:cNvPr id="139" name="Rectangle: Rounded Corners 138">
              <a:extLst>
                <a:ext uri="{FF2B5EF4-FFF2-40B4-BE49-F238E27FC236}">
                  <a16:creationId xmlns:a16="http://schemas.microsoft.com/office/drawing/2014/main" id="{C2452AF0-3D89-9AA6-60A7-C26A49BB8CE0}"/>
                </a:ext>
              </a:extLst>
            </p:cNvPr>
            <p:cNvSpPr/>
            <p:nvPr/>
          </p:nvSpPr>
          <p:spPr bwMode="auto">
            <a:xfrm>
              <a:off x="2981325" y="3955296"/>
              <a:ext cx="778342" cy="456406"/>
            </a:xfrm>
            <a:prstGeom prst="roundRect">
              <a:avLst>
                <a:gd name="adj" fmla="val 8384"/>
              </a:avLst>
            </a:pr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mn-cs"/>
              </a:endParaRPr>
            </a:p>
          </p:txBody>
        </p:sp>
        <p:sp>
          <p:nvSpPr>
            <p:cNvPr id="140" name="Rectangle: Rounded Corners 139">
              <a:extLst>
                <a:ext uri="{FF2B5EF4-FFF2-40B4-BE49-F238E27FC236}">
                  <a16:creationId xmlns:a16="http://schemas.microsoft.com/office/drawing/2014/main" id="{7E27DFB1-AB7A-A379-688D-DA83FAE3F88D}"/>
                </a:ext>
              </a:extLst>
            </p:cNvPr>
            <p:cNvSpPr/>
            <p:nvPr/>
          </p:nvSpPr>
          <p:spPr bwMode="auto">
            <a:xfrm>
              <a:off x="3278586" y="4029312"/>
              <a:ext cx="166020" cy="166020"/>
            </a:xfrm>
            <a:prstGeom prst="roundRect">
              <a:avLst/>
            </a:prstGeom>
            <a:solidFill>
              <a:srgbClr val="E7F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mn-cs"/>
              </a:endParaRPr>
            </a:p>
          </p:txBody>
        </p:sp>
        <p:cxnSp>
          <p:nvCxnSpPr>
            <p:cNvPr id="141" name="Straight Connector 140">
              <a:extLst>
                <a:ext uri="{FF2B5EF4-FFF2-40B4-BE49-F238E27FC236}">
                  <a16:creationId xmlns:a16="http://schemas.microsoft.com/office/drawing/2014/main" id="{B869DB56-1D04-4090-B3A4-3834AB1F4E77}"/>
                </a:ext>
              </a:extLst>
            </p:cNvPr>
            <p:cNvCxnSpPr>
              <a:cxnSpLocks/>
            </p:cNvCxnSpPr>
            <p:nvPr/>
          </p:nvCxnSpPr>
          <p:spPr>
            <a:xfrm>
              <a:off x="4061098" y="4075159"/>
              <a:ext cx="325712" cy="0"/>
            </a:xfrm>
            <a:prstGeom prst="line">
              <a:avLst/>
            </a:prstGeom>
            <a:ln w="38100"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51359B07-E475-18D1-2B71-093E52CE43A4}"/>
                </a:ext>
              </a:extLst>
            </p:cNvPr>
            <p:cNvCxnSpPr>
              <a:cxnSpLocks/>
            </p:cNvCxnSpPr>
            <p:nvPr/>
          </p:nvCxnSpPr>
          <p:spPr>
            <a:xfrm>
              <a:off x="3204855" y="4296673"/>
              <a:ext cx="325712" cy="0"/>
            </a:xfrm>
            <a:prstGeom prst="line">
              <a:avLst/>
            </a:prstGeom>
            <a:ln w="31750"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43" name="Group 142">
              <a:extLst>
                <a:ext uri="{FF2B5EF4-FFF2-40B4-BE49-F238E27FC236}">
                  <a16:creationId xmlns:a16="http://schemas.microsoft.com/office/drawing/2014/main" id="{36F8C84B-535C-BB12-2226-C0C9A6516EB1}"/>
                </a:ext>
              </a:extLst>
            </p:cNvPr>
            <p:cNvGrpSpPr/>
            <p:nvPr/>
          </p:nvGrpSpPr>
          <p:grpSpPr>
            <a:xfrm>
              <a:off x="2994596" y="4722719"/>
              <a:ext cx="481953" cy="282609"/>
              <a:chOff x="844560" y="3848881"/>
              <a:chExt cx="946151" cy="554806"/>
            </a:xfrm>
          </p:grpSpPr>
          <p:sp>
            <p:nvSpPr>
              <p:cNvPr id="155" name="Rectangle: Rounded Corners 154">
                <a:extLst>
                  <a:ext uri="{FF2B5EF4-FFF2-40B4-BE49-F238E27FC236}">
                    <a16:creationId xmlns:a16="http://schemas.microsoft.com/office/drawing/2014/main" id="{C22B6A1E-65C7-25DF-3E06-79EF49AAD841}"/>
                  </a:ext>
                </a:extLst>
              </p:cNvPr>
              <p:cNvSpPr/>
              <p:nvPr/>
            </p:nvSpPr>
            <p:spPr bwMode="auto">
              <a:xfrm>
                <a:off x="844560" y="3848881"/>
                <a:ext cx="946151" cy="554806"/>
              </a:xfrm>
              <a:prstGeom prst="roundRect">
                <a:avLst>
                  <a:gd name="adj" fmla="val 8384"/>
                </a:avLst>
              </a:pr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endParaRPr lang="en-US" sz="2000">
                  <a:gradFill>
                    <a:gsLst>
                      <a:gs pos="0">
                        <a:srgbClr val="FFFFFF"/>
                      </a:gs>
                      <a:gs pos="100000">
                        <a:srgbClr val="FFFFFF"/>
                      </a:gs>
                    </a:gsLst>
                    <a:lin ang="5400000" scaled="1"/>
                  </a:gradFill>
                  <a:latin typeface="72 Brand" panose="020B0504030603020204" pitchFamily="34" charset="0"/>
                </a:endParaRPr>
              </a:p>
            </p:txBody>
          </p:sp>
          <p:cxnSp>
            <p:nvCxnSpPr>
              <p:cNvPr id="156" name="Straight Connector 155">
                <a:extLst>
                  <a:ext uri="{FF2B5EF4-FFF2-40B4-BE49-F238E27FC236}">
                    <a16:creationId xmlns:a16="http://schemas.microsoft.com/office/drawing/2014/main" id="{ADAFA07D-D8E8-8E17-6C03-0E7A6A559733}"/>
                  </a:ext>
                </a:extLst>
              </p:cNvPr>
              <p:cNvCxnSpPr>
                <a:cxnSpLocks/>
              </p:cNvCxnSpPr>
              <p:nvPr/>
            </p:nvCxnSpPr>
            <p:spPr>
              <a:xfrm>
                <a:off x="969686" y="4187713"/>
                <a:ext cx="576870" cy="0"/>
              </a:xfrm>
              <a:prstGeom prst="line">
                <a:avLst/>
              </a:prstGeom>
              <a:ln w="25400" cap="rnd">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917A3084-2840-EA7C-5D77-944C92B5351A}"/>
                  </a:ext>
                </a:extLst>
              </p:cNvPr>
              <p:cNvCxnSpPr>
                <a:cxnSpLocks/>
              </p:cNvCxnSpPr>
              <p:nvPr/>
            </p:nvCxnSpPr>
            <p:spPr>
              <a:xfrm>
                <a:off x="969686" y="4302606"/>
                <a:ext cx="467609" cy="0"/>
              </a:xfrm>
              <a:prstGeom prst="line">
                <a:avLst/>
              </a:prstGeom>
              <a:ln w="9525" cap="rnd">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8" name="Rectangle: Rounded Corners 157">
                <a:extLst>
                  <a:ext uri="{FF2B5EF4-FFF2-40B4-BE49-F238E27FC236}">
                    <a16:creationId xmlns:a16="http://schemas.microsoft.com/office/drawing/2014/main" id="{CD96DD8F-2EF0-AFC3-8448-7B9DCB573E54}"/>
                  </a:ext>
                </a:extLst>
              </p:cNvPr>
              <p:cNvSpPr/>
              <p:nvPr/>
            </p:nvSpPr>
            <p:spPr bwMode="auto">
              <a:xfrm>
                <a:off x="955148" y="3968076"/>
                <a:ext cx="278822" cy="94387"/>
              </a:xfrm>
              <a:prstGeom prst="roundRect">
                <a:avLst>
                  <a:gd name="adj" fmla="val 47982"/>
                </a:avLst>
              </a:prstGeom>
              <a:solidFill>
                <a:srgbClr val="FFB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grpSp>
        <p:grpSp>
          <p:nvGrpSpPr>
            <p:cNvPr id="144" name="Group 143">
              <a:extLst>
                <a:ext uri="{FF2B5EF4-FFF2-40B4-BE49-F238E27FC236}">
                  <a16:creationId xmlns:a16="http://schemas.microsoft.com/office/drawing/2014/main" id="{CC5C23F3-0636-5838-383C-C5869C25FD46}"/>
                </a:ext>
              </a:extLst>
            </p:cNvPr>
            <p:cNvGrpSpPr/>
            <p:nvPr/>
          </p:nvGrpSpPr>
          <p:grpSpPr>
            <a:xfrm>
              <a:off x="3739969" y="4726997"/>
              <a:ext cx="496570" cy="157983"/>
              <a:chOff x="5435472" y="4517879"/>
              <a:chExt cx="974845" cy="310145"/>
            </a:xfrm>
          </p:grpSpPr>
          <p:sp>
            <p:nvSpPr>
              <p:cNvPr id="152" name="Rectangle: Rounded Corners 151">
                <a:extLst>
                  <a:ext uri="{FF2B5EF4-FFF2-40B4-BE49-F238E27FC236}">
                    <a16:creationId xmlns:a16="http://schemas.microsoft.com/office/drawing/2014/main" id="{A715809D-45F4-BE54-5A73-7DB656802CE8}"/>
                  </a:ext>
                </a:extLst>
              </p:cNvPr>
              <p:cNvSpPr/>
              <p:nvPr/>
            </p:nvSpPr>
            <p:spPr bwMode="auto">
              <a:xfrm>
                <a:off x="5435472" y="4517879"/>
                <a:ext cx="974845" cy="310145"/>
              </a:xfrm>
              <a:prstGeom prst="roundRect">
                <a:avLst>
                  <a:gd name="adj" fmla="val 12072"/>
                </a:avLst>
              </a:pr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endParaRPr lang="en-US" sz="2000">
                  <a:gradFill>
                    <a:gsLst>
                      <a:gs pos="0">
                        <a:srgbClr val="FFFFFF"/>
                      </a:gs>
                      <a:gs pos="100000">
                        <a:srgbClr val="FFFFFF"/>
                      </a:gs>
                    </a:gsLst>
                    <a:lin ang="5400000" scaled="1"/>
                  </a:gradFill>
                  <a:latin typeface="72 Brand" panose="020B0504030603020204" pitchFamily="34" charset="0"/>
                </a:endParaRPr>
              </a:p>
            </p:txBody>
          </p:sp>
          <p:pic>
            <p:nvPicPr>
              <p:cNvPr id="153" name="Graphic 152">
                <a:extLst>
                  <a:ext uri="{FF2B5EF4-FFF2-40B4-BE49-F238E27FC236}">
                    <a16:creationId xmlns:a16="http://schemas.microsoft.com/office/drawing/2014/main" id="{8B3C3026-A03E-9314-0703-4764C279D42A}"/>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562299" y="4618257"/>
                <a:ext cx="104775" cy="104775"/>
              </a:xfrm>
              <a:prstGeom prst="rect">
                <a:avLst/>
              </a:prstGeom>
            </p:spPr>
          </p:pic>
          <p:cxnSp>
            <p:nvCxnSpPr>
              <p:cNvPr id="154" name="Straight Connector 153">
                <a:extLst>
                  <a:ext uri="{FF2B5EF4-FFF2-40B4-BE49-F238E27FC236}">
                    <a16:creationId xmlns:a16="http://schemas.microsoft.com/office/drawing/2014/main" id="{B7245A4E-F8DF-D02C-2BC1-19338B030783}"/>
                  </a:ext>
                </a:extLst>
              </p:cNvPr>
              <p:cNvCxnSpPr>
                <a:cxnSpLocks/>
              </p:cNvCxnSpPr>
              <p:nvPr/>
            </p:nvCxnSpPr>
            <p:spPr>
              <a:xfrm>
                <a:off x="5805126" y="4671630"/>
                <a:ext cx="466706" cy="0"/>
              </a:xfrm>
              <a:prstGeom prst="line">
                <a:avLst/>
              </a:prstGeom>
              <a:ln w="25400" cap="rnd">
                <a:solidFill>
                  <a:srgbClr val="FFB3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id="{2000D233-1B4F-EDEB-5860-1473A3D45B73}"/>
                </a:ext>
              </a:extLst>
            </p:cNvPr>
            <p:cNvGrpSpPr/>
            <p:nvPr/>
          </p:nvGrpSpPr>
          <p:grpSpPr>
            <a:xfrm>
              <a:off x="2463800" y="4110584"/>
              <a:ext cx="689448" cy="465053"/>
              <a:chOff x="342752" y="4612234"/>
              <a:chExt cx="1654797" cy="1116208"/>
            </a:xfrm>
          </p:grpSpPr>
          <p:sp>
            <p:nvSpPr>
              <p:cNvPr id="146" name="Rectangle: Rounded Corners 145">
                <a:extLst>
                  <a:ext uri="{FF2B5EF4-FFF2-40B4-BE49-F238E27FC236}">
                    <a16:creationId xmlns:a16="http://schemas.microsoft.com/office/drawing/2014/main" id="{8D05EDF7-3FFE-E808-5A9B-B749DBF139AA}"/>
                  </a:ext>
                </a:extLst>
              </p:cNvPr>
              <p:cNvSpPr/>
              <p:nvPr/>
            </p:nvSpPr>
            <p:spPr bwMode="auto">
              <a:xfrm>
                <a:off x="342752" y="4832445"/>
                <a:ext cx="1528009" cy="895997"/>
              </a:xfrm>
              <a:prstGeom prst="roundRect">
                <a:avLst>
                  <a:gd name="adj" fmla="val 8384"/>
                </a:avLst>
              </a:pr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endParaRPr lang="en-US" sz="2000">
                  <a:gradFill>
                    <a:gsLst>
                      <a:gs pos="0">
                        <a:srgbClr val="FFFFFF"/>
                      </a:gs>
                      <a:gs pos="100000">
                        <a:srgbClr val="FFFFFF"/>
                      </a:gs>
                    </a:gsLst>
                    <a:lin ang="5400000" scaled="1"/>
                  </a:gradFill>
                  <a:latin typeface="72 Brand" panose="020B0504030603020204" pitchFamily="34" charset="0"/>
                </a:endParaRPr>
              </a:p>
            </p:txBody>
          </p:sp>
          <p:cxnSp>
            <p:nvCxnSpPr>
              <p:cNvPr id="147" name="Straight Connector 146">
                <a:extLst>
                  <a:ext uri="{FF2B5EF4-FFF2-40B4-BE49-F238E27FC236}">
                    <a16:creationId xmlns:a16="http://schemas.microsoft.com/office/drawing/2014/main" id="{0ACE5F58-FA6D-58AB-D9D2-D03935EB2797}"/>
                  </a:ext>
                </a:extLst>
              </p:cNvPr>
              <p:cNvCxnSpPr>
                <a:cxnSpLocks/>
              </p:cNvCxnSpPr>
              <p:nvPr/>
            </p:nvCxnSpPr>
            <p:spPr>
              <a:xfrm>
                <a:off x="478304" y="5211766"/>
                <a:ext cx="536321" cy="0"/>
              </a:xfrm>
              <a:prstGeom prst="line">
                <a:avLst/>
              </a:prstGeom>
              <a:ln w="25400" cap="rnd">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66545286-0E64-619A-9D60-825646B71181}"/>
                  </a:ext>
                </a:extLst>
              </p:cNvPr>
              <p:cNvCxnSpPr>
                <a:cxnSpLocks/>
              </p:cNvCxnSpPr>
              <p:nvPr/>
            </p:nvCxnSpPr>
            <p:spPr>
              <a:xfrm>
                <a:off x="478304" y="5321400"/>
                <a:ext cx="450391" cy="0"/>
              </a:xfrm>
              <a:prstGeom prst="line">
                <a:avLst/>
              </a:prstGeom>
              <a:ln w="9525" cap="rnd">
                <a:solidFill>
                  <a:schemeClr val="bg2">
                    <a:lumMod val="9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9" name="Rectangle: Rounded Corners 148">
                <a:extLst>
                  <a:ext uri="{FF2B5EF4-FFF2-40B4-BE49-F238E27FC236}">
                    <a16:creationId xmlns:a16="http://schemas.microsoft.com/office/drawing/2014/main" id="{7842BE85-571E-2D7E-1584-E01094378F2E}"/>
                  </a:ext>
                </a:extLst>
              </p:cNvPr>
              <p:cNvSpPr/>
              <p:nvPr/>
            </p:nvSpPr>
            <p:spPr bwMode="auto">
              <a:xfrm>
                <a:off x="467642" y="5496060"/>
                <a:ext cx="911725" cy="95028"/>
              </a:xfrm>
              <a:prstGeom prst="roundRect">
                <a:avLst>
                  <a:gd name="adj" fmla="val 47982"/>
                </a:avLst>
              </a:prstGeom>
              <a:solidFill>
                <a:srgbClr val="FFB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sp>
            <p:nvSpPr>
              <p:cNvPr id="150" name="Rectangle: Rounded Corners 149">
                <a:extLst>
                  <a:ext uri="{FF2B5EF4-FFF2-40B4-BE49-F238E27FC236}">
                    <a16:creationId xmlns:a16="http://schemas.microsoft.com/office/drawing/2014/main" id="{A909F943-955E-F151-FB2D-068899F12D8E}"/>
                  </a:ext>
                </a:extLst>
              </p:cNvPr>
              <p:cNvSpPr/>
              <p:nvPr/>
            </p:nvSpPr>
            <p:spPr bwMode="auto">
              <a:xfrm>
                <a:off x="467642" y="4956186"/>
                <a:ext cx="278822" cy="94387"/>
              </a:xfrm>
              <a:prstGeom prst="roundRect">
                <a:avLst>
                  <a:gd name="adj" fmla="val 47982"/>
                </a:avLst>
              </a:prstGeom>
              <a:solidFill>
                <a:srgbClr val="FFB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sp>
            <p:nvSpPr>
              <p:cNvPr id="151" name="Rectangle: Rounded Corners 150">
                <a:extLst>
                  <a:ext uri="{FF2B5EF4-FFF2-40B4-BE49-F238E27FC236}">
                    <a16:creationId xmlns:a16="http://schemas.microsoft.com/office/drawing/2014/main" id="{2EFC0538-21E5-93B6-5250-02A377844A06}"/>
                  </a:ext>
                </a:extLst>
              </p:cNvPr>
              <p:cNvSpPr/>
              <p:nvPr/>
            </p:nvSpPr>
            <p:spPr bwMode="auto">
              <a:xfrm>
                <a:off x="1563901" y="4612234"/>
                <a:ext cx="433648" cy="433648"/>
              </a:xfrm>
              <a:prstGeom prst="roundRect">
                <a:avLst/>
              </a:prstGeom>
              <a:solidFill>
                <a:srgbClr val="89D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grpSp>
      </p:grpSp>
      <p:grpSp>
        <p:nvGrpSpPr>
          <p:cNvPr id="203" name="Group 202">
            <a:extLst>
              <a:ext uri="{FF2B5EF4-FFF2-40B4-BE49-F238E27FC236}">
                <a16:creationId xmlns:a16="http://schemas.microsoft.com/office/drawing/2014/main" id="{78359B86-9523-F137-9FA4-5A4F06CB84F9}"/>
              </a:ext>
            </a:extLst>
          </p:cNvPr>
          <p:cNvGrpSpPr/>
          <p:nvPr/>
        </p:nvGrpSpPr>
        <p:grpSpPr>
          <a:xfrm>
            <a:off x="8764040" y="3740267"/>
            <a:ext cx="1888006" cy="1231926"/>
            <a:chOff x="1993945" y="2500313"/>
            <a:chExt cx="1389811" cy="1598771"/>
          </a:xfrm>
        </p:grpSpPr>
        <p:grpSp>
          <p:nvGrpSpPr>
            <p:cNvPr id="204" name="Group 203">
              <a:extLst>
                <a:ext uri="{FF2B5EF4-FFF2-40B4-BE49-F238E27FC236}">
                  <a16:creationId xmlns:a16="http://schemas.microsoft.com/office/drawing/2014/main" id="{D122C2A2-FCA6-4A44-00DB-AB3B0A0A02F7}"/>
                </a:ext>
              </a:extLst>
            </p:cNvPr>
            <p:cNvGrpSpPr/>
            <p:nvPr/>
          </p:nvGrpSpPr>
          <p:grpSpPr>
            <a:xfrm>
              <a:off x="1993945" y="2502213"/>
              <a:ext cx="1389335" cy="1596871"/>
              <a:chOff x="8077200" y="2019300"/>
              <a:chExt cx="1836420" cy="2110740"/>
            </a:xfrm>
          </p:grpSpPr>
          <p:sp>
            <p:nvSpPr>
              <p:cNvPr id="206" name="Rectangle: Rounded Corners 205">
                <a:extLst>
                  <a:ext uri="{FF2B5EF4-FFF2-40B4-BE49-F238E27FC236}">
                    <a16:creationId xmlns:a16="http://schemas.microsoft.com/office/drawing/2014/main" id="{590916A5-BF28-CC62-D9E9-038A2F2A9088}"/>
                  </a:ext>
                </a:extLst>
              </p:cNvPr>
              <p:cNvSpPr/>
              <p:nvPr/>
            </p:nvSpPr>
            <p:spPr bwMode="auto">
              <a:xfrm>
                <a:off x="8077200" y="2019300"/>
                <a:ext cx="1836420" cy="2110740"/>
              </a:xfrm>
              <a:prstGeom prst="roundRect">
                <a:avLst>
                  <a:gd name="adj" fmla="val 3488"/>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eaLnBrk="0" fontAlgn="base" hangingPunct="0">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ndParaRPr>
              </a:p>
            </p:txBody>
          </p:sp>
          <p:sp>
            <p:nvSpPr>
              <p:cNvPr id="207" name="Rectangle: Top Corners Rounded 206">
                <a:extLst>
                  <a:ext uri="{FF2B5EF4-FFF2-40B4-BE49-F238E27FC236}">
                    <a16:creationId xmlns:a16="http://schemas.microsoft.com/office/drawing/2014/main" id="{4D782B06-7A98-D292-5E01-273335D770FF}"/>
                  </a:ext>
                </a:extLst>
              </p:cNvPr>
              <p:cNvSpPr/>
              <p:nvPr/>
            </p:nvSpPr>
            <p:spPr bwMode="auto">
              <a:xfrm rot="16200000">
                <a:off x="7234453" y="2862047"/>
                <a:ext cx="2110740" cy="425246"/>
              </a:xfrm>
              <a:prstGeom prst="round2SameRect">
                <a:avLst>
                  <a:gd name="adj1" fmla="val 16108"/>
                  <a:gd name="adj2" fmla="val 0"/>
                </a:avLst>
              </a:prstGeom>
              <a:solidFill>
                <a:srgbClr val="8CD3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sp>
            <p:nvSpPr>
              <p:cNvPr id="208" name="Rectangle: Rounded Corners 207">
                <a:extLst>
                  <a:ext uri="{FF2B5EF4-FFF2-40B4-BE49-F238E27FC236}">
                    <a16:creationId xmlns:a16="http://schemas.microsoft.com/office/drawing/2014/main" id="{9A644C35-D252-6780-8529-B0185C5670AA}"/>
                  </a:ext>
                </a:extLst>
              </p:cNvPr>
              <p:cNvSpPr/>
              <p:nvPr/>
            </p:nvSpPr>
            <p:spPr bwMode="auto">
              <a:xfrm>
                <a:off x="8645962" y="2442039"/>
                <a:ext cx="1126689" cy="433591"/>
              </a:xfrm>
              <a:prstGeom prst="roundRect">
                <a:avLst>
                  <a:gd name="adj" fmla="val 8796"/>
                </a:avLst>
              </a:prstGeom>
              <a:solidFill>
                <a:srgbClr val="E7F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endParaRPr lang="en-US" sz="2000">
                  <a:gradFill>
                    <a:gsLst>
                      <a:gs pos="0">
                        <a:srgbClr val="FFFFFF"/>
                      </a:gs>
                      <a:gs pos="100000">
                        <a:srgbClr val="FFFFFF"/>
                      </a:gs>
                    </a:gsLst>
                    <a:lin ang="5400000" scaled="1"/>
                  </a:gradFill>
                  <a:latin typeface="72 Brand" panose="020B0504030603020204" pitchFamily="34" charset="0"/>
                </a:endParaRPr>
              </a:p>
            </p:txBody>
          </p:sp>
        </p:grpSp>
        <p:sp>
          <p:nvSpPr>
            <p:cNvPr id="205" name="Rectangle: Top Corners Rounded 204">
              <a:extLst>
                <a:ext uri="{FF2B5EF4-FFF2-40B4-BE49-F238E27FC236}">
                  <a16:creationId xmlns:a16="http://schemas.microsoft.com/office/drawing/2014/main" id="{9091A585-E1A6-F310-F549-53FF553F334A}"/>
                </a:ext>
              </a:extLst>
            </p:cNvPr>
            <p:cNvSpPr/>
            <p:nvPr/>
          </p:nvSpPr>
          <p:spPr bwMode="auto">
            <a:xfrm>
              <a:off x="1997869" y="2500313"/>
              <a:ext cx="1385887" cy="198438"/>
            </a:xfrm>
            <a:prstGeom prst="round2SameRect">
              <a:avLst>
                <a:gd name="adj1" fmla="val 28667"/>
                <a:gd name="adj2" fmla="val 0"/>
              </a:avLst>
            </a:prstGeom>
            <a:solidFill>
              <a:srgbClr val="A6E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a:endParaRPr lang="en-US" sz="2000">
                <a:gradFill>
                  <a:gsLst>
                    <a:gs pos="0">
                      <a:srgbClr val="FFFFFF"/>
                    </a:gs>
                    <a:gs pos="100000">
                      <a:srgbClr val="FFFFFF"/>
                    </a:gs>
                  </a:gsLst>
                  <a:lin ang="5400000" scaled="1"/>
                </a:gradFill>
                <a:latin typeface="72 Brand" panose="020B0504030603020204" pitchFamily="34" charset="0"/>
              </a:endParaRPr>
            </a:p>
          </p:txBody>
        </p:sp>
      </p:grpSp>
      <p:sp>
        <p:nvSpPr>
          <p:cNvPr id="209" name="Title">
            <a:extLst>
              <a:ext uri="{FF2B5EF4-FFF2-40B4-BE49-F238E27FC236}">
                <a16:creationId xmlns:a16="http://schemas.microsoft.com/office/drawing/2014/main" id="{0D368B9C-A622-1AB0-50B8-59D7E5C49794}"/>
              </a:ext>
            </a:extLst>
          </p:cNvPr>
          <p:cNvSpPr txBox="1">
            <a:spLocks/>
          </p:cNvSpPr>
          <p:nvPr/>
        </p:nvSpPr>
        <p:spPr bwMode="gray">
          <a:xfrm>
            <a:off x="559038" y="486323"/>
            <a:ext cx="11933065" cy="369332"/>
          </a:xfrm>
          <a:prstGeom prst="rect">
            <a:avLst/>
          </a:prstGeom>
        </p:spPr>
        <p:txBody>
          <a:bodyPr vert="horz" wrap="square" lIns="0" tIns="0" rIns="0" bIns="0" rtlCol="0" anchor="t" anchorCtr="0">
            <a:spAutoFit/>
          </a:bodyPr>
          <a:lstStyle>
            <a:lvl1pPr algn="l" defTabSz="1088231" rtl="0" eaLnBrk="1" latinLnBrk="0" hangingPunct="1">
              <a:spcBef>
                <a:spcPct val="0"/>
              </a:spcBef>
              <a:buNone/>
              <a:defRPr sz="2399" b="0" i="0" kern="1200" baseline="0">
                <a:solidFill>
                  <a:schemeClr val="tx1"/>
                </a:solidFill>
                <a:latin typeface="72 Brand Medium" panose="020B0504030603020204" pitchFamily="34" charset="0"/>
                <a:ea typeface="+mj-ea"/>
                <a:cs typeface="+mj-cs"/>
              </a:defRPr>
            </a:lvl1pPr>
          </a:lstStyle>
          <a:p>
            <a:pPr marL="0" marR="0" lvl="0" indent="0" algn="l" defTabSz="1088231" rtl="0" eaLnBrk="1" fontAlgn="auto" latinLnBrk="0" hangingPunct="1">
              <a:lnSpc>
                <a:spcPct val="100000"/>
              </a:lnSpc>
              <a:spcBef>
                <a:spcPct val="0"/>
              </a:spcBef>
              <a:spcAft>
                <a:spcPts val="0"/>
              </a:spcAft>
              <a:buClrTx/>
              <a:buSzTx/>
              <a:buFontTx/>
              <a:buNone/>
              <a:tabLst/>
              <a:defRPr/>
            </a:pPr>
            <a:r>
              <a:rPr lang="en-US" sz="2400" b="1">
                <a:gradFill>
                  <a:gsLst>
                    <a:gs pos="0">
                      <a:srgbClr val="000000"/>
                    </a:gs>
                    <a:gs pos="100000">
                      <a:srgbClr val="000000"/>
                    </a:gs>
                  </a:gsLst>
                  <a:lin ang="18900000" scaled="1"/>
                </a:gradFill>
                <a:latin typeface="+mj-lt"/>
              </a:rPr>
              <a:t>The future of enterprise management starts here</a:t>
            </a:r>
          </a:p>
        </p:txBody>
      </p:sp>
      <p:sp>
        <p:nvSpPr>
          <p:cNvPr id="210" name="TextBox 209">
            <a:extLst>
              <a:ext uri="{FF2B5EF4-FFF2-40B4-BE49-F238E27FC236}">
                <a16:creationId xmlns:a16="http://schemas.microsoft.com/office/drawing/2014/main" id="{FC2B3B4A-6295-DEF2-A522-5A624D5A21D6}"/>
              </a:ext>
            </a:extLst>
          </p:cNvPr>
          <p:cNvSpPr txBox="1"/>
          <p:nvPr/>
        </p:nvSpPr>
        <p:spPr>
          <a:xfrm>
            <a:off x="559038" y="903441"/>
            <a:ext cx="4060086" cy="215444"/>
          </a:xfrm>
          <a:prstGeom prst="rect">
            <a:avLst/>
          </a:prstGeom>
          <a:noFill/>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72 Brand"/>
                <a:ea typeface="+mn-ea"/>
                <a:cs typeface="+mn-cs"/>
              </a:rPr>
              <a:t>Two journeys, one destination: SAP Business Suite</a:t>
            </a:r>
          </a:p>
        </p:txBody>
      </p:sp>
      <p:grpSp>
        <p:nvGrpSpPr>
          <p:cNvPr id="211" name="Group 210">
            <a:extLst>
              <a:ext uri="{FF2B5EF4-FFF2-40B4-BE49-F238E27FC236}">
                <a16:creationId xmlns:a16="http://schemas.microsoft.com/office/drawing/2014/main" id="{39C3E670-6F44-8A0F-5E1C-B02FA47B4744}"/>
              </a:ext>
            </a:extLst>
          </p:cNvPr>
          <p:cNvGrpSpPr/>
          <p:nvPr/>
        </p:nvGrpSpPr>
        <p:grpSpPr>
          <a:xfrm>
            <a:off x="4506096" y="1589658"/>
            <a:ext cx="3179808" cy="1570106"/>
            <a:chOff x="4506096" y="1589658"/>
            <a:chExt cx="3179808" cy="1570106"/>
          </a:xfrm>
        </p:grpSpPr>
        <p:sp>
          <p:nvSpPr>
            <p:cNvPr id="212" name="Freeform: Shape 211">
              <a:extLst>
                <a:ext uri="{FF2B5EF4-FFF2-40B4-BE49-F238E27FC236}">
                  <a16:creationId xmlns:a16="http://schemas.microsoft.com/office/drawing/2014/main" id="{EE71EADB-F074-21AC-A557-C8A25BF14A44}"/>
                </a:ext>
              </a:extLst>
            </p:cNvPr>
            <p:cNvSpPr/>
            <p:nvPr/>
          </p:nvSpPr>
          <p:spPr>
            <a:xfrm>
              <a:off x="4743649" y="1589658"/>
              <a:ext cx="2707210" cy="1347571"/>
            </a:xfrm>
            <a:custGeom>
              <a:avLst/>
              <a:gdLst>
                <a:gd name="connsiteX0" fmla="*/ 7579920 w 7579919"/>
                <a:gd name="connsiteY0" fmla="*/ 3773067 h 3773066"/>
                <a:gd name="connsiteX1" fmla="*/ 3789996 w 7579919"/>
                <a:gd name="connsiteY1" fmla="*/ 0 h 3773066"/>
                <a:gd name="connsiteX2" fmla="*/ 0 w 7579919"/>
                <a:gd name="connsiteY2" fmla="*/ 3773067 h 3773066"/>
                <a:gd name="connsiteX3" fmla="*/ 7579920 w 7579919"/>
                <a:gd name="connsiteY3" fmla="*/ 3773067 h 3773066"/>
              </a:gdLst>
              <a:ahLst/>
              <a:cxnLst>
                <a:cxn ang="0">
                  <a:pos x="connsiteX0" y="connsiteY0"/>
                </a:cxn>
                <a:cxn ang="0">
                  <a:pos x="connsiteX1" y="connsiteY1"/>
                </a:cxn>
                <a:cxn ang="0">
                  <a:pos x="connsiteX2" y="connsiteY2"/>
                </a:cxn>
                <a:cxn ang="0">
                  <a:pos x="connsiteX3" y="connsiteY3"/>
                </a:cxn>
              </a:cxnLst>
              <a:rect l="l" t="t" r="r" b="b"/>
              <a:pathLst>
                <a:path w="7579919" h="3773066">
                  <a:moveTo>
                    <a:pt x="7579920" y="3773067"/>
                  </a:moveTo>
                  <a:cubicBezTo>
                    <a:pt x="7579920" y="1689251"/>
                    <a:pt x="5883079" y="0"/>
                    <a:pt x="3789996" y="0"/>
                  </a:cubicBezTo>
                  <a:cubicBezTo>
                    <a:pt x="1696913" y="0"/>
                    <a:pt x="0" y="1689251"/>
                    <a:pt x="0" y="3773067"/>
                  </a:cubicBezTo>
                  <a:lnTo>
                    <a:pt x="7579920" y="3773067"/>
                  </a:lnTo>
                  <a:close/>
                </a:path>
              </a:pathLst>
            </a:custGeom>
            <a:solidFill>
              <a:srgbClr val="7858FF"/>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213" name="Freeform: Shape 212">
              <a:extLst>
                <a:ext uri="{FF2B5EF4-FFF2-40B4-BE49-F238E27FC236}">
                  <a16:creationId xmlns:a16="http://schemas.microsoft.com/office/drawing/2014/main" id="{7D0DED6F-4231-084A-DB59-9C47E892DACC}"/>
                </a:ext>
              </a:extLst>
            </p:cNvPr>
            <p:cNvSpPr/>
            <p:nvPr/>
          </p:nvSpPr>
          <p:spPr>
            <a:xfrm>
              <a:off x="4879722" y="1719685"/>
              <a:ext cx="2435089" cy="1217545"/>
            </a:xfrm>
            <a:custGeom>
              <a:avLst/>
              <a:gdLst>
                <a:gd name="connsiteX0" fmla="*/ 6818009 w 6818008"/>
                <a:gd name="connsiteY0" fmla="*/ 3409005 h 3409004"/>
                <a:gd name="connsiteX1" fmla="*/ 3409005 w 6818008"/>
                <a:gd name="connsiteY1" fmla="*/ 0 h 3409004"/>
                <a:gd name="connsiteX2" fmla="*/ 0 w 6818008"/>
                <a:gd name="connsiteY2" fmla="*/ 3409005 h 3409004"/>
                <a:gd name="connsiteX3" fmla="*/ 6818009 w 6818008"/>
                <a:gd name="connsiteY3" fmla="*/ 3409005 h 3409004"/>
              </a:gdLst>
              <a:ahLst/>
              <a:cxnLst>
                <a:cxn ang="0">
                  <a:pos x="connsiteX0" y="connsiteY0"/>
                </a:cxn>
                <a:cxn ang="0">
                  <a:pos x="connsiteX1" y="connsiteY1"/>
                </a:cxn>
                <a:cxn ang="0">
                  <a:pos x="connsiteX2" y="connsiteY2"/>
                </a:cxn>
                <a:cxn ang="0">
                  <a:pos x="connsiteX3" y="connsiteY3"/>
                </a:cxn>
              </a:cxnLst>
              <a:rect l="l" t="t" r="r" b="b"/>
              <a:pathLst>
                <a:path w="6818008" h="3409004">
                  <a:moveTo>
                    <a:pt x="6818009" y="3409005"/>
                  </a:moveTo>
                  <a:cubicBezTo>
                    <a:pt x="6818009" y="1526230"/>
                    <a:pt x="5291707" y="0"/>
                    <a:pt x="3409005" y="0"/>
                  </a:cubicBezTo>
                  <a:cubicBezTo>
                    <a:pt x="1526302" y="0"/>
                    <a:pt x="0" y="1526302"/>
                    <a:pt x="0" y="3409005"/>
                  </a:cubicBezTo>
                  <a:lnTo>
                    <a:pt x="6818009" y="3409005"/>
                  </a:lnTo>
                  <a:close/>
                </a:path>
              </a:pathLst>
            </a:custGeom>
            <a:solidFill>
              <a:srgbClr val="9B76FF">
                <a:alpha val="50000"/>
              </a:srgbClr>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214" name="Freeform: Shape 213">
              <a:extLst>
                <a:ext uri="{FF2B5EF4-FFF2-40B4-BE49-F238E27FC236}">
                  <a16:creationId xmlns:a16="http://schemas.microsoft.com/office/drawing/2014/main" id="{EE7281F9-2983-2C57-9793-3A998C8F27F9}"/>
                </a:ext>
              </a:extLst>
            </p:cNvPr>
            <p:cNvSpPr/>
            <p:nvPr/>
          </p:nvSpPr>
          <p:spPr>
            <a:xfrm>
              <a:off x="5015091" y="1856279"/>
              <a:ext cx="2161900" cy="1080950"/>
            </a:xfrm>
            <a:custGeom>
              <a:avLst/>
              <a:gdLst>
                <a:gd name="connsiteX0" fmla="*/ 0 w 6053106"/>
                <a:gd name="connsiteY0" fmla="*/ 3026553 h 3026553"/>
                <a:gd name="connsiteX1" fmla="*/ 3026553 w 6053106"/>
                <a:gd name="connsiteY1" fmla="*/ 0 h 3026553"/>
                <a:gd name="connsiteX2" fmla="*/ 6053107 w 6053106"/>
                <a:gd name="connsiteY2" fmla="*/ 3026553 h 3026553"/>
              </a:gdLst>
              <a:ahLst/>
              <a:cxnLst>
                <a:cxn ang="0">
                  <a:pos x="connsiteX0" y="connsiteY0"/>
                </a:cxn>
                <a:cxn ang="0">
                  <a:pos x="connsiteX1" y="connsiteY1"/>
                </a:cxn>
                <a:cxn ang="0">
                  <a:pos x="connsiteX2" y="connsiteY2"/>
                </a:cxn>
              </a:cxnLst>
              <a:rect l="l" t="t" r="r" b="b"/>
              <a:pathLst>
                <a:path w="6053106" h="3026553">
                  <a:moveTo>
                    <a:pt x="0" y="3026553"/>
                  </a:moveTo>
                  <a:cubicBezTo>
                    <a:pt x="0" y="1355035"/>
                    <a:pt x="1355035" y="0"/>
                    <a:pt x="3026553" y="0"/>
                  </a:cubicBezTo>
                  <a:cubicBezTo>
                    <a:pt x="4698072" y="0"/>
                    <a:pt x="6053107" y="1355035"/>
                    <a:pt x="6053107" y="3026553"/>
                  </a:cubicBezTo>
                </a:path>
              </a:pathLst>
            </a:custGeom>
            <a:solidFill>
              <a:srgbClr val="4DB1FF"/>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215" name="Freeform: Shape 214">
              <a:extLst>
                <a:ext uri="{FF2B5EF4-FFF2-40B4-BE49-F238E27FC236}">
                  <a16:creationId xmlns:a16="http://schemas.microsoft.com/office/drawing/2014/main" id="{D91EBBAC-0BA7-04E6-B00D-10A5F1C26027}"/>
                </a:ext>
              </a:extLst>
            </p:cNvPr>
            <p:cNvSpPr/>
            <p:nvPr/>
          </p:nvSpPr>
          <p:spPr>
            <a:xfrm>
              <a:off x="4506096" y="2889821"/>
              <a:ext cx="3179808" cy="269943"/>
            </a:xfrm>
            <a:custGeom>
              <a:avLst/>
              <a:gdLst>
                <a:gd name="connsiteX0" fmla="*/ 8884943 w 8903148"/>
                <a:gd name="connsiteY0" fmla="*/ 682224 h 755813"/>
                <a:gd name="connsiteX1" fmla="*/ 8420471 w 8903148"/>
                <a:gd name="connsiteY1" fmla="*/ 45900 h 755813"/>
                <a:gd name="connsiteX2" fmla="*/ 8325095 w 8903148"/>
                <a:gd name="connsiteY2" fmla="*/ 0 h 755813"/>
                <a:gd name="connsiteX3" fmla="*/ 561867 w 8903148"/>
                <a:gd name="connsiteY3" fmla="*/ 0 h 755813"/>
                <a:gd name="connsiteX4" fmla="*/ 458392 w 8903148"/>
                <a:gd name="connsiteY4" fmla="*/ 59035 h 755813"/>
                <a:gd name="connsiteX5" fmla="*/ 8951 w 8903148"/>
                <a:gd name="connsiteY5" fmla="*/ 696673 h 755813"/>
                <a:gd name="connsiteX6" fmla="*/ 8951 w 8903148"/>
                <a:gd name="connsiteY6" fmla="*/ 743886 h 755813"/>
                <a:gd name="connsiteX7" fmla="*/ 52516 w 8903148"/>
                <a:gd name="connsiteY7" fmla="*/ 755708 h 755813"/>
                <a:gd name="connsiteX8" fmla="*/ 8860497 w 8903148"/>
                <a:gd name="connsiteY8" fmla="*/ 755708 h 755813"/>
                <a:gd name="connsiteX9" fmla="*/ 8899976 w 8903148"/>
                <a:gd name="connsiteY9" fmla="*/ 737319 h 755813"/>
                <a:gd name="connsiteX10" fmla="*/ 8885016 w 8903148"/>
                <a:gd name="connsiteY10" fmla="*/ 682224 h 75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3148" h="755813">
                  <a:moveTo>
                    <a:pt x="8884943" y="682224"/>
                  </a:moveTo>
                  <a:lnTo>
                    <a:pt x="8420471" y="45900"/>
                  </a:lnTo>
                  <a:cubicBezTo>
                    <a:pt x="8420471" y="45900"/>
                    <a:pt x="8402738" y="0"/>
                    <a:pt x="8325095" y="0"/>
                  </a:cubicBezTo>
                  <a:lnTo>
                    <a:pt x="561867" y="0"/>
                  </a:lnTo>
                  <a:cubicBezTo>
                    <a:pt x="561867" y="0"/>
                    <a:pt x="499184" y="1314"/>
                    <a:pt x="458392" y="59035"/>
                  </a:cubicBezTo>
                  <a:cubicBezTo>
                    <a:pt x="417527" y="116757"/>
                    <a:pt x="8951" y="696673"/>
                    <a:pt x="8951" y="696673"/>
                  </a:cubicBezTo>
                  <a:cubicBezTo>
                    <a:pt x="8951" y="696673"/>
                    <a:pt x="-11189" y="721484"/>
                    <a:pt x="8951" y="743886"/>
                  </a:cubicBezTo>
                  <a:cubicBezTo>
                    <a:pt x="21138" y="757387"/>
                    <a:pt x="52516" y="755708"/>
                    <a:pt x="52516" y="755708"/>
                  </a:cubicBezTo>
                  <a:lnTo>
                    <a:pt x="8860497" y="755708"/>
                  </a:lnTo>
                  <a:cubicBezTo>
                    <a:pt x="8860497" y="755708"/>
                    <a:pt x="8887716" y="758335"/>
                    <a:pt x="8899976" y="737319"/>
                  </a:cubicBezTo>
                  <a:cubicBezTo>
                    <a:pt x="8912235" y="716303"/>
                    <a:pt x="8885016" y="682224"/>
                    <a:pt x="8885016" y="682224"/>
                  </a:cubicBezTo>
                  <a:close/>
                </a:path>
              </a:pathLst>
            </a:custGeom>
            <a:gradFill>
              <a:gsLst>
                <a:gs pos="0">
                  <a:srgbClr val="0070F2"/>
                </a:gs>
                <a:gs pos="7000">
                  <a:srgbClr val="0070F2"/>
                </a:gs>
                <a:gs pos="14000">
                  <a:srgbClr val="0070F2"/>
                </a:gs>
                <a:gs pos="100000">
                  <a:srgbClr val="0070F2"/>
                </a:gs>
              </a:gsLst>
              <a:lin ang="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216" name="Freeform: Shape 215">
              <a:extLst>
                <a:ext uri="{FF2B5EF4-FFF2-40B4-BE49-F238E27FC236}">
                  <a16:creationId xmlns:a16="http://schemas.microsoft.com/office/drawing/2014/main" id="{385F74D4-53AD-4779-D7A0-01BEA0A5F8BF}"/>
                </a:ext>
              </a:extLst>
            </p:cNvPr>
            <p:cNvSpPr/>
            <p:nvPr/>
          </p:nvSpPr>
          <p:spPr>
            <a:xfrm>
              <a:off x="5152989" y="1995532"/>
              <a:ext cx="1883394" cy="941697"/>
            </a:xfrm>
            <a:custGeom>
              <a:avLst/>
              <a:gdLst>
                <a:gd name="connsiteX0" fmla="*/ 0 w 5273317"/>
                <a:gd name="connsiteY0" fmla="*/ 2636659 h 2636658"/>
                <a:gd name="connsiteX1" fmla="*/ 2636659 w 5273317"/>
                <a:gd name="connsiteY1" fmla="*/ 0 h 2636658"/>
                <a:gd name="connsiteX2" fmla="*/ 5273317 w 5273317"/>
                <a:gd name="connsiteY2" fmla="*/ 2636659 h 2636658"/>
              </a:gdLst>
              <a:ahLst/>
              <a:cxnLst>
                <a:cxn ang="0">
                  <a:pos x="connsiteX0" y="connsiteY0"/>
                </a:cxn>
                <a:cxn ang="0">
                  <a:pos x="connsiteX1" y="connsiteY1"/>
                </a:cxn>
                <a:cxn ang="0">
                  <a:pos x="connsiteX2" y="connsiteY2"/>
                </a:cxn>
              </a:cxnLst>
              <a:rect l="l" t="t" r="r" b="b"/>
              <a:pathLst>
                <a:path w="5273317" h="2636658">
                  <a:moveTo>
                    <a:pt x="0" y="2636659"/>
                  </a:moveTo>
                  <a:cubicBezTo>
                    <a:pt x="0" y="1180484"/>
                    <a:pt x="1180483" y="0"/>
                    <a:pt x="2636659" y="0"/>
                  </a:cubicBezTo>
                  <a:cubicBezTo>
                    <a:pt x="4092834" y="0"/>
                    <a:pt x="5273317" y="1180484"/>
                    <a:pt x="5273317" y="2636659"/>
                  </a:cubicBezTo>
                </a:path>
              </a:pathLst>
            </a:custGeom>
            <a:solidFill>
              <a:srgbClr val="A6E0FF"/>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217" name="Freeform: Shape 216">
              <a:extLst>
                <a:ext uri="{FF2B5EF4-FFF2-40B4-BE49-F238E27FC236}">
                  <a16:creationId xmlns:a16="http://schemas.microsoft.com/office/drawing/2014/main" id="{1AEB6DDE-26C1-7A0D-2107-06C0B15F6136}"/>
                </a:ext>
              </a:extLst>
            </p:cNvPr>
            <p:cNvSpPr/>
            <p:nvPr/>
          </p:nvSpPr>
          <p:spPr>
            <a:xfrm>
              <a:off x="5780422" y="2621454"/>
              <a:ext cx="631551" cy="315775"/>
            </a:xfrm>
            <a:custGeom>
              <a:avLst/>
              <a:gdLst>
                <a:gd name="connsiteX0" fmla="*/ 0 w 1768280"/>
                <a:gd name="connsiteY0" fmla="*/ 884140 h 884140"/>
                <a:gd name="connsiteX1" fmla="*/ 884140 w 1768280"/>
                <a:gd name="connsiteY1" fmla="*/ 0 h 884140"/>
                <a:gd name="connsiteX2" fmla="*/ 1768281 w 1768280"/>
                <a:gd name="connsiteY2" fmla="*/ 884140 h 884140"/>
              </a:gdLst>
              <a:ahLst/>
              <a:cxnLst>
                <a:cxn ang="0">
                  <a:pos x="connsiteX0" y="connsiteY0"/>
                </a:cxn>
                <a:cxn ang="0">
                  <a:pos x="connsiteX1" y="connsiteY1"/>
                </a:cxn>
                <a:cxn ang="0">
                  <a:pos x="connsiteX2" y="connsiteY2"/>
                </a:cxn>
              </a:cxnLst>
              <a:rect l="l" t="t" r="r" b="b"/>
              <a:pathLst>
                <a:path w="1768280" h="884140">
                  <a:moveTo>
                    <a:pt x="0" y="884140"/>
                  </a:moveTo>
                  <a:cubicBezTo>
                    <a:pt x="0" y="395878"/>
                    <a:pt x="395805" y="0"/>
                    <a:pt x="884140" y="0"/>
                  </a:cubicBezTo>
                  <a:cubicBezTo>
                    <a:pt x="1372475" y="0"/>
                    <a:pt x="1768281" y="395805"/>
                    <a:pt x="1768281" y="884140"/>
                  </a:cubicBezTo>
                </a:path>
              </a:pathLst>
            </a:custGeom>
            <a:solidFill>
              <a:srgbClr val="0070F2"/>
            </a:solidFill>
            <a:ln w="7292" cap="flat">
              <a:solidFill>
                <a:srgbClr val="0070F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218" name="Freeform: Shape 217">
              <a:extLst>
                <a:ext uri="{FF2B5EF4-FFF2-40B4-BE49-F238E27FC236}">
                  <a16:creationId xmlns:a16="http://schemas.microsoft.com/office/drawing/2014/main" id="{DC11A624-BF48-814D-0C42-52E5212C9AFF}"/>
                </a:ext>
              </a:extLst>
            </p:cNvPr>
            <p:cNvSpPr/>
            <p:nvPr/>
          </p:nvSpPr>
          <p:spPr>
            <a:xfrm rot="18304802">
              <a:off x="5525637" y="2280549"/>
              <a:ext cx="2606" cy="468398"/>
            </a:xfrm>
            <a:custGeom>
              <a:avLst/>
              <a:gdLst>
                <a:gd name="connsiteX0" fmla="*/ 0 w 7297"/>
                <a:gd name="connsiteY0" fmla="*/ 0 h 1311469"/>
                <a:gd name="connsiteX1" fmla="*/ 7297 w 7297"/>
                <a:gd name="connsiteY1" fmla="*/ 0 h 1311469"/>
                <a:gd name="connsiteX2" fmla="*/ 7297 w 7297"/>
                <a:gd name="connsiteY2" fmla="*/ 1311470 h 1311469"/>
                <a:gd name="connsiteX3" fmla="*/ 0 w 7297"/>
                <a:gd name="connsiteY3" fmla="*/ 1311470 h 1311469"/>
              </a:gdLst>
              <a:ahLst/>
              <a:cxnLst>
                <a:cxn ang="0">
                  <a:pos x="connsiteX0" y="connsiteY0"/>
                </a:cxn>
                <a:cxn ang="0">
                  <a:pos x="connsiteX1" y="connsiteY1"/>
                </a:cxn>
                <a:cxn ang="0">
                  <a:pos x="connsiteX2" y="connsiteY2"/>
                </a:cxn>
                <a:cxn ang="0">
                  <a:pos x="connsiteX3" y="connsiteY3"/>
                </a:cxn>
              </a:cxnLst>
              <a:rect l="l" t="t" r="r" b="b"/>
              <a:pathLst>
                <a:path w="7297" h="1311469">
                  <a:moveTo>
                    <a:pt x="0" y="0"/>
                  </a:moveTo>
                  <a:lnTo>
                    <a:pt x="7297" y="0"/>
                  </a:lnTo>
                  <a:lnTo>
                    <a:pt x="7297" y="1311470"/>
                  </a:lnTo>
                  <a:lnTo>
                    <a:pt x="0" y="1311470"/>
                  </a:lnTo>
                  <a:close/>
                </a:path>
              </a:pathLst>
            </a:custGeom>
            <a:gradFill>
              <a:gsLst>
                <a:gs pos="0">
                  <a:srgbClr val="4DB1FF"/>
                </a:gs>
                <a:gs pos="50000">
                  <a:srgbClr val="79C8FF"/>
                </a:gs>
                <a:gs pos="100000">
                  <a:srgbClr val="A6E0FF"/>
                </a:gs>
              </a:gsLst>
              <a:lin ang="3295198" scaled="1"/>
            </a:gradFill>
            <a:ln w="6350" cap="flat">
              <a:gradFill flip="none" rotWithShape="1">
                <a:gsLst>
                  <a:gs pos="0">
                    <a:srgbClr val="4DB1FF"/>
                  </a:gs>
                  <a:gs pos="100000">
                    <a:srgbClr val="4DB1FF">
                      <a:alpha val="0"/>
                    </a:srgbClr>
                  </a:gs>
                </a:gsLst>
                <a:lin ang="2700000" scaled="1"/>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219" name="Freeform: Shape 218">
              <a:extLst>
                <a:ext uri="{FF2B5EF4-FFF2-40B4-BE49-F238E27FC236}">
                  <a16:creationId xmlns:a16="http://schemas.microsoft.com/office/drawing/2014/main" id="{52E04F96-52BF-B10A-2093-D3CDB3D17504}"/>
                </a:ext>
              </a:extLst>
            </p:cNvPr>
            <p:cNvSpPr/>
            <p:nvPr/>
          </p:nvSpPr>
          <p:spPr>
            <a:xfrm rot="19472402">
              <a:off x="6432883" y="2513525"/>
              <a:ext cx="464229" cy="2606"/>
            </a:xfrm>
            <a:custGeom>
              <a:avLst/>
              <a:gdLst>
                <a:gd name="connsiteX0" fmla="*/ 0 w 1299794"/>
                <a:gd name="connsiteY0" fmla="*/ 0 h 7297"/>
                <a:gd name="connsiteX1" fmla="*/ 1299794 w 1299794"/>
                <a:gd name="connsiteY1" fmla="*/ 0 h 7297"/>
                <a:gd name="connsiteX2" fmla="*/ 1299794 w 1299794"/>
                <a:gd name="connsiteY2" fmla="*/ 7297 h 7297"/>
                <a:gd name="connsiteX3" fmla="*/ 0 w 1299794"/>
                <a:gd name="connsiteY3" fmla="*/ 7297 h 7297"/>
              </a:gdLst>
              <a:ahLst/>
              <a:cxnLst>
                <a:cxn ang="0">
                  <a:pos x="connsiteX0" y="connsiteY0"/>
                </a:cxn>
                <a:cxn ang="0">
                  <a:pos x="connsiteX1" y="connsiteY1"/>
                </a:cxn>
                <a:cxn ang="0">
                  <a:pos x="connsiteX2" y="connsiteY2"/>
                </a:cxn>
                <a:cxn ang="0">
                  <a:pos x="connsiteX3" y="connsiteY3"/>
                </a:cxn>
              </a:cxnLst>
              <a:rect l="l" t="t" r="r" b="b"/>
              <a:pathLst>
                <a:path w="1299794" h="7297">
                  <a:moveTo>
                    <a:pt x="0" y="0"/>
                  </a:moveTo>
                  <a:lnTo>
                    <a:pt x="1299794" y="0"/>
                  </a:lnTo>
                  <a:lnTo>
                    <a:pt x="1299794" y="7297"/>
                  </a:lnTo>
                  <a:lnTo>
                    <a:pt x="0" y="7297"/>
                  </a:lnTo>
                  <a:close/>
                </a:path>
              </a:pathLst>
            </a:custGeom>
            <a:gradFill>
              <a:gsLst>
                <a:gs pos="0">
                  <a:srgbClr val="4DB1FF"/>
                </a:gs>
                <a:gs pos="50000">
                  <a:srgbClr val="79C8FF"/>
                </a:gs>
                <a:gs pos="100000">
                  <a:srgbClr val="A6E0FF"/>
                </a:gs>
              </a:gsLst>
              <a:lin ang="3295198" scaled="1"/>
            </a:gradFill>
            <a:ln w="6350" cap="flat">
              <a:gradFill flip="none" rotWithShape="1">
                <a:gsLst>
                  <a:gs pos="0">
                    <a:srgbClr val="4DB1FF"/>
                  </a:gs>
                  <a:gs pos="100000">
                    <a:srgbClr val="4DB1FF">
                      <a:alpha val="0"/>
                    </a:srgbClr>
                  </a:gs>
                </a:gsLst>
                <a:lin ang="8100000" scaled="1"/>
                <a:tileRect/>
              </a:gradFill>
              <a:prstDash val="solid"/>
              <a:miter/>
            </a:ln>
          </p:spPr>
          <p:txBody>
            <a:bodyPr rtlCol="0" anchor="ctr"/>
            <a:lstStyle/>
            <a:p>
              <a:endParaRPr lang="en-US">
                <a:solidFill>
                  <a:srgbClr val="000000"/>
                </a:solidFill>
                <a:latin typeface="72 Brand"/>
              </a:endParaRPr>
            </a:p>
          </p:txBody>
        </p:sp>
        <p:sp>
          <p:nvSpPr>
            <p:cNvPr id="220" name="Freeform: Shape 219">
              <a:extLst>
                <a:ext uri="{FF2B5EF4-FFF2-40B4-BE49-F238E27FC236}">
                  <a16:creationId xmlns:a16="http://schemas.microsoft.com/office/drawing/2014/main" id="{BF9DF454-9C65-2EFF-6723-38DC8E418E7B}"/>
                </a:ext>
              </a:extLst>
            </p:cNvPr>
            <p:cNvSpPr/>
            <p:nvPr/>
          </p:nvSpPr>
          <p:spPr>
            <a:xfrm rot="17278800">
              <a:off x="6083146" y="2261741"/>
              <a:ext cx="464880" cy="2606"/>
            </a:xfrm>
            <a:custGeom>
              <a:avLst/>
              <a:gdLst>
                <a:gd name="connsiteX0" fmla="*/ 0 w 1301618"/>
                <a:gd name="connsiteY0" fmla="*/ 0 h 7297"/>
                <a:gd name="connsiteX1" fmla="*/ 1301618 w 1301618"/>
                <a:gd name="connsiteY1" fmla="*/ 0 h 7297"/>
                <a:gd name="connsiteX2" fmla="*/ 1301618 w 1301618"/>
                <a:gd name="connsiteY2" fmla="*/ 7297 h 7297"/>
                <a:gd name="connsiteX3" fmla="*/ 0 w 1301618"/>
                <a:gd name="connsiteY3" fmla="*/ 7297 h 7297"/>
              </a:gdLst>
              <a:ahLst/>
              <a:cxnLst>
                <a:cxn ang="0">
                  <a:pos x="connsiteX0" y="connsiteY0"/>
                </a:cxn>
                <a:cxn ang="0">
                  <a:pos x="connsiteX1" y="connsiteY1"/>
                </a:cxn>
                <a:cxn ang="0">
                  <a:pos x="connsiteX2" y="connsiteY2"/>
                </a:cxn>
                <a:cxn ang="0">
                  <a:pos x="connsiteX3" y="connsiteY3"/>
                </a:cxn>
              </a:cxnLst>
              <a:rect l="l" t="t" r="r" b="b"/>
              <a:pathLst>
                <a:path w="1301618" h="7297">
                  <a:moveTo>
                    <a:pt x="0" y="0"/>
                  </a:moveTo>
                  <a:lnTo>
                    <a:pt x="1301618" y="0"/>
                  </a:lnTo>
                  <a:lnTo>
                    <a:pt x="1301618" y="7297"/>
                  </a:lnTo>
                  <a:lnTo>
                    <a:pt x="0" y="7297"/>
                  </a:lnTo>
                  <a:close/>
                </a:path>
              </a:pathLst>
            </a:custGeom>
            <a:gradFill>
              <a:gsLst>
                <a:gs pos="0">
                  <a:srgbClr val="4DB1FF"/>
                </a:gs>
                <a:gs pos="50000">
                  <a:srgbClr val="79C8FF"/>
                </a:gs>
                <a:gs pos="100000">
                  <a:srgbClr val="A6E0FF"/>
                </a:gs>
              </a:gsLst>
              <a:lin ang="3295198" scaled="1"/>
            </a:gradFill>
            <a:ln w="6350" cap="flat">
              <a:gradFill flip="none" rotWithShape="1">
                <a:gsLst>
                  <a:gs pos="0">
                    <a:srgbClr val="4DB1FF"/>
                  </a:gs>
                  <a:gs pos="100000">
                    <a:srgbClr val="4DB1FF">
                      <a:alpha val="0"/>
                    </a:srgbClr>
                  </a:gs>
                </a:gsLst>
                <a:lin ang="8100000" scaled="1"/>
                <a:tileRect/>
              </a:gradFill>
              <a:prstDash val="solid"/>
              <a:miter/>
            </a:ln>
          </p:spPr>
          <p:txBody>
            <a:bodyPr rtlCol="0" anchor="ctr"/>
            <a:lstStyle/>
            <a:p>
              <a:endParaRPr lang="en-US">
                <a:solidFill>
                  <a:srgbClr val="000000"/>
                </a:solidFill>
                <a:latin typeface="72 Brand"/>
              </a:endParaRPr>
            </a:p>
          </p:txBody>
        </p:sp>
        <p:sp>
          <p:nvSpPr>
            <p:cNvPr id="221" name="Freeform: Shape 220">
              <a:extLst>
                <a:ext uri="{FF2B5EF4-FFF2-40B4-BE49-F238E27FC236}">
                  <a16:creationId xmlns:a16="http://schemas.microsoft.com/office/drawing/2014/main" id="{A6BCE37A-31AB-CC46-4B3E-1C40AD27E5D8}"/>
                </a:ext>
              </a:extLst>
            </p:cNvPr>
            <p:cNvSpPr/>
            <p:nvPr/>
          </p:nvSpPr>
          <p:spPr>
            <a:xfrm rot="20515199">
              <a:off x="5879008" y="2030528"/>
              <a:ext cx="2606" cy="464567"/>
            </a:xfrm>
            <a:custGeom>
              <a:avLst/>
              <a:gdLst>
                <a:gd name="connsiteX0" fmla="*/ 0 w 7297"/>
                <a:gd name="connsiteY0" fmla="*/ 0 h 1300742"/>
                <a:gd name="connsiteX1" fmla="*/ 7297 w 7297"/>
                <a:gd name="connsiteY1" fmla="*/ 0 h 1300742"/>
                <a:gd name="connsiteX2" fmla="*/ 7297 w 7297"/>
                <a:gd name="connsiteY2" fmla="*/ 1300743 h 1300742"/>
                <a:gd name="connsiteX3" fmla="*/ 0 w 7297"/>
                <a:gd name="connsiteY3" fmla="*/ 1300743 h 1300742"/>
              </a:gdLst>
              <a:ahLst/>
              <a:cxnLst>
                <a:cxn ang="0">
                  <a:pos x="connsiteX0" y="connsiteY0"/>
                </a:cxn>
                <a:cxn ang="0">
                  <a:pos x="connsiteX1" y="connsiteY1"/>
                </a:cxn>
                <a:cxn ang="0">
                  <a:pos x="connsiteX2" y="connsiteY2"/>
                </a:cxn>
                <a:cxn ang="0">
                  <a:pos x="connsiteX3" y="connsiteY3"/>
                </a:cxn>
              </a:cxnLst>
              <a:rect l="l" t="t" r="r" b="b"/>
              <a:pathLst>
                <a:path w="7297" h="1300742">
                  <a:moveTo>
                    <a:pt x="0" y="0"/>
                  </a:moveTo>
                  <a:lnTo>
                    <a:pt x="7297" y="0"/>
                  </a:lnTo>
                  <a:lnTo>
                    <a:pt x="7297" y="1300743"/>
                  </a:lnTo>
                  <a:lnTo>
                    <a:pt x="0" y="1300743"/>
                  </a:lnTo>
                  <a:close/>
                </a:path>
              </a:pathLst>
            </a:custGeom>
            <a:gradFill>
              <a:gsLst>
                <a:gs pos="0">
                  <a:srgbClr val="4DB1FF"/>
                </a:gs>
                <a:gs pos="50000">
                  <a:srgbClr val="79C8FF"/>
                </a:gs>
                <a:gs pos="100000">
                  <a:srgbClr val="A6E0FF"/>
                </a:gs>
              </a:gsLst>
              <a:lin ang="3295198" scaled="1"/>
            </a:gradFill>
            <a:ln w="6350" cap="flat">
              <a:gradFill flip="none" rotWithShape="1">
                <a:gsLst>
                  <a:gs pos="0">
                    <a:srgbClr val="4DB1FF"/>
                  </a:gs>
                  <a:gs pos="100000">
                    <a:srgbClr val="4DB1FF">
                      <a:alpha val="0"/>
                    </a:srgbClr>
                  </a:gs>
                </a:gsLst>
                <a:lin ang="2700000" scaled="1"/>
                <a:tileRect/>
              </a:gradFill>
              <a:prstDash val="solid"/>
              <a:miter/>
            </a:ln>
          </p:spPr>
          <p:txBody>
            <a:bodyPr rtlCol="0" anchor="ctr"/>
            <a:lstStyle/>
            <a:p>
              <a:endParaRPr lang="en-US">
                <a:solidFill>
                  <a:srgbClr val="000000"/>
                </a:solidFill>
                <a:latin typeface="72 Brand"/>
              </a:endParaRPr>
            </a:p>
          </p:txBody>
        </p:sp>
        <p:sp>
          <p:nvSpPr>
            <p:cNvPr id="222" name="Freeform: Shape 221">
              <a:extLst>
                <a:ext uri="{FF2B5EF4-FFF2-40B4-BE49-F238E27FC236}">
                  <a16:creationId xmlns:a16="http://schemas.microsoft.com/office/drawing/2014/main" id="{8C1248DC-3D33-E8AE-2C32-6F640D818956}"/>
                </a:ext>
              </a:extLst>
            </p:cNvPr>
            <p:cNvSpPr/>
            <p:nvPr/>
          </p:nvSpPr>
          <p:spPr>
            <a:xfrm>
              <a:off x="5621414" y="2459683"/>
              <a:ext cx="951705" cy="475853"/>
            </a:xfrm>
            <a:custGeom>
              <a:avLst/>
              <a:gdLst>
                <a:gd name="connsiteX0" fmla="*/ 2664680 w 2664680"/>
                <a:gd name="connsiteY0" fmla="*/ 1332340 h 1332340"/>
                <a:gd name="connsiteX1" fmla="*/ 2657383 w 2664680"/>
                <a:gd name="connsiteY1" fmla="*/ 1332340 h 1332340"/>
                <a:gd name="connsiteX2" fmla="*/ 1332340 w 2664680"/>
                <a:gd name="connsiteY2" fmla="*/ 7297 h 1332340"/>
                <a:gd name="connsiteX3" fmla="*/ 7297 w 2664680"/>
                <a:gd name="connsiteY3" fmla="*/ 1332340 h 1332340"/>
                <a:gd name="connsiteX4" fmla="*/ 0 w 2664680"/>
                <a:gd name="connsiteY4" fmla="*/ 1332340 h 1332340"/>
                <a:gd name="connsiteX5" fmla="*/ 1332340 w 2664680"/>
                <a:gd name="connsiteY5" fmla="*/ 0 h 1332340"/>
                <a:gd name="connsiteX6" fmla="*/ 2664680 w 2664680"/>
                <a:gd name="connsiteY6" fmla="*/ 1332340 h 1332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4680" h="1332340">
                  <a:moveTo>
                    <a:pt x="2664680" y="1332340"/>
                  </a:moveTo>
                  <a:lnTo>
                    <a:pt x="2657383" y="1332340"/>
                  </a:lnTo>
                  <a:cubicBezTo>
                    <a:pt x="2657383" y="601735"/>
                    <a:pt x="2062945" y="7297"/>
                    <a:pt x="1332340" y="7297"/>
                  </a:cubicBezTo>
                  <a:cubicBezTo>
                    <a:pt x="601735" y="7297"/>
                    <a:pt x="7297" y="601735"/>
                    <a:pt x="7297" y="1332340"/>
                  </a:cubicBezTo>
                  <a:lnTo>
                    <a:pt x="0" y="1332340"/>
                  </a:lnTo>
                  <a:cubicBezTo>
                    <a:pt x="0" y="597722"/>
                    <a:pt x="597721" y="0"/>
                    <a:pt x="1332340" y="0"/>
                  </a:cubicBezTo>
                  <a:cubicBezTo>
                    <a:pt x="2066959" y="0"/>
                    <a:pt x="2664680" y="597722"/>
                    <a:pt x="2664680" y="1332340"/>
                  </a:cubicBezTo>
                  <a:close/>
                </a:path>
              </a:pathLst>
            </a:custGeom>
            <a:gradFill>
              <a:gsLst>
                <a:gs pos="0">
                  <a:srgbClr val="4DB1FF"/>
                </a:gs>
                <a:gs pos="50000">
                  <a:srgbClr val="79C8FF"/>
                </a:gs>
                <a:gs pos="100000">
                  <a:srgbClr val="A6E0FF"/>
                </a:gs>
              </a:gsLst>
              <a:lin ang="3295198" scaled="1"/>
            </a:gradFill>
            <a:ln w="6350" cap="flat">
              <a:gradFill>
                <a:gsLst>
                  <a:gs pos="0">
                    <a:srgbClr val="4DB1FF"/>
                  </a:gs>
                  <a:gs pos="100000">
                    <a:srgbClr val="4DB1FF">
                      <a:alpha val="0"/>
                    </a:srgbClr>
                  </a:gs>
                </a:gsLst>
                <a:lin ang="5400000" scaled="1"/>
              </a:gradFill>
              <a:prstDash val="solid"/>
              <a:miter/>
            </a:ln>
          </p:spPr>
          <p:txBody>
            <a:bodyPr rtlCol="0" anchor="ctr"/>
            <a:lstStyle/>
            <a:p>
              <a:endParaRPr lang="en-US">
                <a:solidFill>
                  <a:srgbClr val="000000"/>
                </a:solidFill>
                <a:latin typeface="72 Brand"/>
              </a:endParaRPr>
            </a:p>
          </p:txBody>
        </p:sp>
        <p:sp>
          <p:nvSpPr>
            <p:cNvPr id="223" name="Freeform: Shape 222">
              <a:extLst>
                <a:ext uri="{FF2B5EF4-FFF2-40B4-BE49-F238E27FC236}">
                  <a16:creationId xmlns:a16="http://schemas.microsoft.com/office/drawing/2014/main" id="{E01CCA54-A3B1-47CC-4FCE-3F0AC9F4EFA4}"/>
                </a:ext>
              </a:extLst>
            </p:cNvPr>
            <p:cNvSpPr/>
            <p:nvPr/>
          </p:nvSpPr>
          <p:spPr>
            <a:xfrm rot="18344400">
              <a:off x="5166251" y="2192322"/>
              <a:ext cx="3258" cy="135708"/>
            </a:xfrm>
            <a:custGeom>
              <a:avLst/>
              <a:gdLst>
                <a:gd name="connsiteX0" fmla="*/ 0 w 9121"/>
                <a:gd name="connsiteY0" fmla="*/ 0 h 379970"/>
                <a:gd name="connsiteX1" fmla="*/ 9122 w 9121"/>
                <a:gd name="connsiteY1" fmla="*/ 0 h 379970"/>
                <a:gd name="connsiteX2" fmla="*/ 9122 w 9121"/>
                <a:gd name="connsiteY2" fmla="*/ 379970 h 379970"/>
                <a:gd name="connsiteX3" fmla="*/ 0 w 9121"/>
                <a:gd name="connsiteY3" fmla="*/ 379970 h 379970"/>
              </a:gdLst>
              <a:ahLst/>
              <a:cxnLst>
                <a:cxn ang="0">
                  <a:pos x="connsiteX0" y="connsiteY0"/>
                </a:cxn>
                <a:cxn ang="0">
                  <a:pos x="connsiteX1" y="connsiteY1"/>
                </a:cxn>
                <a:cxn ang="0">
                  <a:pos x="connsiteX2" y="connsiteY2"/>
                </a:cxn>
                <a:cxn ang="0">
                  <a:pos x="connsiteX3" y="connsiteY3"/>
                </a:cxn>
              </a:cxnLst>
              <a:rect l="l" t="t" r="r" b="b"/>
              <a:pathLst>
                <a:path w="9121" h="379970">
                  <a:moveTo>
                    <a:pt x="0" y="0"/>
                  </a:moveTo>
                  <a:lnTo>
                    <a:pt x="9122" y="0"/>
                  </a:lnTo>
                  <a:lnTo>
                    <a:pt x="9122" y="379970"/>
                  </a:lnTo>
                  <a:lnTo>
                    <a:pt x="0" y="379970"/>
                  </a:lnTo>
                  <a:close/>
                </a:path>
              </a:pathLst>
            </a:custGeom>
            <a:gradFill>
              <a:gsLst>
                <a:gs pos="0">
                  <a:srgbClr val="4DB1FF"/>
                </a:gs>
                <a:gs pos="50000">
                  <a:srgbClr val="79C8FF"/>
                </a:gs>
                <a:gs pos="100000">
                  <a:srgbClr val="A6E0FF"/>
                </a:gs>
              </a:gsLst>
              <a:lin ang="3295198" scaled="1"/>
            </a:gradFill>
            <a:ln w="6350" cap="flat">
              <a:gradFill flip="none" rotWithShape="1">
                <a:gsLst>
                  <a:gs pos="0">
                    <a:schemeClr val="bg1"/>
                  </a:gs>
                  <a:gs pos="100000">
                    <a:schemeClr val="bg1">
                      <a:alpha val="0"/>
                    </a:schemeClr>
                  </a:gs>
                </a:gsLst>
                <a:lin ang="16200000" scaled="1"/>
                <a:tileRect/>
              </a:gradFill>
              <a:prstDash val="solid"/>
              <a:miter/>
            </a:ln>
          </p:spPr>
          <p:txBody>
            <a:bodyPr rtlCol="0" anchor="ctr"/>
            <a:lstStyle/>
            <a:p>
              <a:endParaRPr lang="en-US">
                <a:solidFill>
                  <a:srgbClr val="000000"/>
                </a:solidFill>
                <a:latin typeface="72 Brand"/>
              </a:endParaRPr>
            </a:p>
          </p:txBody>
        </p:sp>
        <p:sp>
          <p:nvSpPr>
            <p:cNvPr id="224" name="Freeform: Shape 223">
              <a:extLst>
                <a:ext uri="{FF2B5EF4-FFF2-40B4-BE49-F238E27FC236}">
                  <a16:creationId xmlns:a16="http://schemas.microsoft.com/office/drawing/2014/main" id="{203AA40C-FB0D-257E-D5C9-EAB826FFB4FF}"/>
                </a:ext>
              </a:extLst>
            </p:cNvPr>
            <p:cNvSpPr/>
            <p:nvPr/>
          </p:nvSpPr>
          <p:spPr>
            <a:xfrm rot="19454999">
              <a:off x="6957278" y="2257366"/>
              <a:ext cx="135708" cy="3258"/>
            </a:xfrm>
            <a:custGeom>
              <a:avLst/>
              <a:gdLst>
                <a:gd name="connsiteX0" fmla="*/ 0 w 379970"/>
                <a:gd name="connsiteY0" fmla="*/ 0 h 9121"/>
                <a:gd name="connsiteX1" fmla="*/ 379970 w 379970"/>
                <a:gd name="connsiteY1" fmla="*/ 0 h 9121"/>
                <a:gd name="connsiteX2" fmla="*/ 379970 w 379970"/>
                <a:gd name="connsiteY2" fmla="*/ 9122 h 9121"/>
                <a:gd name="connsiteX3" fmla="*/ 0 w 379970"/>
                <a:gd name="connsiteY3" fmla="*/ 9122 h 9121"/>
              </a:gdLst>
              <a:ahLst/>
              <a:cxnLst>
                <a:cxn ang="0">
                  <a:pos x="connsiteX0" y="connsiteY0"/>
                </a:cxn>
                <a:cxn ang="0">
                  <a:pos x="connsiteX1" y="connsiteY1"/>
                </a:cxn>
                <a:cxn ang="0">
                  <a:pos x="connsiteX2" y="connsiteY2"/>
                </a:cxn>
                <a:cxn ang="0">
                  <a:pos x="connsiteX3" y="connsiteY3"/>
                </a:cxn>
              </a:cxnLst>
              <a:rect l="l" t="t" r="r" b="b"/>
              <a:pathLst>
                <a:path w="379970" h="9121">
                  <a:moveTo>
                    <a:pt x="0" y="0"/>
                  </a:moveTo>
                  <a:lnTo>
                    <a:pt x="379970" y="0"/>
                  </a:lnTo>
                  <a:lnTo>
                    <a:pt x="379970" y="9122"/>
                  </a:lnTo>
                  <a:lnTo>
                    <a:pt x="0" y="9122"/>
                  </a:lnTo>
                  <a:close/>
                </a:path>
              </a:pathLst>
            </a:custGeom>
            <a:gradFill>
              <a:gsLst>
                <a:gs pos="0">
                  <a:srgbClr val="4DB1FF"/>
                </a:gs>
                <a:gs pos="50000">
                  <a:srgbClr val="79C8FF"/>
                </a:gs>
                <a:gs pos="100000">
                  <a:srgbClr val="A6E0FF"/>
                </a:gs>
              </a:gsLst>
              <a:lin ang="3295198" scaled="1"/>
            </a:gradFill>
            <a:ln w="6350" cap="flat">
              <a:gradFill flip="none" rotWithShape="1">
                <a:gsLst>
                  <a:gs pos="0">
                    <a:schemeClr val="bg1"/>
                  </a:gs>
                  <a:gs pos="100000">
                    <a:schemeClr val="bg1">
                      <a:alpha val="0"/>
                    </a:schemeClr>
                  </a:gs>
                </a:gsLst>
                <a:lin ang="0" scaled="1"/>
                <a:tileRect/>
              </a:gradFill>
              <a:prstDash val="solid"/>
              <a:miter/>
            </a:ln>
          </p:spPr>
          <p:txBody>
            <a:bodyPr rtlCol="0" anchor="ctr"/>
            <a:lstStyle/>
            <a:p>
              <a:endParaRPr lang="en-US">
                <a:solidFill>
                  <a:srgbClr val="000000"/>
                </a:solidFill>
                <a:latin typeface="72 Brand"/>
              </a:endParaRPr>
            </a:p>
          </p:txBody>
        </p:sp>
        <p:sp>
          <p:nvSpPr>
            <p:cNvPr id="225" name="Freeform: Shape 224">
              <a:extLst>
                <a:ext uri="{FF2B5EF4-FFF2-40B4-BE49-F238E27FC236}">
                  <a16:creationId xmlns:a16="http://schemas.microsoft.com/office/drawing/2014/main" id="{105777D1-279C-C6DF-6358-7F32526DF4F9}"/>
                </a:ext>
              </a:extLst>
            </p:cNvPr>
            <p:cNvSpPr/>
            <p:nvPr/>
          </p:nvSpPr>
          <p:spPr>
            <a:xfrm rot="20471400">
              <a:off x="5739614" y="1775777"/>
              <a:ext cx="3258" cy="135839"/>
            </a:xfrm>
            <a:custGeom>
              <a:avLst/>
              <a:gdLst>
                <a:gd name="connsiteX0" fmla="*/ 0 w 9121"/>
                <a:gd name="connsiteY0" fmla="*/ 0 h 380335"/>
                <a:gd name="connsiteX1" fmla="*/ 9122 w 9121"/>
                <a:gd name="connsiteY1" fmla="*/ 0 h 380335"/>
                <a:gd name="connsiteX2" fmla="*/ 9122 w 9121"/>
                <a:gd name="connsiteY2" fmla="*/ 380335 h 380335"/>
                <a:gd name="connsiteX3" fmla="*/ 0 w 9121"/>
                <a:gd name="connsiteY3" fmla="*/ 380335 h 380335"/>
              </a:gdLst>
              <a:ahLst/>
              <a:cxnLst>
                <a:cxn ang="0">
                  <a:pos x="connsiteX0" y="connsiteY0"/>
                </a:cxn>
                <a:cxn ang="0">
                  <a:pos x="connsiteX1" y="connsiteY1"/>
                </a:cxn>
                <a:cxn ang="0">
                  <a:pos x="connsiteX2" y="connsiteY2"/>
                </a:cxn>
                <a:cxn ang="0">
                  <a:pos x="connsiteX3" y="connsiteY3"/>
                </a:cxn>
              </a:cxnLst>
              <a:rect l="l" t="t" r="r" b="b"/>
              <a:pathLst>
                <a:path w="9121" h="380335">
                  <a:moveTo>
                    <a:pt x="0" y="0"/>
                  </a:moveTo>
                  <a:lnTo>
                    <a:pt x="9122" y="0"/>
                  </a:lnTo>
                  <a:lnTo>
                    <a:pt x="9122" y="380335"/>
                  </a:lnTo>
                  <a:lnTo>
                    <a:pt x="0" y="380335"/>
                  </a:lnTo>
                  <a:close/>
                </a:path>
              </a:pathLst>
            </a:custGeom>
            <a:gradFill>
              <a:gsLst>
                <a:gs pos="0">
                  <a:srgbClr val="4DB1FF"/>
                </a:gs>
                <a:gs pos="50000">
                  <a:srgbClr val="79C8FF"/>
                </a:gs>
                <a:gs pos="100000">
                  <a:srgbClr val="A6E0FF"/>
                </a:gs>
              </a:gsLst>
              <a:lin ang="3295198" scaled="1"/>
            </a:gradFill>
            <a:ln w="6350" cap="flat">
              <a:gradFill flip="none" rotWithShape="1">
                <a:gsLst>
                  <a:gs pos="0">
                    <a:schemeClr val="bg1"/>
                  </a:gs>
                  <a:gs pos="100000">
                    <a:schemeClr val="bg1">
                      <a:alpha val="0"/>
                    </a:schemeClr>
                  </a:gs>
                </a:gsLst>
                <a:lin ang="16200000" scaled="1"/>
                <a:tileRect/>
              </a:gradFill>
              <a:prstDash val="solid"/>
              <a:miter/>
            </a:ln>
          </p:spPr>
          <p:txBody>
            <a:bodyPr rtlCol="0" anchor="ctr"/>
            <a:lstStyle/>
            <a:p>
              <a:endParaRPr lang="en-US">
                <a:solidFill>
                  <a:srgbClr val="000000"/>
                </a:solidFill>
                <a:latin typeface="72 Brand"/>
              </a:endParaRPr>
            </a:p>
          </p:txBody>
        </p:sp>
        <p:sp>
          <p:nvSpPr>
            <p:cNvPr id="226" name="Freeform: Shape 225">
              <a:extLst>
                <a:ext uri="{FF2B5EF4-FFF2-40B4-BE49-F238E27FC236}">
                  <a16:creationId xmlns:a16="http://schemas.microsoft.com/office/drawing/2014/main" id="{C149061D-C9CE-1BB8-FA47-6F7DAF8DCB2A}"/>
                </a:ext>
              </a:extLst>
            </p:cNvPr>
            <p:cNvSpPr/>
            <p:nvPr/>
          </p:nvSpPr>
          <p:spPr>
            <a:xfrm rot="17343600">
              <a:off x="6387318" y="1843369"/>
              <a:ext cx="136699" cy="3258"/>
            </a:xfrm>
            <a:custGeom>
              <a:avLst/>
              <a:gdLst>
                <a:gd name="connsiteX0" fmla="*/ 0 w 382743"/>
                <a:gd name="connsiteY0" fmla="*/ 0 h 9121"/>
                <a:gd name="connsiteX1" fmla="*/ 382743 w 382743"/>
                <a:gd name="connsiteY1" fmla="*/ 0 h 9121"/>
                <a:gd name="connsiteX2" fmla="*/ 382743 w 382743"/>
                <a:gd name="connsiteY2" fmla="*/ 9122 h 9121"/>
                <a:gd name="connsiteX3" fmla="*/ 0 w 382743"/>
                <a:gd name="connsiteY3" fmla="*/ 9122 h 9121"/>
              </a:gdLst>
              <a:ahLst/>
              <a:cxnLst>
                <a:cxn ang="0">
                  <a:pos x="connsiteX0" y="connsiteY0"/>
                </a:cxn>
                <a:cxn ang="0">
                  <a:pos x="connsiteX1" y="connsiteY1"/>
                </a:cxn>
                <a:cxn ang="0">
                  <a:pos x="connsiteX2" y="connsiteY2"/>
                </a:cxn>
                <a:cxn ang="0">
                  <a:pos x="connsiteX3" y="connsiteY3"/>
                </a:cxn>
              </a:cxnLst>
              <a:rect l="l" t="t" r="r" b="b"/>
              <a:pathLst>
                <a:path w="382743" h="9121">
                  <a:moveTo>
                    <a:pt x="0" y="0"/>
                  </a:moveTo>
                  <a:lnTo>
                    <a:pt x="382743" y="0"/>
                  </a:lnTo>
                  <a:lnTo>
                    <a:pt x="382743" y="9122"/>
                  </a:lnTo>
                  <a:lnTo>
                    <a:pt x="0" y="9122"/>
                  </a:lnTo>
                  <a:close/>
                </a:path>
              </a:pathLst>
            </a:custGeom>
            <a:gradFill>
              <a:gsLst>
                <a:gs pos="0">
                  <a:srgbClr val="4DB1FF"/>
                </a:gs>
                <a:gs pos="50000">
                  <a:srgbClr val="79C8FF"/>
                </a:gs>
                <a:gs pos="100000">
                  <a:srgbClr val="A6E0FF"/>
                </a:gs>
              </a:gsLst>
              <a:lin ang="3295198" scaled="1"/>
            </a:gradFill>
            <a:ln w="6350" cap="flat">
              <a:gradFill flip="none" rotWithShape="1">
                <a:gsLst>
                  <a:gs pos="0">
                    <a:schemeClr val="bg1"/>
                  </a:gs>
                  <a:gs pos="100000">
                    <a:schemeClr val="bg1">
                      <a:alpha val="0"/>
                    </a:schemeClr>
                  </a:gs>
                </a:gsLst>
                <a:lin ang="0" scaled="1"/>
                <a:tileRect/>
              </a:gradFill>
              <a:prstDash val="solid"/>
              <a:miter/>
            </a:ln>
          </p:spPr>
          <p:txBody>
            <a:bodyPr rtlCol="0" anchor="ctr"/>
            <a:lstStyle/>
            <a:p>
              <a:endParaRPr lang="en-US">
                <a:solidFill>
                  <a:srgbClr val="000000"/>
                </a:solidFill>
                <a:latin typeface="72 Brand"/>
              </a:endParaRPr>
            </a:p>
          </p:txBody>
        </p:sp>
      </p:grpSp>
    </p:spTree>
    <p:extLst>
      <p:ext uri="{BB962C8B-B14F-4D97-AF65-F5344CB8AC3E}">
        <p14:creationId xmlns:p14="http://schemas.microsoft.com/office/powerpoint/2010/main" val="16044137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DD0CFA-2CA5-9C89-ACBB-5CE53ECCBCC2}"/>
              </a:ext>
            </a:extLst>
          </p:cNvPr>
          <p:cNvSpPr>
            <a:spLocks noGrp="1"/>
          </p:cNvSpPr>
          <p:nvPr>
            <p:ph type="title"/>
          </p:nvPr>
        </p:nvSpPr>
        <p:spPr>
          <a:xfrm>
            <a:off x="554139" y="490635"/>
            <a:ext cx="11061897" cy="584775"/>
          </a:xfrm>
        </p:spPr>
        <p:txBody>
          <a:bodyPr/>
          <a:lstStyle/>
          <a:p>
            <a:r>
              <a:rPr kumimoji="0" lang="en-US" sz="2400" b="1" i="0" u="none" strike="noStrike" kern="1200" cap="none" spc="0" normalizeH="0" baseline="0" noProof="0" dirty="0">
                <a:ln>
                  <a:noFill/>
                </a:ln>
                <a:gradFill>
                  <a:gsLst>
                    <a:gs pos="0">
                      <a:srgbClr val="000000"/>
                    </a:gs>
                    <a:gs pos="100000">
                      <a:srgbClr val="000000"/>
                    </a:gs>
                  </a:gsLst>
                  <a:lin ang="18900000" scaled="1"/>
                </a:gradFill>
                <a:effectLst/>
                <a:uLnTx/>
                <a:uFillTx/>
                <a:latin typeface="72 Brand Medium"/>
                <a:ea typeface="+mj-ea"/>
                <a:cs typeface="+mj-cs"/>
              </a:rPr>
              <a:t>RISE with SAP Methodology</a:t>
            </a:r>
            <a:br>
              <a:rPr kumimoji="0" lang="en-US" sz="2397" b="0" i="0" u="none" strike="noStrike" kern="1200" cap="none" spc="0" normalizeH="0" baseline="0" noProof="0" dirty="0">
                <a:ln>
                  <a:noFill/>
                </a:ln>
                <a:gradFill>
                  <a:gsLst>
                    <a:gs pos="0">
                      <a:srgbClr val="000000"/>
                    </a:gs>
                    <a:gs pos="100000">
                      <a:srgbClr val="000000"/>
                    </a:gs>
                  </a:gsLst>
                  <a:lin ang="5400000" scaled="1"/>
                </a:gradFill>
                <a:effectLst/>
                <a:uLnTx/>
                <a:uFillTx/>
                <a:latin typeface="72 Brand Medium" panose="020B0504030603020204" pitchFamily="34" charset="0"/>
                <a:ea typeface="+mj-ea"/>
                <a:cs typeface="+mj-cs"/>
              </a:rPr>
            </a:br>
            <a:r>
              <a:rPr kumimoji="0" lang="en-US" sz="1400" b="0" i="0" u="none" strike="noStrike" kern="1200" cap="none" spc="0" normalizeH="0" baseline="0" noProof="0" dirty="0">
                <a:ln>
                  <a:noFill/>
                </a:ln>
                <a:solidFill>
                  <a:srgbClr val="000000"/>
                </a:solidFill>
                <a:effectLst/>
                <a:uLnTx/>
                <a:uFillTx/>
                <a:latin typeface="72 Brand"/>
                <a:ea typeface="+mj-ea"/>
                <a:cs typeface="+mj-cs"/>
              </a:rPr>
              <a:t>Transformation and continuous innovation </a:t>
            </a:r>
            <a:endParaRPr lang="de-DE" dirty="0"/>
          </a:p>
        </p:txBody>
      </p:sp>
      <p:pic>
        <p:nvPicPr>
          <p:cNvPr id="3" name="Picture 23">
            <a:extLst>
              <a:ext uri="{FF2B5EF4-FFF2-40B4-BE49-F238E27FC236}">
                <a16:creationId xmlns:a16="http://schemas.microsoft.com/office/drawing/2014/main" id="{313077E0-A610-9973-7D14-2E5E5CB95754}"/>
              </a:ext>
            </a:extLst>
          </p:cNvPr>
          <p:cNvPicPr>
            <a:picLocks noChangeAspect="1"/>
          </p:cNvPicPr>
          <p:nvPr/>
        </p:nvPicPr>
        <p:blipFill>
          <a:blip r:embed="rId3"/>
          <a:stretch>
            <a:fillRect/>
          </a:stretch>
        </p:blipFill>
        <p:spPr>
          <a:xfrm>
            <a:off x="4103839" y="1218639"/>
            <a:ext cx="7580551" cy="4504065"/>
          </a:xfrm>
          <a:prstGeom prst="rect">
            <a:avLst/>
          </a:prstGeom>
        </p:spPr>
      </p:pic>
      <p:grpSp>
        <p:nvGrpSpPr>
          <p:cNvPr id="4" name="Gruppieren 3">
            <a:extLst>
              <a:ext uri="{FF2B5EF4-FFF2-40B4-BE49-F238E27FC236}">
                <a16:creationId xmlns:a16="http://schemas.microsoft.com/office/drawing/2014/main" id="{ACE87960-B977-D628-1D85-0B82D1FEE5F6}"/>
              </a:ext>
            </a:extLst>
          </p:cNvPr>
          <p:cNvGrpSpPr/>
          <p:nvPr/>
        </p:nvGrpSpPr>
        <p:grpSpPr>
          <a:xfrm>
            <a:off x="501389" y="5122033"/>
            <a:ext cx="4349814" cy="981165"/>
            <a:chOff x="501650" y="5122915"/>
            <a:chExt cx="4352080" cy="981676"/>
          </a:xfrm>
        </p:grpSpPr>
        <p:grpSp>
          <p:nvGrpSpPr>
            <p:cNvPr id="5" name="Gruppieren 4">
              <a:extLst>
                <a:ext uri="{FF2B5EF4-FFF2-40B4-BE49-F238E27FC236}">
                  <a16:creationId xmlns:a16="http://schemas.microsoft.com/office/drawing/2014/main" id="{1E059F68-9E8C-3F04-9ADA-986A318D7700}"/>
                </a:ext>
              </a:extLst>
            </p:cNvPr>
            <p:cNvGrpSpPr/>
            <p:nvPr/>
          </p:nvGrpSpPr>
          <p:grpSpPr>
            <a:xfrm>
              <a:off x="501650" y="5122915"/>
              <a:ext cx="2297031" cy="215444"/>
              <a:chOff x="501650" y="5122915"/>
              <a:chExt cx="2297031" cy="215444"/>
            </a:xfrm>
          </p:grpSpPr>
          <p:sp>
            <p:nvSpPr>
              <p:cNvPr id="12" name="Rectangle 1256">
                <a:extLst>
                  <a:ext uri="{FF2B5EF4-FFF2-40B4-BE49-F238E27FC236}">
                    <a16:creationId xmlns:a16="http://schemas.microsoft.com/office/drawing/2014/main" id="{2A121DAB-682B-F293-F8DA-2756AAD6E9DF}"/>
                  </a:ext>
                </a:extLst>
              </p:cNvPr>
              <p:cNvSpPr/>
              <p:nvPr/>
            </p:nvSpPr>
            <p:spPr bwMode="auto">
              <a:xfrm>
                <a:off x="501650" y="5123781"/>
                <a:ext cx="206375" cy="206375"/>
              </a:xfrm>
              <a:prstGeom prst="rect">
                <a:avLst/>
              </a:prstGeom>
              <a:solidFill>
                <a:srgbClr val="0057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ctr" anchorCtr="0" forceAA="0" compatLnSpc="1">
                <a:prstTxWarp prst="textNoShape">
                  <a:avLst/>
                </a:prstTxWarp>
                <a:noAutofit/>
              </a:bodyPr>
              <a:lstStyle/>
              <a:p>
                <a:pPr defTabSz="932006" fontAlgn="base">
                  <a:spcBef>
                    <a:spcPct val="0"/>
                  </a:spcBef>
                  <a:spcAft>
                    <a:spcPct val="0"/>
                  </a:spcAft>
                  <a:defRPr/>
                </a:pPr>
                <a:endParaRPr lang="en-US" sz="1999">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13" name="TextBox 1258">
                <a:extLst>
                  <a:ext uri="{FF2B5EF4-FFF2-40B4-BE49-F238E27FC236}">
                    <a16:creationId xmlns:a16="http://schemas.microsoft.com/office/drawing/2014/main" id="{DD06E742-1738-593C-3FFA-31DA1AFF82F0}"/>
                  </a:ext>
                </a:extLst>
              </p:cNvPr>
              <p:cNvSpPr txBox="1"/>
              <p:nvPr/>
            </p:nvSpPr>
            <p:spPr>
              <a:xfrm>
                <a:off x="839811" y="5122915"/>
                <a:ext cx="1958870" cy="215444"/>
              </a:xfrm>
              <a:prstGeom prst="rect">
                <a:avLst/>
              </a:prstGeom>
              <a:noFill/>
            </p:spPr>
            <p:txBody>
              <a:bodyPr wrap="none" lIns="0" tIns="0" rIns="0" bIns="0" rtlCol="0" anchor="ctr" anchorCtr="0">
                <a:spAutoFit/>
              </a:bodyPr>
              <a:lstStyle/>
              <a:p>
                <a:pPr defTabSz="1087688" fontAlgn="base">
                  <a:spcBef>
                    <a:spcPct val="50000"/>
                  </a:spcBef>
                  <a:spcAft>
                    <a:spcPct val="0"/>
                  </a:spcAft>
                  <a:buClr>
                    <a:srgbClr val="F0AB00"/>
                  </a:buClr>
                  <a:buSzPct val="80000"/>
                  <a:defRPr/>
                </a:pPr>
                <a:r>
                  <a:rPr lang="en-US" sz="1399" kern="0">
                    <a:gradFill>
                      <a:gsLst>
                        <a:gs pos="0">
                          <a:srgbClr val="000000"/>
                        </a:gs>
                        <a:gs pos="100000">
                          <a:srgbClr val="000000"/>
                        </a:gs>
                      </a:gsLst>
                      <a:lin ang="2700000" scaled="1"/>
                    </a:gradFill>
                    <a:latin typeface="72 Brand" panose="020B0504030603020204" pitchFamily="34" charset="0"/>
                    <a:ea typeface="Arial Unicode MS" pitchFamily="34" charset="-128"/>
                    <a:cs typeface="Arial Unicode MS" pitchFamily="34" charset="-128"/>
                  </a:rPr>
                  <a:t>Standardized framework</a:t>
                </a:r>
              </a:p>
            </p:txBody>
          </p:sp>
        </p:grpSp>
        <p:grpSp>
          <p:nvGrpSpPr>
            <p:cNvPr id="6" name="Gruppieren 5">
              <a:extLst>
                <a:ext uri="{FF2B5EF4-FFF2-40B4-BE49-F238E27FC236}">
                  <a16:creationId xmlns:a16="http://schemas.microsoft.com/office/drawing/2014/main" id="{07283866-7CA8-AE9C-D7DC-A9651F9CEA98}"/>
                </a:ext>
              </a:extLst>
            </p:cNvPr>
            <p:cNvGrpSpPr/>
            <p:nvPr/>
          </p:nvGrpSpPr>
          <p:grpSpPr>
            <a:xfrm>
              <a:off x="501650" y="5509139"/>
              <a:ext cx="3079296" cy="215444"/>
              <a:chOff x="501650" y="5509139"/>
              <a:chExt cx="3079296" cy="215444"/>
            </a:xfrm>
          </p:grpSpPr>
          <p:sp>
            <p:nvSpPr>
              <p:cNvPr id="10" name="Rectangle 1257">
                <a:extLst>
                  <a:ext uri="{FF2B5EF4-FFF2-40B4-BE49-F238E27FC236}">
                    <a16:creationId xmlns:a16="http://schemas.microsoft.com/office/drawing/2014/main" id="{3B19F810-13A4-F34E-CEE4-66599F4EE5A1}"/>
                  </a:ext>
                </a:extLst>
              </p:cNvPr>
              <p:cNvSpPr/>
              <p:nvPr/>
            </p:nvSpPr>
            <p:spPr bwMode="auto">
              <a:xfrm>
                <a:off x="501650" y="5517523"/>
                <a:ext cx="206375" cy="206375"/>
              </a:xfrm>
              <a:prstGeom prst="rect">
                <a:avLst/>
              </a:prstGeom>
              <a:solidFill>
                <a:srgbClr val="002A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ctr" anchorCtr="0" forceAA="0" compatLnSpc="1">
                <a:prstTxWarp prst="textNoShape">
                  <a:avLst/>
                </a:prstTxWarp>
                <a:noAutofit/>
              </a:bodyPr>
              <a:lstStyle/>
              <a:p>
                <a:pPr defTabSz="932006" fontAlgn="base">
                  <a:spcBef>
                    <a:spcPct val="0"/>
                  </a:spcBef>
                  <a:spcAft>
                    <a:spcPct val="0"/>
                  </a:spcAft>
                  <a:defRPr/>
                </a:pPr>
                <a:endParaRPr lang="en-US" sz="1999">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11" name="TextBox 1259">
                <a:extLst>
                  <a:ext uri="{FF2B5EF4-FFF2-40B4-BE49-F238E27FC236}">
                    <a16:creationId xmlns:a16="http://schemas.microsoft.com/office/drawing/2014/main" id="{4AA48B9C-D876-995A-0C78-2D5A53EFADC5}"/>
                  </a:ext>
                </a:extLst>
              </p:cNvPr>
              <p:cNvSpPr txBox="1"/>
              <p:nvPr/>
            </p:nvSpPr>
            <p:spPr>
              <a:xfrm>
                <a:off x="839811" y="5509139"/>
                <a:ext cx="2741135" cy="215444"/>
              </a:xfrm>
              <a:prstGeom prst="rect">
                <a:avLst/>
              </a:prstGeom>
              <a:noFill/>
            </p:spPr>
            <p:txBody>
              <a:bodyPr wrap="none" lIns="0" tIns="0" rIns="0" bIns="0" rtlCol="0" anchor="ctr" anchorCtr="0">
                <a:spAutoFit/>
              </a:bodyPr>
              <a:lstStyle/>
              <a:p>
                <a:pPr defTabSz="1087688" fontAlgn="base">
                  <a:spcBef>
                    <a:spcPct val="50000"/>
                  </a:spcBef>
                  <a:spcAft>
                    <a:spcPct val="0"/>
                  </a:spcAft>
                  <a:buClr>
                    <a:srgbClr val="F0AB00"/>
                  </a:buClr>
                  <a:buSzPct val="80000"/>
                  <a:defRPr/>
                </a:pPr>
                <a:r>
                  <a:rPr lang="en-US" sz="1399" kern="0">
                    <a:gradFill>
                      <a:gsLst>
                        <a:gs pos="0">
                          <a:srgbClr val="000000"/>
                        </a:gs>
                        <a:gs pos="100000">
                          <a:srgbClr val="000000"/>
                        </a:gs>
                      </a:gsLst>
                      <a:lin ang="2700000" scaled="1"/>
                    </a:gradFill>
                    <a:latin typeface="72 Brand" panose="020B0504030603020204" pitchFamily="34" charset="0"/>
                    <a:ea typeface="Arial Unicode MS" pitchFamily="34" charset="-128"/>
                    <a:cs typeface="Arial Unicode MS" pitchFamily="34" charset="-128"/>
                  </a:rPr>
                  <a:t>Leveraging an integrated toolchain</a:t>
                </a:r>
              </a:p>
            </p:txBody>
          </p:sp>
        </p:grpSp>
        <p:grpSp>
          <p:nvGrpSpPr>
            <p:cNvPr id="7" name="Gruppieren 6">
              <a:extLst>
                <a:ext uri="{FF2B5EF4-FFF2-40B4-BE49-F238E27FC236}">
                  <a16:creationId xmlns:a16="http://schemas.microsoft.com/office/drawing/2014/main" id="{394FE4B3-A4AA-92DF-1B65-4FE15182764D}"/>
                </a:ext>
              </a:extLst>
            </p:cNvPr>
            <p:cNvGrpSpPr/>
            <p:nvPr/>
          </p:nvGrpSpPr>
          <p:grpSpPr>
            <a:xfrm>
              <a:off x="501650" y="5889147"/>
              <a:ext cx="4352080" cy="215444"/>
              <a:chOff x="501650" y="5889147"/>
              <a:chExt cx="4352080" cy="215444"/>
            </a:xfrm>
          </p:grpSpPr>
          <p:sp>
            <p:nvSpPr>
              <p:cNvPr id="8" name="TextBox 1260">
                <a:extLst>
                  <a:ext uri="{FF2B5EF4-FFF2-40B4-BE49-F238E27FC236}">
                    <a16:creationId xmlns:a16="http://schemas.microsoft.com/office/drawing/2014/main" id="{32FDCCC5-490E-51F9-328B-4BDDE775B2B7}"/>
                  </a:ext>
                </a:extLst>
              </p:cNvPr>
              <p:cNvSpPr txBox="1"/>
              <p:nvPr/>
            </p:nvSpPr>
            <p:spPr>
              <a:xfrm>
                <a:off x="839811" y="5889147"/>
                <a:ext cx="4013919" cy="215444"/>
              </a:xfrm>
              <a:prstGeom prst="rect">
                <a:avLst/>
              </a:prstGeom>
              <a:noFill/>
            </p:spPr>
            <p:txBody>
              <a:bodyPr wrap="none" lIns="0" tIns="0" rIns="0" bIns="0" rtlCol="0" anchor="ctr" anchorCtr="0">
                <a:spAutoFit/>
              </a:bodyPr>
              <a:lstStyle/>
              <a:p>
                <a:pPr defTabSz="1087688" fontAlgn="base">
                  <a:spcBef>
                    <a:spcPct val="50000"/>
                  </a:spcBef>
                  <a:spcAft>
                    <a:spcPct val="0"/>
                  </a:spcAft>
                  <a:buClr>
                    <a:srgbClr val="F0AB00"/>
                  </a:buClr>
                  <a:buSzPct val="80000"/>
                  <a:defRPr/>
                </a:pPr>
                <a:r>
                  <a:rPr lang="en-US" sz="1399" kern="0">
                    <a:gradFill>
                      <a:gsLst>
                        <a:gs pos="0">
                          <a:srgbClr val="000000"/>
                        </a:gs>
                        <a:gs pos="100000">
                          <a:srgbClr val="000000"/>
                        </a:gs>
                      </a:gsLst>
                      <a:lin ang="2700000" scaled="1"/>
                    </a:gradFill>
                    <a:latin typeface="72 Brand" panose="020B0504030603020204" pitchFamily="34" charset="0"/>
                    <a:ea typeface="Arial Unicode MS" pitchFamily="34" charset="-128"/>
                    <a:cs typeface="Arial Unicode MS" pitchFamily="34" charset="-128"/>
                  </a:rPr>
                  <a:t>Guided through an end-to-end engagement model</a:t>
                </a:r>
              </a:p>
            </p:txBody>
          </p:sp>
          <p:sp>
            <p:nvSpPr>
              <p:cNvPr id="9" name="Rectangle 19">
                <a:extLst>
                  <a:ext uri="{FF2B5EF4-FFF2-40B4-BE49-F238E27FC236}">
                    <a16:creationId xmlns:a16="http://schemas.microsoft.com/office/drawing/2014/main" id="{B535F27B-26A1-44BC-3DE2-878AF49EF66B}"/>
                  </a:ext>
                </a:extLst>
              </p:cNvPr>
              <p:cNvSpPr/>
              <p:nvPr/>
            </p:nvSpPr>
            <p:spPr bwMode="auto">
              <a:xfrm>
                <a:off x="501650" y="5894331"/>
                <a:ext cx="206375" cy="206375"/>
              </a:xfrm>
              <a:prstGeom prst="rect">
                <a:avLst/>
              </a:prstGeom>
              <a:solidFill>
                <a:srgbClr val="7AC9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ctr" anchorCtr="0" forceAA="0" compatLnSpc="1">
                <a:prstTxWarp prst="textNoShape">
                  <a:avLst/>
                </a:prstTxWarp>
                <a:noAutofit/>
              </a:bodyPr>
              <a:lstStyle/>
              <a:p>
                <a:pPr defTabSz="932006" fontAlgn="base">
                  <a:spcBef>
                    <a:spcPct val="0"/>
                  </a:spcBef>
                  <a:spcAft>
                    <a:spcPct val="0"/>
                  </a:spcAft>
                  <a:defRPr/>
                </a:pPr>
                <a:endParaRPr lang="en-US" sz="1999">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grpSp>
      </p:grpSp>
      <p:sp>
        <p:nvSpPr>
          <p:cNvPr id="14" name="TextBox 9">
            <a:extLst>
              <a:ext uri="{FF2B5EF4-FFF2-40B4-BE49-F238E27FC236}">
                <a16:creationId xmlns:a16="http://schemas.microsoft.com/office/drawing/2014/main" id="{F9A800CE-4476-EBFF-B0C5-D1167ECE6AAA}"/>
              </a:ext>
            </a:extLst>
          </p:cNvPr>
          <p:cNvSpPr txBox="1"/>
          <p:nvPr/>
        </p:nvSpPr>
        <p:spPr>
          <a:xfrm>
            <a:off x="604522" y="2427653"/>
            <a:ext cx="4231327" cy="738279"/>
          </a:xfrm>
          <a:prstGeom prst="rect">
            <a:avLst/>
          </a:prstGeom>
          <a:noFill/>
        </p:spPr>
        <p:txBody>
          <a:bodyPr wrap="none" lIns="0" tIns="0" rIns="0" bIns="0" rtlCol="0" anchor="ctr" anchorCtr="0">
            <a:spAutoFit/>
          </a:bodyPr>
          <a:lstStyle/>
          <a:p>
            <a:pPr defTabSz="1087688" fontAlgn="base">
              <a:spcBef>
                <a:spcPct val="50000"/>
              </a:spcBef>
              <a:spcAft>
                <a:spcPct val="0"/>
              </a:spcAft>
              <a:buClr>
                <a:srgbClr val="F0AB00"/>
              </a:buClr>
              <a:buSzPct val="80000"/>
              <a:defRPr/>
            </a:pPr>
            <a:r>
              <a:rPr lang="en-US" sz="2399" kern="0">
                <a:solidFill>
                  <a:srgbClr val="002A86"/>
                </a:solidFill>
                <a:latin typeface="72 Brand" panose="020B0504030603020204" pitchFamily="34" charset="0"/>
                <a:ea typeface="Arial Unicode MS" pitchFamily="34" charset="-128"/>
                <a:cs typeface="Arial Unicode MS" pitchFamily="34" charset="-128"/>
              </a:rPr>
              <a:t>Transformation and continuous</a:t>
            </a:r>
            <a:br>
              <a:rPr lang="en-US" sz="2399" kern="0">
                <a:solidFill>
                  <a:srgbClr val="002A86"/>
                </a:solidFill>
                <a:latin typeface="72 Brand" panose="020B0504030603020204" pitchFamily="34" charset="0"/>
                <a:ea typeface="Arial Unicode MS" pitchFamily="34" charset="-128"/>
                <a:cs typeface="Arial Unicode MS" pitchFamily="34" charset="-128"/>
              </a:rPr>
            </a:br>
            <a:r>
              <a:rPr lang="en-US" sz="2399" kern="0">
                <a:solidFill>
                  <a:srgbClr val="002A86"/>
                </a:solidFill>
                <a:latin typeface="72 Brand" panose="020B0504030603020204" pitchFamily="34" charset="0"/>
                <a:ea typeface="Arial Unicode MS" pitchFamily="34" charset="-128"/>
                <a:cs typeface="Arial Unicode MS" pitchFamily="34" charset="-128"/>
              </a:rPr>
              <a:t> innovation at your own pace</a:t>
            </a:r>
          </a:p>
        </p:txBody>
      </p:sp>
    </p:spTree>
    <p:extLst>
      <p:ext uri="{BB962C8B-B14F-4D97-AF65-F5344CB8AC3E}">
        <p14:creationId xmlns:p14="http://schemas.microsoft.com/office/powerpoint/2010/main" val="26990446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F38A12-DFF4-358C-AB78-B029634160EA}"/>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1C9F1C26-3E94-FEE4-D191-4C00151C5908}"/>
              </a:ext>
            </a:extLst>
          </p:cNvPr>
          <p:cNvPicPr>
            <a:picLocks noChangeAspect="1"/>
          </p:cNvPicPr>
          <p:nvPr/>
        </p:nvPicPr>
        <p:blipFill>
          <a:blip r:embed="rId4"/>
          <a:srcRect l="23975" r="20130" b="18777"/>
          <a:stretch/>
        </p:blipFill>
        <p:spPr>
          <a:xfrm flipH="1">
            <a:off x="588303" y="2082002"/>
            <a:ext cx="1755648" cy="1700784"/>
          </a:xfrm>
          <a:prstGeom prst="roundRect">
            <a:avLst>
              <a:gd name="adj" fmla="val 6213"/>
            </a:avLst>
          </a:prstGeom>
        </p:spPr>
      </p:pic>
      <p:graphicFrame>
        <p:nvGraphicFramePr>
          <p:cNvPr id="16" name="think-cell data - do not delete" hidden="1">
            <a:extLst>
              <a:ext uri="{FF2B5EF4-FFF2-40B4-BE49-F238E27FC236}">
                <a16:creationId xmlns:a16="http://schemas.microsoft.com/office/drawing/2014/main" id="{F38A6189-C616-BEDF-060B-ABE56EB2392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76547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4" imgH="486" progId="TCLayout.ActiveDocument.1">
                  <p:embed/>
                </p:oleObj>
              </mc:Choice>
              <mc:Fallback>
                <p:oleObj name="think-cell Slide" r:id="rId5" imgW="484" imgH="486" progId="TCLayout.ActiveDocument.1">
                  <p:embed/>
                  <p:pic>
                    <p:nvPicPr>
                      <p:cNvPr id="16" name="think-cell data - do not delete" hidden="1">
                        <a:extLst>
                          <a:ext uri="{FF2B5EF4-FFF2-40B4-BE49-F238E27FC236}">
                            <a16:creationId xmlns:a16="http://schemas.microsoft.com/office/drawing/2014/main" id="{F38A6189-C616-BEDF-060B-ABE56EB2392D}"/>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82" name="Picture 281">
            <a:extLst>
              <a:ext uri="{FF2B5EF4-FFF2-40B4-BE49-F238E27FC236}">
                <a16:creationId xmlns:a16="http://schemas.microsoft.com/office/drawing/2014/main" id="{34E94457-163F-BAD7-F450-557B98931477}"/>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l="24046" r="7137"/>
          <a:stretch/>
        </p:blipFill>
        <p:spPr>
          <a:xfrm>
            <a:off x="9881529" y="2083526"/>
            <a:ext cx="1755648" cy="1700784"/>
          </a:xfrm>
          <a:prstGeom prst="roundRect">
            <a:avLst>
              <a:gd name="adj" fmla="val 6213"/>
            </a:avLst>
          </a:prstGeom>
        </p:spPr>
      </p:pic>
      <p:pic>
        <p:nvPicPr>
          <p:cNvPr id="284" name="Picture 283">
            <a:extLst>
              <a:ext uri="{FF2B5EF4-FFF2-40B4-BE49-F238E27FC236}">
                <a16:creationId xmlns:a16="http://schemas.microsoft.com/office/drawing/2014/main" id="{AC1DFB2C-5D18-B65C-C8A5-AC1061639D5D}"/>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13198" t="8581" r="36150" b="17815"/>
          <a:stretch/>
        </p:blipFill>
        <p:spPr>
          <a:xfrm>
            <a:off x="4304651" y="2083526"/>
            <a:ext cx="1755648" cy="1700784"/>
          </a:xfrm>
          <a:prstGeom prst="roundRect">
            <a:avLst>
              <a:gd name="adj" fmla="val 6213"/>
            </a:avLst>
          </a:prstGeom>
        </p:spPr>
      </p:pic>
      <p:pic>
        <p:nvPicPr>
          <p:cNvPr id="285" name="Picture 284">
            <a:extLst>
              <a:ext uri="{FF2B5EF4-FFF2-40B4-BE49-F238E27FC236}">
                <a16:creationId xmlns:a16="http://schemas.microsoft.com/office/drawing/2014/main" id="{4D4BE38B-ABCC-03D6-C0FA-BCB3FA3B0FCD}"/>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l="17324" r="13859"/>
          <a:stretch/>
        </p:blipFill>
        <p:spPr>
          <a:xfrm flipH="1">
            <a:off x="2446477" y="2082002"/>
            <a:ext cx="1755648" cy="1700784"/>
          </a:xfrm>
          <a:prstGeom prst="roundRect">
            <a:avLst>
              <a:gd name="adj" fmla="val 6213"/>
            </a:avLst>
          </a:prstGeom>
        </p:spPr>
      </p:pic>
      <p:pic>
        <p:nvPicPr>
          <p:cNvPr id="286" name="Picture 285">
            <a:extLst>
              <a:ext uri="{FF2B5EF4-FFF2-40B4-BE49-F238E27FC236}">
                <a16:creationId xmlns:a16="http://schemas.microsoft.com/office/drawing/2014/main" id="{0F6A323A-1D85-3284-3D4A-D9F25C8FE529}"/>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10928" t="27926" r="35678" b="-2107"/>
          <a:stretch/>
        </p:blipFill>
        <p:spPr>
          <a:xfrm>
            <a:off x="8020998" y="2082002"/>
            <a:ext cx="1755648" cy="1700784"/>
          </a:xfrm>
          <a:prstGeom prst="roundRect">
            <a:avLst>
              <a:gd name="adj" fmla="val 6213"/>
            </a:avLst>
          </a:prstGeom>
        </p:spPr>
      </p:pic>
      <p:pic>
        <p:nvPicPr>
          <p:cNvPr id="287" name="Picture 286">
            <a:extLst>
              <a:ext uri="{FF2B5EF4-FFF2-40B4-BE49-F238E27FC236}">
                <a16:creationId xmlns:a16="http://schemas.microsoft.com/office/drawing/2014/main" id="{7E58DC40-2322-31AA-A722-7CD448F06148}"/>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l="18528" t="29857" r="21536" b="7998"/>
          <a:stretch/>
        </p:blipFill>
        <p:spPr>
          <a:xfrm>
            <a:off x="6162824" y="2083526"/>
            <a:ext cx="1755648" cy="1700784"/>
          </a:xfrm>
          <a:prstGeom prst="roundRect">
            <a:avLst>
              <a:gd name="adj" fmla="val 6213"/>
            </a:avLst>
          </a:prstGeom>
        </p:spPr>
      </p:pic>
      <p:sp>
        <p:nvSpPr>
          <p:cNvPr id="288" name="Rectangle: Rounded Corners 287">
            <a:extLst>
              <a:ext uri="{FF2B5EF4-FFF2-40B4-BE49-F238E27FC236}">
                <a16:creationId xmlns:a16="http://schemas.microsoft.com/office/drawing/2014/main" id="{B63E83DB-493D-69B8-80A9-A6FC98723567}"/>
              </a:ext>
            </a:extLst>
          </p:cNvPr>
          <p:cNvSpPr/>
          <p:nvPr/>
        </p:nvSpPr>
        <p:spPr bwMode="gray">
          <a:xfrm>
            <a:off x="808781" y="3582127"/>
            <a:ext cx="1317048" cy="381264"/>
          </a:xfrm>
          <a:prstGeom prst="roundRect">
            <a:avLst>
              <a:gd name="adj" fmla="val 5000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85" tIns="146228" rIns="182785" bIns="146228" numCol="1" spcCol="0" rtlCol="0" fromWordArt="0" anchor="ctr" anchorCtr="0" forceAA="0" compatLnSpc="1">
            <a:prstTxWarp prst="textNoShape">
              <a:avLst/>
            </a:prstTxWarp>
            <a:noAutofit/>
          </a:bodyPr>
          <a:lstStyle/>
          <a:p>
            <a:pPr marL="0" marR="0" lvl="0" indent="0" algn="ctr" defTabSz="932006" rtl="0" eaLnBrk="1" fontAlgn="base" latinLnBrk="0" hangingPunct="1">
              <a:lnSpc>
                <a:spcPct val="100000"/>
              </a:lnSpc>
              <a:spcBef>
                <a:spcPct val="0"/>
              </a:spcBef>
              <a:spcAft>
                <a:spcPct val="0"/>
              </a:spcAft>
              <a:buClrTx/>
              <a:buSzTx/>
              <a:buFontTx/>
              <a:buNone/>
              <a:tabLst/>
              <a:defRPr/>
            </a:pPr>
            <a:r>
              <a:rPr kumimoji="0" lang="en-GB" sz="1600" b="0" i="0" u="none" strike="noStrike" kern="0" cap="none" spc="0" normalizeH="0" baseline="0" noProof="0">
                <a:ln>
                  <a:noFill/>
                </a:ln>
                <a:gradFill>
                  <a:gsLst>
                    <a:gs pos="0">
                      <a:srgbClr val="5D36FF"/>
                    </a:gs>
                    <a:gs pos="100000">
                      <a:srgbClr val="5D36FF"/>
                    </a:gs>
                  </a:gsLst>
                  <a:lin ang="2700000" scaled="1"/>
                </a:gradFill>
                <a:effectLst/>
                <a:uLnTx/>
                <a:uFillTx/>
                <a:latin typeface="72 Brand Medium"/>
                <a:ea typeface="+mn-ea"/>
                <a:cs typeface="+mn-cs"/>
              </a:rPr>
              <a:t>CFO</a:t>
            </a:r>
          </a:p>
        </p:txBody>
      </p:sp>
      <p:pic>
        <p:nvPicPr>
          <p:cNvPr id="289" name="Graphic 288">
            <a:extLst>
              <a:ext uri="{FF2B5EF4-FFF2-40B4-BE49-F238E27FC236}">
                <a16:creationId xmlns:a16="http://schemas.microsoft.com/office/drawing/2014/main" id="{53E07DC4-4A0C-B6C9-1218-D0B123126E3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09859" y="3691955"/>
            <a:ext cx="161608" cy="161608"/>
          </a:xfrm>
          <a:prstGeom prst="rect">
            <a:avLst/>
          </a:prstGeom>
        </p:spPr>
      </p:pic>
      <p:sp>
        <p:nvSpPr>
          <p:cNvPr id="290" name="Rectangle: Rounded Corners 289">
            <a:extLst>
              <a:ext uri="{FF2B5EF4-FFF2-40B4-BE49-F238E27FC236}">
                <a16:creationId xmlns:a16="http://schemas.microsoft.com/office/drawing/2014/main" id="{4967E073-47AE-02AC-362F-8C8213D2379B}"/>
              </a:ext>
            </a:extLst>
          </p:cNvPr>
          <p:cNvSpPr/>
          <p:nvPr/>
        </p:nvSpPr>
        <p:spPr bwMode="gray">
          <a:xfrm>
            <a:off x="2666955" y="3582127"/>
            <a:ext cx="1317048" cy="381264"/>
          </a:xfrm>
          <a:prstGeom prst="roundRect">
            <a:avLst>
              <a:gd name="adj" fmla="val 5000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85" tIns="146228" rIns="182785" bIns="146228" numCol="1" spcCol="0" rtlCol="0" fromWordArt="0" anchor="ctr" anchorCtr="0" forceAA="0" compatLnSpc="1">
            <a:prstTxWarp prst="textNoShape">
              <a:avLst/>
            </a:prstTxWarp>
            <a:noAutofit/>
          </a:bodyPr>
          <a:lstStyle/>
          <a:p>
            <a:pPr marL="0" marR="0" lvl="0" indent="0" algn="ctr" defTabSz="932006" rtl="0" eaLnBrk="1" fontAlgn="base" latinLnBrk="0" hangingPunct="1">
              <a:lnSpc>
                <a:spcPct val="100000"/>
              </a:lnSpc>
              <a:spcBef>
                <a:spcPct val="0"/>
              </a:spcBef>
              <a:spcAft>
                <a:spcPct val="0"/>
              </a:spcAft>
              <a:buClrTx/>
              <a:buSzTx/>
              <a:buFontTx/>
              <a:buNone/>
              <a:tabLst/>
              <a:defRPr/>
            </a:pPr>
            <a:r>
              <a:rPr kumimoji="0" lang="en-GB" sz="1600" b="0" i="0" u="none" strike="noStrike" kern="0" cap="none" spc="0" normalizeH="0" baseline="0" noProof="0">
                <a:ln>
                  <a:noFill/>
                </a:ln>
                <a:gradFill>
                  <a:gsLst>
                    <a:gs pos="0">
                      <a:srgbClr val="5D36FF"/>
                    </a:gs>
                    <a:gs pos="100000">
                      <a:srgbClr val="5D36FF"/>
                    </a:gs>
                  </a:gsLst>
                  <a:lin ang="2700000" scaled="1"/>
                </a:gradFill>
                <a:effectLst/>
                <a:uLnTx/>
                <a:uFillTx/>
                <a:latin typeface="72 Brand Medium"/>
                <a:ea typeface="+mn-ea"/>
                <a:cs typeface="+mn-cs"/>
              </a:rPr>
              <a:t>CPO</a:t>
            </a:r>
          </a:p>
        </p:txBody>
      </p:sp>
      <p:pic>
        <p:nvPicPr>
          <p:cNvPr id="291" name="Graphic 290">
            <a:extLst>
              <a:ext uri="{FF2B5EF4-FFF2-40B4-BE49-F238E27FC236}">
                <a16:creationId xmlns:a16="http://schemas.microsoft.com/office/drawing/2014/main" id="{70F9CE8B-2CF0-B5A2-86DC-D6079AEC8C0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868033" y="3691955"/>
            <a:ext cx="161608" cy="161608"/>
          </a:xfrm>
          <a:prstGeom prst="rect">
            <a:avLst/>
          </a:prstGeom>
        </p:spPr>
      </p:pic>
      <p:sp>
        <p:nvSpPr>
          <p:cNvPr id="292" name="Rectangle: Rounded Corners 291">
            <a:extLst>
              <a:ext uri="{FF2B5EF4-FFF2-40B4-BE49-F238E27FC236}">
                <a16:creationId xmlns:a16="http://schemas.microsoft.com/office/drawing/2014/main" id="{C46D1D21-5E13-0E34-1770-170FE0051F0E}"/>
              </a:ext>
            </a:extLst>
          </p:cNvPr>
          <p:cNvSpPr/>
          <p:nvPr/>
        </p:nvSpPr>
        <p:spPr bwMode="gray">
          <a:xfrm>
            <a:off x="4525129" y="3582127"/>
            <a:ext cx="1317048" cy="381264"/>
          </a:xfrm>
          <a:prstGeom prst="roundRect">
            <a:avLst>
              <a:gd name="adj" fmla="val 5000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85" tIns="146228" rIns="182785" bIns="146228" numCol="1" spcCol="0" rtlCol="0" fromWordArt="0" anchor="ctr" anchorCtr="0" forceAA="0" compatLnSpc="1">
            <a:prstTxWarp prst="textNoShape">
              <a:avLst/>
            </a:prstTxWarp>
            <a:noAutofit/>
          </a:bodyPr>
          <a:lstStyle/>
          <a:p>
            <a:pPr marL="0" marR="0" lvl="0" indent="0" algn="ctr" defTabSz="932006" rtl="0" eaLnBrk="1" fontAlgn="base" latinLnBrk="0" hangingPunct="1">
              <a:lnSpc>
                <a:spcPct val="100000"/>
              </a:lnSpc>
              <a:spcBef>
                <a:spcPct val="0"/>
              </a:spcBef>
              <a:spcAft>
                <a:spcPct val="0"/>
              </a:spcAft>
              <a:buClrTx/>
              <a:buSzTx/>
              <a:buFontTx/>
              <a:buNone/>
              <a:tabLst/>
              <a:defRPr/>
            </a:pPr>
            <a:r>
              <a:rPr kumimoji="0" lang="en-GB" sz="1600" b="0" i="0" u="none" strike="noStrike" kern="0" cap="none" spc="0" normalizeH="0" baseline="0" noProof="0">
                <a:ln>
                  <a:noFill/>
                </a:ln>
                <a:gradFill>
                  <a:gsLst>
                    <a:gs pos="0">
                      <a:srgbClr val="5D36FF"/>
                    </a:gs>
                    <a:gs pos="100000">
                      <a:srgbClr val="5D36FF"/>
                    </a:gs>
                  </a:gsLst>
                  <a:lin ang="2700000" scaled="1"/>
                </a:gradFill>
                <a:effectLst/>
                <a:uLnTx/>
                <a:uFillTx/>
                <a:latin typeface="72 Brand Medium"/>
                <a:ea typeface="+mn-ea"/>
                <a:cs typeface="+mn-cs"/>
              </a:rPr>
              <a:t>COO</a:t>
            </a:r>
          </a:p>
        </p:txBody>
      </p:sp>
      <p:pic>
        <p:nvPicPr>
          <p:cNvPr id="293" name="Graphic 292">
            <a:extLst>
              <a:ext uri="{FF2B5EF4-FFF2-40B4-BE49-F238E27FC236}">
                <a16:creationId xmlns:a16="http://schemas.microsoft.com/office/drawing/2014/main" id="{8D1E29A8-8369-91BE-4248-3AA4A9D05CD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726207" y="3691955"/>
            <a:ext cx="161608" cy="161608"/>
          </a:xfrm>
          <a:prstGeom prst="rect">
            <a:avLst/>
          </a:prstGeom>
        </p:spPr>
      </p:pic>
      <p:sp>
        <p:nvSpPr>
          <p:cNvPr id="294" name="Rectangle: Rounded Corners 293">
            <a:extLst>
              <a:ext uri="{FF2B5EF4-FFF2-40B4-BE49-F238E27FC236}">
                <a16:creationId xmlns:a16="http://schemas.microsoft.com/office/drawing/2014/main" id="{D6D79EA9-29B0-A3A8-1BF8-55EEC974A0E1}"/>
              </a:ext>
            </a:extLst>
          </p:cNvPr>
          <p:cNvSpPr/>
          <p:nvPr/>
        </p:nvSpPr>
        <p:spPr bwMode="gray">
          <a:xfrm>
            <a:off x="6383303" y="3582127"/>
            <a:ext cx="1317048" cy="381264"/>
          </a:xfrm>
          <a:prstGeom prst="roundRect">
            <a:avLst>
              <a:gd name="adj" fmla="val 5000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85" tIns="146228" rIns="182785" bIns="146228" numCol="1" spcCol="0" rtlCol="0" fromWordArt="0" anchor="ctr" anchorCtr="0" forceAA="0" compatLnSpc="1">
            <a:prstTxWarp prst="textNoShape">
              <a:avLst/>
            </a:prstTxWarp>
            <a:noAutofit/>
          </a:bodyPr>
          <a:lstStyle/>
          <a:p>
            <a:pPr marL="0" marR="0" lvl="0" indent="0" algn="ctr" defTabSz="932006" rtl="0" eaLnBrk="1" fontAlgn="base" latinLnBrk="0" hangingPunct="1">
              <a:lnSpc>
                <a:spcPct val="100000"/>
              </a:lnSpc>
              <a:spcBef>
                <a:spcPct val="0"/>
              </a:spcBef>
              <a:spcAft>
                <a:spcPct val="0"/>
              </a:spcAft>
              <a:buClrTx/>
              <a:buSzTx/>
              <a:buFontTx/>
              <a:buNone/>
              <a:tabLst/>
              <a:defRPr/>
            </a:pPr>
            <a:r>
              <a:rPr kumimoji="0" lang="en-GB" sz="1600" b="0" i="0" u="none" strike="noStrike" kern="0" cap="none" spc="0" normalizeH="0" baseline="0" noProof="0">
                <a:ln>
                  <a:noFill/>
                </a:ln>
                <a:gradFill>
                  <a:gsLst>
                    <a:gs pos="0">
                      <a:srgbClr val="5D36FF"/>
                    </a:gs>
                    <a:gs pos="100000">
                      <a:srgbClr val="5D36FF"/>
                    </a:gs>
                  </a:gsLst>
                  <a:lin ang="2700000" scaled="1"/>
                </a:gradFill>
                <a:effectLst/>
                <a:uLnTx/>
                <a:uFillTx/>
                <a:latin typeface="72 Brand Medium"/>
                <a:ea typeface="+mn-ea"/>
                <a:cs typeface="+mn-cs"/>
              </a:rPr>
              <a:t>CHRO</a:t>
            </a:r>
          </a:p>
        </p:txBody>
      </p:sp>
      <p:pic>
        <p:nvPicPr>
          <p:cNvPr id="295" name="Graphic 294">
            <a:extLst>
              <a:ext uri="{FF2B5EF4-FFF2-40B4-BE49-F238E27FC236}">
                <a16:creationId xmlns:a16="http://schemas.microsoft.com/office/drawing/2014/main" id="{5BA64B72-7C33-3E40-9ADB-00FA2400731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536121" y="3691955"/>
            <a:ext cx="161608" cy="161608"/>
          </a:xfrm>
          <a:prstGeom prst="rect">
            <a:avLst/>
          </a:prstGeom>
        </p:spPr>
      </p:pic>
      <p:sp>
        <p:nvSpPr>
          <p:cNvPr id="296" name="Rectangle: Rounded Corners 295">
            <a:extLst>
              <a:ext uri="{FF2B5EF4-FFF2-40B4-BE49-F238E27FC236}">
                <a16:creationId xmlns:a16="http://schemas.microsoft.com/office/drawing/2014/main" id="{3619B2F0-DADD-B1D0-715B-F07AFD68EA5B}"/>
              </a:ext>
            </a:extLst>
          </p:cNvPr>
          <p:cNvSpPr/>
          <p:nvPr/>
        </p:nvSpPr>
        <p:spPr bwMode="gray">
          <a:xfrm>
            <a:off x="8241477" y="3582127"/>
            <a:ext cx="1317048" cy="381264"/>
          </a:xfrm>
          <a:prstGeom prst="roundRect">
            <a:avLst>
              <a:gd name="adj" fmla="val 5000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85" tIns="146228" rIns="182785" bIns="146228" numCol="1" spcCol="0" rtlCol="0" fromWordArt="0" anchor="ctr" anchorCtr="0" forceAA="0" compatLnSpc="1">
            <a:prstTxWarp prst="textNoShape">
              <a:avLst/>
            </a:prstTxWarp>
            <a:noAutofit/>
          </a:bodyPr>
          <a:lstStyle/>
          <a:p>
            <a:pPr marL="0" marR="0" lvl="0" indent="0" algn="ctr" defTabSz="932006" rtl="0" eaLnBrk="1" fontAlgn="base" latinLnBrk="0" hangingPunct="1">
              <a:lnSpc>
                <a:spcPct val="100000"/>
              </a:lnSpc>
              <a:spcBef>
                <a:spcPct val="0"/>
              </a:spcBef>
              <a:spcAft>
                <a:spcPct val="0"/>
              </a:spcAft>
              <a:buClrTx/>
              <a:buSzTx/>
              <a:buFontTx/>
              <a:buNone/>
              <a:tabLst/>
              <a:defRPr/>
            </a:pPr>
            <a:r>
              <a:rPr kumimoji="0" lang="en-GB" sz="1600" b="0" i="0" u="none" strike="noStrike" kern="0" cap="none" spc="0" normalizeH="0" baseline="0" noProof="0">
                <a:ln>
                  <a:noFill/>
                </a:ln>
                <a:gradFill>
                  <a:gsLst>
                    <a:gs pos="0">
                      <a:srgbClr val="5D36FF"/>
                    </a:gs>
                    <a:gs pos="100000">
                      <a:srgbClr val="5D36FF"/>
                    </a:gs>
                  </a:gsLst>
                  <a:lin ang="2700000" scaled="1"/>
                </a:gradFill>
                <a:effectLst/>
                <a:uLnTx/>
                <a:uFillTx/>
                <a:latin typeface="72 Brand Medium"/>
                <a:ea typeface="+mn-ea"/>
                <a:cs typeface="+mn-cs"/>
              </a:rPr>
              <a:t>CRO</a:t>
            </a:r>
          </a:p>
        </p:txBody>
      </p:sp>
      <p:pic>
        <p:nvPicPr>
          <p:cNvPr id="297" name="Graphic 296">
            <a:extLst>
              <a:ext uri="{FF2B5EF4-FFF2-40B4-BE49-F238E27FC236}">
                <a16:creationId xmlns:a16="http://schemas.microsoft.com/office/drawing/2014/main" id="{3DDFB8E2-9104-3571-4F43-7B20EB5A6AF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442555" y="3691955"/>
            <a:ext cx="161608" cy="161608"/>
          </a:xfrm>
          <a:prstGeom prst="rect">
            <a:avLst/>
          </a:prstGeom>
        </p:spPr>
      </p:pic>
      <p:sp>
        <p:nvSpPr>
          <p:cNvPr id="298" name="Rectangle: Rounded Corners 297">
            <a:extLst>
              <a:ext uri="{FF2B5EF4-FFF2-40B4-BE49-F238E27FC236}">
                <a16:creationId xmlns:a16="http://schemas.microsoft.com/office/drawing/2014/main" id="{4C1CA36D-2C25-021F-B302-988CDE84E57B}"/>
              </a:ext>
            </a:extLst>
          </p:cNvPr>
          <p:cNvSpPr/>
          <p:nvPr/>
        </p:nvSpPr>
        <p:spPr bwMode="gray">
          <a:xfrm>
            <a:off x="10099650" y="3582127"/>
            <a:ext cx="1317048" cy="381264"/>
          </a:xfrm>
          <a:prstGeom prst="roundRect">
            <a:avLst>
              <a:gd name="adj" fmla="val 5000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85" tIns="146228" rIns="182785" bIns="146228" numCol="1" spcCol="0" rtlCol="0" fromWordArt="0" anchor="ctr" anchorCtr="0" forceAA="0" compatLnSpc="1">
            <a:prstTxWarp prst="textNoShape">
              <a:avLst/>
            </a:prstTxWarp>
            <a:noAutofit/>
          </a:bodyPr>
          <a:lstStyle/>
          <a:p>
            <a:pPr marL="0" marR="0" lvl="0" indent="0" algn="ctr" defTabSz="932006" rtl="0" eaLnBrk="1" fontAlgn="base" latinLnBrk="0" hangingPunct="1">
              <a:lnSpc>
                <a:spcPct val="100000"/>
              </a:lnSpc>
              <a:spcBef>
                <a:spcPct val="0"/>
              </a:spcBef>
              <a:spcAft>
                <a:spcPct val="0"/>
              </a:spcAft>
              <a:buClrTx/>
              <a:buSzTx/>
              <a:buFontTx/>
              <a:buNone/>
              <a:tabLst/>
              <a:defRPr/>
            </a:pPr>
            <a:r>
              <a:rPr kumimoji="0" lang="en-GB" sz="1600" b="0" i="0" u="none" strike="noStrike" kern="0" cap="none" spc="0" normalizeH="0" baseline="0" noProof="0">
                <a:ln>
                  <a:noFill/>
                </a:ln>
                <a:gradFill>
                  <a:gsLst>
                    <a:gs pos="0">
                      <a:srgbClr val="5D36FF"/>
                    </a:gs>
                    <a:gs pos="100000">
                      <a:srgbClr val="5D36FF"/>
                    </a:gs>
                  </a:gsLst>
                  <a:lin ang="2700000" scaled="1"/>
                </a:gradFill>
                <a:effectLst/>
                <a:uLnTx/>
                <a:uFillTx/>
                <a:latin typeface="72 Brand Medium"/>
                <a:ea typeface="+mn-ea"/>
                <a:cs typeface="+mn-cs"/>
              </a:rPr>
              <a:t>CIO</a:t>
            </a:r>
          </a:p>
        </p:txBody>
      </p:sp>
      <p:pic>
        <p:nvPicPr>
          <p:cNvPr id="299" name="Graphic 298">
            <a:extLst>
              <a:ext uri="{FF2B5EF4-FFF2-40B4-BE49-F238E27FC236}">
                <a16:creationId xmlns:a16="http://schemas.microsoft.com/office/drawing/2014/main" id="{34280156-8031-A368-2A63-9F9468A0A90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00728" y="3691955"/>
            <a:ext cx="161608" cy="161608"/>
          </a:xfrm>
          <a:prstGeom prst="rect">
            <a:avLst/>
          </a:prstGeom>
        </p:spPr>
      </p:pic>
      <p:sp>
        <p:nvSpPr>
          <p:cNvPr id="300" name="Rectangle 299">
            <a:extLst>
              <a:ext uri="{FF2B5EF4-FFF2-40B4-BE49-F238E27FC236}">
                <a16:creationId xmlns:a16="http://schemas.microsoft.com/office/drawing/2014/main" id="{98D65D2B-9E17-58F8-5041-73CC750508E2}"/>
              </a:ext>
            </a:extLst>
          </p:cNvPr>
          <p:cNvSpPr/>
          <p:nvPr/>
        </p:nvSpPr>
        <p:spPr bwMode="gray">
          <a:xfrm>
            <a:off x="590660" y="4215986"/>
            <a:ext cx="1755648" cy="1016000"/>
          </a:xfrm>
          <a:prstGeom prst="rect">
            <a:avLst/>
          </a:prstGeom>
          <a:noFill/>
          <a:ln w="25400" algn="ctr">
            <a:noFill/>
            <a:miter lim="800000"/>
            <a:headEnd/>
            <a:tailEnd/>
          </a:ln>
        </p:spPr>
        <p:txBody>
          <a:bodyPr lIns="0" tIns="0" rIns="0" bIns="0" rtlCol="0" anchor="t"/>
          <a:lstStyle/>
          <a:p>
            <a:pPr marL="0" marR="0" lvl="0" indent="0" algn="l" defTabSz="1088014"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72 Brand"/>
                <a:ea typeface="+mn-ea"/>
                <a:cs typeface="+mn-cs"/>
              </a:rPr>
              <a:t>Leverage</a:t>
            </a:r>
            <a:r>
              <a:rPr kumimoji="0" lang="en-US" sz="1400" b="0" i="0" u="none" strike="noStrike" kern="1200" cap="none" spc="0" normalizeH="0" baseline="0" noProof="0">
                <a:ln>
                  <a:noFill/>
                </a:ln>
                <a:solidFill>
                  <a:srgbClr val="000000"/>
                </a:solidFill>
                <a:effectLst/>
                <a:uLnTx/>
                <a:uFillTx/>
                <a:latin typeface="72 Brand Medium"/>
                <a:ea typeface="+mn-ea"/>
                <a:cs typeface="+mn-cs"/>
              </a:rPr>
              <a:t> </a:t>
            </a:r>
            <a:r>
              <a:rPr kumimoji="0" lang="en-US" sz="1400" b="0" i="0" u="none" strike="noStrike" kern="1200" cap="none" spc="0" normalizeH="0" baseline="0" noProof="0">
                <a:ln>
                  <a:noFill/>
                </a:ln>
                <a:solidFill>
                  <a:srgbClr val="7858FF"/>
                </a:solidFill>
                <a:effectLst/>
                <a:uLnTx/>
                <a:uFillTx/>
                <a:latin typeface="72 Brand Medium"/>
                <a:ea typeface="+mn-ea"/>
                <a:cs typeface="+mn-cs"/>
              </a:rPr>
              <a:t>AI-powered financial forecasting</a:t>
            </a:r>
            <a:r>
              <a:rPr kumimoji="0" lang="en-US" sz="1400" b="0" i="0" u="none" strike="noStrike" kern="1200" cap="none" spc="0" normalizeH="0" baseline="0" noProof="0">
                <a:ln>
                  <a:noFill/>
                </a:ln>
                <a:solidFill>
                  <a:srgbClr val="000000"/>
                </a:solidFill>
                <a:effectLst/>
                <a:uLnTx/>
                <a:uFillTx/>
                <a:latin typeface="72 Brand Medium"/>
                <a:ea typeface="+mn-ea"/>
                <a:cs typeface="+mn-cs"/>
              </a:rPr>
              <a:t> </a:t>
            </a:r>
            <a:r>
              <a:rPr kumimoji="0" lang="en-US" sz="1400" b="0" i="0" u="none" strike="noStrike" kern="1200" cap="none" spc="0" normalizeH="0" baseline="0" noProof="0">
                <a:ln>
                  <a:noFill/>
                </a:ln>
                <a:solidFill>
                  <a:srgbClr val="000000"/>
                </a:solidFill>
                <a:effectLst/>
                <a:uLnTx/>
                <a:uFillTx/>
                <a:latin typeface="72 Brand"/>
                <a:ea typeface="+mn-ea"/>
                <a:cs typeface="+mn-cs"/>
              </a:rPr>
              <a:t>to enhance planning and balance growth with profitability</a:t>
            </a:r>
          </a:p>
        </p:txBody>
      </p:sp>
      <p:sp>
        <p:nvSpPr>
          <p:cNvPr id="301" name="Rectangle 300">
            <a:extLst>
              <a:ext uri="{FF2B5EF4-FFF2-40B4-BE49-F238E27FC236}">
                <a16:creationId xmlns:a16="http://schemas.microsoft.com/office/drawing/2014/main" id="{89C442A1-70B9-FA4B-1D8F-993945D25200}"/>
              </a:ext>
            </a:extLst>
          </p:cNvPr>
          <p:cNvSpPr/>
          <p:nvPr/>
        </p:nvSpPr>
        <p:spPr bwMode="gray">
          <a:xfrm>
            <a:off x="4414013" y="4215986"/>
            <a:ext cx="1537526" cy="1016000"/>
          </a:xfrm>
          <a:prstGeom prst="rect">
            <a:avLst/>
          </a:prstGeom>
          <a:noFill/>
          <a:ln w="25400" algn="ctr">
            <a:noFill/>
            <a:miter lim="800000"/>
            <a:headEnd/>
            <a:tailEnd/>
          </a:ln>
        </p:spPr>
        <p:txBody>
          <a:bodyPr lIns="0" tIns="0" rIns="0" bIns="0" rtlCol="0" anchor="t"/>
          <a:lstStyle/>
          <a:p>
            <a:pPr marL="0" marR="0" lvl="0" indent="0" algn="l" defTabSz="1088014"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72 Brand"/>
                <a:ea typeface="+mn-ea"/>
                <a:cs typeface="+mn-cs"/>
              </a:rPr>
              <a:t>Harness </a:t>
            </a:r>
            <a:r>
              <a:rPr kumimoji="0" lang="en-US" sz="1400" b="0" i="0" u="none" strike="noStrike" kern="1200" cap="none" spc="0" normalizeH="0" baseline="0" noProof="0">
                <a:ln>
                  <a:noFill/>
                </a:ln>
                <a:solidFill>
                  <a:srgbClr val="7858FF"/>
                </a:solidFill>
                <a:effectLst/>
                <a:uLnTx/>
                <a:uFillTx/>
                <a:latin typeface="72 Brand Medium"/>
                <a:ea typeface="+mn-ea"/>
                <a:cs typeface="+mn-cs"/>
              </a:rPr>
              <a:t>AI-powered analytics </a:t>
            </a:r>
            <a:r>
              <a:rPr kumimoji="0" lang="en-US" sz="1400" b="0" i="0" u="none" strike="noStrike" kern="1200" cap="none" spc="0" normalizeH="0" baseline="0" noProof="0">
                <a:ln>
                  <a:noFill/>
                </a:ln>
                <a:solidFill>
                  <a:srgbClr val="000000"/>
                </a:solidFill>
                <a:effectLst/>
                <a:uLnTx/>
                <a:uFillTx/>
                <a:latin typeface="72 Brand"/>
                <a:ea typeface="+mn-ea"/>
                <a:cs typeface="+mn-cs"/>
              </a:rPr>
              <a:t>to predict and respond to supply chain disruptions in </a:t>
            </a:r>
            <a:br>
              <a:rPr kumimoji="0" lang="en-US" sz="1400" b="0" i="0" u="none" strike="noStrike" kern="1200" cap="none" spc="0" normalizeH="0" baseline="0" noProof="0">
                <a:ln>
                  <a:noFill/>
                </a:ln>
                <a:solidFill>
                  <a:srgbClr val="000000"/>
                </a:solidFill>
                <a:effectLst/>
                <a:uLnTx/>
                <a:uFillTx/>
                <a:latin typeface="72 Brand"/>
                <a:ea typeface="+mn-ea"/>
                <a:cs typeface="+mn-cs"/>
              </a:rPr>
            </a:br>
            <a:r>
              <a:rPr kumimoji="0" lang="en-US" sz="1400" b="0" i="0" u="none" strike="noStrike" kern="1200" cap="none" spc="0" normalizeH="0" baseline="0" noProof="0">
                <a:ln>
                  <a:noFill/>
                </a:ln>
                <a:solidFill>
                  <a:srgbClr val="000000"/>
                </a:solidFill>
                <a:effectLst/>
                <a:uLnTx/>
                <a:uFillTx/>
                <a:latin typeface="72 Brand"/>
                <a:ea typeface="+mn-ea"/>
                <a:cs typeface="+mn-cs"/>
              </a:rPr>
              <a:t>real time</a:t>
            </a:r>
          </a:p>
        </p:txBody>
      </p:sp>
      <p:sp>
        <p:nvSpPr>
          <p:cNvPr id="302" name="Rectangle 301">
            <a:extLst>
              <a:ext uri="{FF2B5EF4-FFF2-40B4-BE49-F238E27FC236}">
                <a16:creationId xmlns:a16="http://schemas.microsoft.com/office/drawing/2014/main" id="{0B264CB6-E06F-4BF5-F858-C7E59C2724BE}"/>
              </a:ext>
            </a:extLst>
          </p:cNvPr>
          <p:cNvSpPr/>
          <p:nvPr/>
        </p:nvSpPr>
        <p:spPr bwMode="gray">
          <a:xfrm>
            <a:off x="2514565" y="4215986"/>
            <a:ext cx="1731190" cy="1016000"/>
          </a:xfrm>
          <a:prstGeom prst="rect">
            <a:avLst/>
          </a:prstGeom>
          <a:noFill/>
          <a:ln w="25400" algn="ctr">
            <a:noFill/>
            <a:miter lim="800000"/>
            <a:headEnd/>
            <a:tailEnd/>
          </a:ln>
        </p:spPr>
        <p:txBody>
          <a:bodyPr lIns="0" tIns="0" rIns="0" bIns="0" rtlCol="0" anchor="t"/>
          <a:lstStyle/>
          <a:p>
            <a:pPr marL="0" marR="0" lvl="0" indent="0" algn="l" defTabSz="1088014"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72 Brand"/>
                <a:ea typeface="+mn-ea"/>
                <a:cs typeface="+mn-cs"/>
              </a:rPr>
              <a:t>Use </a:t>
            </a:r>
            <a:r>
              <a:rPr kumimoji="0" lang="en-US" sz="1400" b="0" i="0" u="none" strike="noStrike" kern="1200" cap="none" spc="0" normalizeH="0" baseline="0" noProof="0">
                <a:ln>
                  <a:noFill/>
                </a:ln>
                <a:solidFill>
                  <a:srgbClr val="7858FF"/>
                </a:solidFill>
                <a:effectLst/>
                <a:uLnTx/>
                <a:uFillTx/>
                <a:latin typeface="72 Brand Medium"/>
                <a:ea typeface="+mn-ea"/>
                <a:cs typeface="+mn-cs"/>
              </a:rPr>
              <a:t>AI-driven supplier insights </a:t>
            </a:r>
            <a:br>
              <a:rPr kumimoji="0" lang="en-US" sz="1400" b="0" i="0" u="none" strike="noStrike" kern="1200" cap="none" spc="0" normalizeH="0" baseline="0" noProof="0">
                <a:ln>
                  <a:noFill/>
                </a:ln>
                <a:solidFill>
                  <a:srgbClr val="7858FF"/>
                </a:solidFill>
                <a:effectLst/>
                <a:uLnTx/>
                <a:uFillTx/>
                <a:latin typeface="72 Brand Medium"/>
                <a:ea typeface="+mn-ea"/>
                <a:cs typeface="+mn-cs"/>
              </a:rPr>
            </a:br>
            <a:r>
              <a:rPr kumimoji="0" lang="en-US" sz="1400" b="0" i="0" u="none" strike="noStrike" kern="1200" cap="none" spc="0" normalizeH="0" baseline="0" noProof="0">
                <a:ln>
                  <a:noFill/>
                </a:ln>
                <a:solidFill>
                  <a:srgbClr val="000000"/>
                </a:solidFill>
                <a:effectLst/>
                <a:uLnTx/>
                <a:uFillTx/>
                <a:latin typeface="72 Brand"/>
                <a:ea typeface="+mn-ea"/>
                <a:cs typeface="+mn-cs"/>
              </a:rPr>
              <a:t>to optimize supplier selection and manage procurement risks</a:t>
            </a:r>
          </a:p>
        </p:txBody>
      </p:sp>
      <p:sp>
        <p:nvSpPr>
          <p:cNvPr id="303" name="Rectangle 302">
            <a:extLst>
              <a:ext uri="{FF2B5EF4-FFF2-40B4-BE49-F238E27FC236}">
                <a16:creationId xmlns:a16="http://schemas.microsoft.com/office/drawing/2014/main" id="{D816ED0F-D340-0E46-52AC-B6F0034A221C}"/>
              </a:ext>
            </a:extLst>
          </p:cNvPr>
          <p:cNvSpPr/>
          <p:nvPr/>
        </p:nvSpPr>
        <p:spPr bwMode="gray">
          <a:xfrm>
            <a:off x="6237286" y="4215986"/>
            <a:ext cx="1659084" cy="1016000"/>
          </a:xfrm>
          <a:prstGeom prst="rect">
            <a:avLst/>
          </a:prstGeom>
          <a:noFill/>
          <a:ln w="25400" algn="ctr">
            <a:noFill/>
            <a:miter lim="800000"/>
            <a:headEnd/>
            <a:tailEnd/>
          </a:ln>
        </p:spPr>
        <p:txBody>
          <a:bodyPr lIns="0" tIns="0" rIns="0" bIns="0" rtlCol="0" anchor="t"/>
          <a:lstStyle/>
          <a:p>
            <a:pPr marL="0" marR="0" lvl="0" indent="0" algn="l" defTabSz="1088014"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72 Brand"/>
                <a:ea typeface="+mn-ea"/>
                <a:cs typeface="+mn-cs"/>
              </a:rPr>
              <a:t>Utilize </a:t>
            </a:r>
            <a:r>
              <a:rPr kumimoji="0" lang="en-US" sz="1400" b="0" i="0" u="none" strike="noStrike" kern="1200" cap="none" spc="0" normalizeH="0" baseline="0" noProof="0">
                <a:ln>
                  <a:noFill/>
                </a:ln>
                <a:solidFill>
                  <a:srgbClr val="7858FF"/>
                </a:solidFill>
                <a:effectLst/>
                <a:uLnTx/>
                <a:uFillTx/>
                <a:latin typeface="72 Brand Medium"/>
                <a:ea typeface="+mn-ea"/>
                <a:cs typeface="+mn-cs"/>
              </a:rPr>
              <a:t>AI-infused workforce insights </a:t>
            </a:r>
            <a:r>
              <a:rPr kumimoji="0" lang="en-US" sz="1400" b="0" i="0" u="none" strike="noStrike" kern="1200" cap="none" spc="0" normalizeH="0" baseline="0" noProof="0">
                <a:ln>
                  <a:noFill/>
                </a:ln>
                <a:solidFill>
                  <a:srgbClr val="000000"/>
                </a:solidFill>
                <a:effectLst/>
                <a:uLnTx/>
                <a:uFillTx/>
                <a:latin typeface="72 Brand"/>
                <a:ea typeface="+mn-ea"/>
                <a:cs typeface="+mn-cs"/>
              </a:rPr>
              <a:t>to identify and address skills gaps</a:t>
            </a:r>
          </a:p>
        </p:txBody>
      </p:sp>
      <p:sp>
        <p:nvSpPr>
          <p:cNvPr id="304" name="Rectangle 303">
            <a:extLst>
              <a:ext uri="{FF2B5EF4-FFF2-40B4-BE49-F238E27FC236}">
                <a16:creationId xmlns:a16="http://schemas.microsoft.com/office/drawing/2014/main" id="{0E7704AF-4FA7-5F89-772E-265B5314E47D}"/>
              </a:ext>
            </a:extLst>
          </p:cNvPr>
          <p:cNvSpPr/>
          <p:nvPr/>
        </p:nvSpPr>
        <p:spPr bwMode="gray">
          <a:xfrm>
            <a:off x="9901274" y="4215986"/>
            <a:ext cx="1755648" cy="1016000"/>
          </a:xfrm>
          <a:prstGeom prst="rect">
            <a:avLst/>
          </a:prstGeom>
          <a:noFill/>
          <a:ln w="25400" algn="ctr">
            <a:noFill/>
            <a:miter lim="800000"/>
            <a:headEnd/>
            <a:tailEnd/>
          </a:ln>
        </p:spPr>
        <p:txBody>
          <a:bodyPr lIns="0" tIns="0" rIns="0" bIns="0" rtlCol="0" anchor="t"/>
          <a:lstStyle/>
          <a:p>
            <a:pPr marL="0" marR="0" lvl="0" indent="0" algn="l" defTabSz="1088014"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72 Brand"/>
                <a:ea typeface="+mn-ea"/>
                <a:cs typeface="+mn-cs"/>
              </a:rPr>
              <a:t>Deliver IT modernization and </a:t>
            </a:r>
            <a:br>
              <a:rPr kumimoji="0" lang="en-US" sz="1400" b="0" i="0" u="none" strike="noStrike" kern="1200" cap="none" spc="0" normalizeH="0" baseline="0" noProof="0">
                <a:ln>
                  <a:noFill/>
                </a:ln>
                <a:solidFill>
                  <a:srgbClr val="000000"/>
                </a:solidFill>
                <a:effectLst/>
                <a:uLnTx/>
                <a:uFillTx/>
                <a:latin typeface="72 Brand"/>
                <a:ea typeface="+mn-ea"/>
                <a:cs typeface="+mn-cs"/>
              </a:rPr>
            </a:br>
            <a:r>
              <a:rPr kumimoji="0" lang="en-US" sz="1400" b="0" i="0" u="none" strike="noStrike" kern="1200" cap="none" spc="0" normalizeH="0" baseline="0" noProof="0">
                <a:ln>
                  <a:noFill/>
                </a:ln>
                <a:solidFill>
                  <a:srgbClr val="000000"/>
                </a:solidFill>
                <a:effectLst/>
                <a:uLnTx/>
                <a:uFillTx/>
                <a:latin typeface="72 Brand"/>
                <a:ea typeface="+mn-ea"/>
                <a:cs typeface="+mn-cs"/>
              </a:rPr>
              <a:t>AI-powered innovation with the </a:t>
            </a:r>
            <a:br>
              <a:rPr kumimoji="0" lang="en-US" sz="1400" b="0" i="0" u="none" strike="noStrike" kern="1200" cap="none" spc="0" normalizeH="0" baseline="0" noProof="0">
                <a:ln>
                  <a:noFill/>
                </a:ln>
                <a:solidFill>
                  <a:srgbClr val="000000"/>
                </a:solidFill>
                <a:effectLst/>
                <a:uLnTx/>
                <a:uFillTx/>
                <a:latin typeface="72 Brand Medium"/>
                <a:ea typeface="+mn-ea"/>
                <a:cs typeface="+mn-cs"/>
              </a:rPr>
            </a:br>
            <a:r>
              <a:rPr kumimoji="0" lang="en-US" sz="1400" b="0" i="0" u="none" strike="noStrike" kern="1200" cap="none" spc="0" normalizeH="0" baseline="0" noProof="0">
                <a:ln>
                  <a:noFill/>
                </a:ln>
                <a:solidFill>
                  <a:srgbClr val="7858FF"/>
                </a:solidFill>
                <a:effectLst/>
                <a:uLnTx/>
                <a:uFillTx/>
                <a:latin typeface="72 Brand Medium"/>
                <a:ea typeface="+mn-ea"/>
                <a:cs typeface="+mn-cs"/>
              </a:rPr>
              <a:t>SAP Business Suite</a:t>
            </a:r>
          </a:p>
        </p:txBody>
      </p:sp>
      <p:sp>
        <p:nvSpPr>
          <p:cNvPr id="305" name="Rectangle 304">
            <a:extLst>
              <a:ext uri="{FF2B5EF4-FFF2-40B4-BE49-F238E27FC236}">
                <a16:creationId xmlns:a16="http://schemas.microsoft.com/office/drawing/2014/main" id="{6DBB0F9D-9580-EC29-B2DF-4453C402877E}"/>
              </a:ext>
            </a:extLst>
          </p:cNvPr>
          <p:cNvSpPr/>
          <p:nvPr/>
        </p:nvSpPr>
        <p:spPr bwMode="gray">
          <a:xfrm>
            <a:off x="8020998" y="4215986"/>
            <a:ext cx="1755648" cy="1016000"/>
          </a:xfrm>
          <a:prstGeom prst="rect">
            <a:avLst/>
          </a:prstGeom>
          <a:noFill/>
          <a:ln w="25400" algn="ctr">
            <a:noFill/>
            <a:miter lim="800000"/>
            <a:headEnd/>
            <a:tailEnd/>
          </a:ln>
        </p:spPr>
        <p:txBody>
          <a:bodyPr lIns="0" tIns="0" rIns="0" bIns="0" rtlCol="0" anchor="t"/>
          <a:lstStyle/>
          <a:p>
            <a:pPr marL="0" marR="0" lvl="0" indent="0" algn="l" defTabSz="1088014"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72 Brand"/>
                <a:ea typeface="+mn-ea"/>
                <a:cs typeface="+mn-cs"/>
              </a:rPr>
              <a:t>Apply </a:t>
            </a:r>
            <a:r>
              <a:rPr kumimoji="0" lang="en-US" sz="1400" b="0" i="0" u="none" strike="noStrike" kern="1200" cap="none" spc="0" normalizeH="0" baseline="0" noProof="0">
                <a:ln>
                  <a:noFill/>
                </a:ln>
                <a:solidFill>
                  <a:srgbClr val="7858FF"/>
                </a:solidFill>
                <a:effectLst/>
                <a:uLnTx/>
                <a:uFillTx/>
                <a:latin typeface="72 Brand Medium"/>
                <a:ea typeface="+mn-ea"/>
                <a:cs typeface="+mn-cs"/>
              </a:rPr>
              <a:t>AI-enabled personalization </a:t>
            </a:r>
            <a:r>
              <a:rPr kumimoji="0" lang="en-US" sz="1400" b="0" i="0" u="none" strike="noStrike" kern="1200" cap="none" spc="0" normalizeH="0" baseline="0" noProof="0">
                <a:ln>
                  <a:noFill/>
                </a:ln>
                <a:solidFill>
                  <a:srgbClr val="000000"/>
                </a:solidFill>
                <a:effectLst/>
                <a:uLnTx/>
                <a:uFillTx/>
                <a:latin typeface="72 Brand"/>
                <a:ea typeface="+mn-ea"/>
                <a:cs typeface="+mn-cs"/>
              </a:rPr>
              <a:t>to customer interactions and predict sales opportunities</a:t>
            </a:r>
          </a:p>
        </p:txBody>
      </p:sp>
      <p:sp>
        <p:nvSpPr>
          <p:cNvPr id="306" name="TextBox 305">
            <a:extLst>
              <a:ext uri="{FF2B5EF4-FFF2-40B4-BE49-F238E27FC236}">
                <a16:creationId xmlns:a16="http://schemas.microsoft.com/office/drawing/2014/main" id="{DA9F339A-7583-C1B1-A89E-527F0453B402}"/>
              </a:ext>
            </a:extLst>
          </p:cNvPr>
          <p:cNvSpPr txBox="1"/>
          <p:nvPr/>
        </p:nvSpPr>
        <p:spPr>
          <a:xfrm>
            <a:off x="574802" y="963048"/>
            <a:ext cx="11042510" cy="215444"/>
          </a:xfrm>
          <a:prstGeom prst="rect">
            <a:avLst/>
          </a:prstGeom>
          <a:noFill/>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72 Brand" panose="020B0504030603020204" pitchFamily="34" charset="0"/>
              </a:rPr>
              <a:t>SAP Business Suite delivers AI-powered value to every part of your business. But the real magic happens when everything comes together.</a:t>
            </a:r>
          </a:p>
        </p:txBody>
      </p:sp>
      <p:sp>
        <p:nvSpPr>
          <p:cNvPr id="307" name="Title 1">
            <a:extLst>
              <a:ext uri="{FF2B5EF4-FFF2-40B4-BE49-F238E27FC236}">
                <a16:creationId xmlns:a16="http://schemas.microsoft.com/office/drawing/2014/main" id="{D45350BC-F717-B1BD-C2C4-998E304FCCD7}"/>
              </a:ext>
            </a:extLst>
          </p:cNvPr>
          <p:cNvSpPr txBox="1">
            <a:spLocks/>
          </p:cNvSpPr>
          <p:nvPr/>
        </p:nvSpPr>
        <p:spPr>
          <a:xfrm>
            <a:off x="570254" y="543155"/>
            <a:ext cx="8245014" cy="313932"/>
          </a:xfrm>
          <a:prstGeom prst="rect">
            <a:avLst/>
          </a:prstGeom>
        </p:spPr>
        <p:txBody>
          <a:bodyPr vert="horz" wrap="none" lIns="0" tIns="0" rIns="0" bIns="0" rtlCol="0" anchor="t" anchorCtr="0">
            <a:spAutoFit/>
          </a:bodyPr>
          <a:lstStyle>
            <a:lvl1pPr defTabSz="1088558">
              <a:lnSpc>
                <a:spcPct val="85000"/>
              </a:lnSpc>
              <a:spcBef>
                <a:spcPct val="0"/>
              </a:spcBef>
              <a:buNone/>
              <a:defRPr sz="2600" b="0" i="0" baseline="0">
                <a:gradFill>
                  <a:gsLst>
                    <a:gs pos="0">
                      <a:srgbClr val="000000"/>
                    </a:gs>
                    <a:gs pos="100000">
                      <a:srgbClr val="000000"/>
                    </a:gs>
                  </a:gsLst>
                  <a:lin ang="18900000" scaled="1"/>
                </a:gradFill>
                <a:latin typeface="+mj-lt"/>
                <a:ea typeface="+mj-ea"/>
                <a:cs typeface="+mj-cs"/>
              </a:defRPr>
            </a:lvl1pPr>
          </a:lstStyle>
          <a:p>
            <a:pPr marL="0" marR="0" lvl="0" indent="0" algn="l" defTabSz="1088558" rtl="0" eaLnBrk="1" fontAlgn="auto" latinLnBrk="0" hangingPunct="1">
              <a:lnSpc>
                <a:spcPct val="85000"/>
              </a:lnSpc>
              <a:spcBef>
                <a:spcPct val="0"/>
              </a:spcBef>
              <a:spcAft>
                <a:spcPts val="0"/>
              </a:spcAft>
              <a:buClrTx/>
              <a:buSzTx/>
              <a:buFontTx/>
              <a:buNone/>
              <a:tabLst/>
              <a:defRPr/>
            </a:pPr>
            <a:r>
              <a:rPr kumimoji="0" lang="en-US" sz="2400" b="1" i="0" u="none" strike="noStrike" kern="1200" cap="none" spc="0" normalizeH="0" baseline="0" noProof="0">
                <a:ln>
                  <a:noFill/>
                </a:ln>
                <a:gradFill>
                  <a:gsLst>
                    <a:gs pos="0">
                      <a:srgbClr val="000000"/>
                    </a:gs>
                    <a:gs pos="100000">
                      <a:srgbClr val="000000"/>
                    </a:gs>
                  </a:gsLst>
                  <a:lin ang="18900000" scaled="1"/>
                </a:gradFill>
                <a:effectLst/>
                <a:uLnTx/>
                <a:uFillTx/>
                <a:ea typeface="+mj-ea"/>
                <a:cs typeface="+mj-cs"/>
              </a:rPr>
              <a:t>Solving individual challenges. Unleashing collective power. </a:t>
            </a:r>
          </a:p>
        </p:txBody>
      </p:sp>
      <p:grpSp>
        <p:nvGrpSpPr>
          <p:cNvPr id="308" name="Group 307">
            <a:extLst>
              <a:ext uri="{FF2B5EF4-FFF2-40B4-BE49-F238E27FC236}">
                <a16:creationId xmlns:a16="http://schemas.microsoft.com/office/drawing/2014/main" id="{D240CF0E-ACF3-7108-A604-B287316200DE}"/>
              </a:ext>
            </a:extLst>
          </p:cNvPr>
          <p:cNvGrpSpPr/>
          <p:nvPr/>
        </p:nvGrpSpPr>
        <p:grpSpPr>
          <a:xfrm>
            <a:off x="4797021" y="1791046"/>
            <a:ext cx="770908" cy="380654"/>
            <a:chOff x="1893624" y="1445467"/>
            <a:chExt cx="849576" cy="419498"/>
          </a:xfrm>
        </p:grpSpPr>
        <p:sp>
          <p:nvSpPr>
            <p:cNvPr id="309" name="Freeform: Shape 308">
              <a:extLst>
                <a:ext uri="{FF2B5EF4-FFF2-40B4-BE49-F238E27FC236}">
                  <a16:creationId xmlns:a16="http://schemas.microsoft.com/office/drawing/2014/main" id="{6943A2E2-E184-61F1-E31E-6FEEFAE44ED9}"/>
                </a:ext>
              </a:extLst>
            </p:cNvPr>
            <p:cNvSpPr/>
            <p:nvPr/>
          </p:nvSpPr>
          <p:spPr>
            <a:xfrm>
              <a:off x="1957093" y="1445467"/>
              <a:ext cx="723308" cy="360042"/>
            </a:xfrm>
            <a:custGeom>
              <a:avLst/>
              <a:gdLst>
                <a:gd name="connsiteX0" fmla="*/ 7579920 w 7579919"/>
                <a:gd name="connsiteY0" fmla="*/ 3773067 h 3773066"/>
                <a:gd name="connsiteX1" fmla="*/ 3789996 w 7579919"/>
                <a:gd name="connsiteY1" fmla="*/ 0 h 3773066"/>
                <a:gd name="connsiteX2" fmla="*/ 0 w 7579919"/>
                <a:gd name="connsiteY2" fmla="*/ 3773067 h 3773066"/>
                <a:gd name="connsiteX3" fmla="*/ 7579920 w 7579919"/>
                <a:gd name="connsiteY3" fmla="*/ 3773067 h 3773066"/>
              </a:gdLst>
              <a:ahLst/>
              <a:cxnLst>
                <a:cxn ang="0">
                  <a:pos x="connsiteX0" y="connsiteY0"/>
                </a:cxn>
                <a:cxn ang="0">
                  <a:pos x="connsiteX1" y="connsiteY1"/>
                </a:cxn>
                <a:cxn ang="0">
                  <a:pos x="connsiteX2" y="connsiteY2"/>
                </a:cxn>
                <a:cxn ang="0">
                  <a:pos x="connsiteX3" y="connsiteY3"/>
                </a:cxn>
              </a:cxnLst>
              <a:rect l="l" t="t" r="r" b="b"/>
              <a:pathLst>
                <a:path w="7579919" h="3773066">
                  <a:moveTo>
                    <a:pt x="7579920" y="3773067"/>
                  </a:moveTo>
                  <a:cubicBezTo>
                    <a:pt x="7579920" y="1689251"/>
                    <a:pt x="5883079" y="0"/>
                    <a:pt x="3789996" y="0"/>
                  </a:cubicBezTo>
                  <a:cubicBezTo>
                    <a:pt x="1696913" y="0"/>
                    <a:pt x="0" y="1689251"/>
                    <a:pt x="0" y="3773067"/>
                  </a:cubicBezTo>
                  <a:lnTo>
                    <a:pt x="7579920" y="3773067"/>
                  </a:lnTo>
                  <a:close/>
                </a:path>
              </a:pathLst>
            </a:custGeom>
            <a:solidFill>
              <a:srgbClr val="7858FF"/>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10" name="Freeform: Shape 309">
              <a:extLst>
                <a:ext uri="{FF2B5EF4-FFF2-40B4-BE49-F238E27FC236}">
                  <a16:creationId xmlns:a16="http://schemas.microsoft.com/office/drawing/2014/main" id="{988AF06C-0E6E-5B74-6747-99B24D0C721D}"/>
                </a:ext>
              </a:extLst>
            </p:cNvPr>
            <p:cNvSpPr/>
            <p:nvPr/>
          </p:nvSpPr>
          <p:spPr>
            <a:xfrm>
              <a:off x="1993449" y="1480207"/>
              <a:ext cx="650603" cy="325301"/>
            </a:xfrm>
            <a:custGeom>
              <a:avLst/>
              <a:gdLst>
                <a:gd name="connsiteX0" fmla="*/ 6818009 w 6818008"/>
                <a:gd name="connsiteY0" fmla="*/ 3409005 h 3409004"/>
                <a:gd name="connsiteX1" fmla="*/ 3409005 w 6818008"/>
                <a:gd name="connsiteY1" fmla="*/ 0 h 3409004"/>
                <a:gd name="connsiteX2" fmla="*/ 0 w 6818008"/>
                <a:gd name="connsiteY2" fmla="*/ 3409005 h 3409004"/>
                <a:gd name="connsiteX3" fmla="*/ 6818009 w 6818008"/>
                <a:gd name="connsiteY3" fmla="*/ 3409005 h 3409004"/>
              </a:gdLst>
              <a:ahLst/>
              <a:cxnLst>
                <a:cxn ang="0">
                  <a:pos x="connsiteX0" y="connsiteY0"/>
                </a:cxn>
                <a:cxn ang="0">
                  <a:pos x="connsiteX1" y="connsiteY1"/>
                </a:cxn>
                <a:cxn ang="0">
                  <a:pos x="connsiteX2" y="connsiteY2"/>
                </a:cxn>
                <a:cxn ang="0">
                  <a:pos x="connsiteX3" y="connsiteY3"/>
                </a:cxn>
              </a:cxnLst>
              <a:rect l="l" t="t" r="r" b="b"/>
              <a:pathLst>
                <a:path w="6818008" h="3409004">
                  <a:moveTo>
                    <a:pt x="6818009" y="3409005"/>
                  </a:moveTo>
                  <a:cubicBezTo>
                    <a:pt x="6818009" y="1526230"/>
                    <a:pt x="5291707" y="0"/>
                    <a:pt x="3409005" y="0"/>
                  </a:cubicBezTo>
                  <a:cubicBezTo>
                    <a:pt x="1526302" y="0"/>
                    <a:pt x="0" y="1526302"/>
                    <a:pt x="0" y="3409005"/>
                  </a:cubicBezTo>
                  <a:lnTo>
                    <a:pt x="6818009" y="3409005"/>
                  </a:lnTo>
                  <a:close/>
                </a:path>
              </a:pathLst>
            </a:custGeom>
            <a:solidFill>
              <a:srgbClr val="9B76FF">
                <a:alpha val="50000"/>
              </a:srgbClr>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11" name="Freeform: Shape 310">
              <a:extLst>
                <a:ext uri="{FF2B5EF4-FFF2-40B4-BE49-F238E27FC236}">
                  <a16:creationId xmlns:a16="http://schemas.microsoft.com/office/drawing/2014/main" id="{CEF048F3-5FED-C55C-8B2B-A36C97A0507A}"/>
                </a:ext>
              </a:extLst>
            </p:cNvPr>
            <p:cNvSpPr/>
            <p:nvPr/>
          </p:nvSpPr>
          <p:spPr>
            <a:xfrm>
              <a:off x="2029617" y="1516702"/>
              <a:ext cx="577613" cy="288806"/>
            </a:xfrm>
            <a:custGeom>
              <a:avLst/>
              <a:gdLst>
                <a:gd name="connsiteX0" fmla="*/ 0 w 6053106"/>
                <a:gd name="connsiteY0" fmla="*/ 3026553 h 3026553"/>
                <a:gd name="connsiteX1" fmla="*/ 3026553 w 6053106"/>
                <a:gd name="connsiteY1" fmla="*/ 0 h 3026553"/>
                <a:gd name="connsiteX2" fmla="*/ 6053107 w 6053106"/>
                <a:gd name="connsiteY2" fmla="*/ 3026553 h 3026553"/>
              </a:gdLst>
              <a:ahLst/>
              <a:cxnLst>
                <a:cxn ang="0">
                  <a:pos x="connsiteX0" y="connsiteY0"/>
                </a:cxn>
                <a:cxn ang="0">
                  <a:pos x="connsiteX1" y="connsiteY1"/>
                </a:cxn>
                <a:cxn ang="0">
                  <a:pos x="connsiteX2" y="connsiteY2"/>
                </a:cxn>
              </a:cxnLst>
              <a:rect l="l" t="t" r="r" b="b"/>
              <a:pathLst>
                <a:path w="6053106" h="3026553">
                  <a:moveTo>
                    <a:pt x="0" y="3026553"/>
                  </a:moveTo>
                  <a:cubicBezTo>
                    <a:pt x="0" y="1355035"/>
                    <a:pt x="1355035" y="0"/>
                    <a:pt x="3026553" y="0"/>
                  </a:cubicBezTo>
                  <a:cubicBezTo>
                    <a:pt x="4698072" y="0"/>
                    <a:pt x="6053107" y="1355035"/>
                    <a:pt x="6053107" y="3026553"/>
                  </a:cubicBezTo>
                </a:path>
              </a:pathLst>
            </a:custGeom>
            <a:solidFill>
              <a:srgbClr val="4DB1FF"/>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12" name="Freeform: Shape 311">
              <a:extLst>
                <a:ext uri="{FF2B5EF4-FFF2-40B4-BE49-F238E27FC236}">
                  <a16:creationId xmlns:a16="http://schemas.microsoft.com/office/drawing/2014/main" id="{9BC4E553-B0F4-CFFD-2552-C37D32801209}"/>
                </a:ext>
              </a:extLst>
            </p:cNvPr>
            <p:cNvSpPr/>
            <p:nvPr/>
          </p:nvSpPr>
          <p:spPr>
            <a:xfrm>
              <a:off x="1893624" y="1792842"/>
              <a:ext cx="849576" cy="72123"/>
            </a:xfrm>
            <a:custGeom>
              <a:avLst/>
              <a:gdLst>
                <a:gd name="connsiteX0" fmla="*/ 8884943 w 8903148"/>
                <a:gd name="connsiteY0" fmla="*/ 682224 h 755813"/>
                <a:gd name="connsiteX1" fmla="*/ 8420471 w 8903148"/>
                <a:gd name="connsiteY1" fmla="*/ 45900 h 755813"/>
                <a:gd name="connsiteX2" fmla="*/ 8325095 w 8903148"/>
                <a:gd name="connsiteY2" fmla="*/ 0 h 755813"/>
                <a:gd name="connsiteX3" fmla="*/ 561867 w 8903148"/>
                <a:gd name="connsiteY3" fmla="*/ 0 h 755813"/>
                <a:gd name="connsiteX4" fmla="*/ 458392 w 8903148"/>
                <a:gd name="connsiteY4" fmla="*/ 59035 h 755813"/>
                <a:gd name="connsiteX5" fmla="*/ 8951 w 8903148"/>
                <a:gd name="connsiteY5" fmla="*/ 696673 h 755813"/>
                <a:gd name="connsiteX6" fmla="*/ 8951 w 8903148"/>
                <a:gd name="connsiteY6" fmla="*/ 743886 h 755813"/>
                <a:gd name="connsiteX7" fmla="*/ 52516 w 8903148"/>
                <a:gd name="connsiteY7" fmla="*/ 755708 h 755813"/>
                <a:gd name="connsiteX8" fmla="*/ 8860497 w 8903148"/>
                <a:gd name="connsiteY8" fmla="*/ 755708 h 755813"/>
                <a:gd name="connsiteX9" fmla="*/ 8899976 w 8903148"/>
                <a:gd name="connsiteY9" fmla="*/ 737319 h 755813"/>
                <a:gd name="connsiteX10" fmla="*/ 8885016 w 8903148"/>
                <a:gd name="connsiteY10" fmla="*/ 682224 h 75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3148" h="755813">
                  <a:moveTo>
                    <a:pt x="8884943" y="682224"/>
                  </a:moveTo>
                  <a:lnTo>
                    <a:pt x="8420471" y="45900"/>
                  </a:lnTo>
                  <a:cubicBezTo>
                    <a:pt x="8420471" y="45900"/>
                    <a:pt x="8402738" y="0"/>
                    <a:pt x="8325095" y="0"/>
                  </a:cubicBezTo>
                  <a:lnTo>
                    <a:pt x="561867" y="0"/>
                  </a:lnTo>
                  <a:cubicBezTo>
                    <a:pt x="561867" y="0"/>
                    <a:pt x="499184" y="1314"/>
                    <a:pt x="458392" y="59035"/>
                  </a:cubicBezTo>
                  <a:cubicBezTo>
                    <a:pt x="417527" y="116757"/>
                    <a:pt x="8951" y="696673"/>
                    <a:pt x="8951" y="696673"/>
                  </a:cubicBezTo>
                  <a:cubicBezTo>
                    <a:pt x="8951" y="696673"/>
                    <a:pt x="-11189" y="721484"/>
                    <a:pt x="8951" y="743886"/>
                  </a:cubicBezTo>
                  <a:cubicBezTo>
                    <a:pt x="21138" y="757387"/>
                    <a:pt x="52516" y="755708"/>
                    <a:pt x="52516" y="755708"/>
                  </a:cubicBezTo>
                  <a:lnTo>
                    <a:pt x="8860497" y="755708"/>
                  </a:lnTo>
                  <a:cubicBezTo>
                    <a:pt x="8860497" y="755708"/>
                    <a:pt x="8887716" y="758335"/>
                    <a:pt x="8899976" y="737319"/>
                  </a:cubicBezTo>
                  <a:cubicBezTo>
                    <a:pt x="8912235" y="716303"/>
                    <a:pt x="8885016" y="682224"/>
                    <a:pt x="8885016" y="682224"/>
                  </a:cubicBezTo>
                  <a:close/>
                </a:path>
              </a:pathLst>
            </a:custGeom>
            <a:gradFill>
              <a:gsLst>
                <a:gs pos="0">
                  <a:srgbClr val="0070F2"/>
                </a:gs>
                <a:gs pos="7000">
                  <a:srgbClr val="0070F2"/>
                </a:gs>
                <a:gs pos="14000">
                  <a:srgbClr val="0070F2"/>
                </a:gs>
                <a:gs pos="100000">
                  <a:srgbClr val="0070F2"/>
                </a:gs>
              </a:gsLst>
              <a:lin ang="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13" name="Freeform: Shape 312">
              <a:extLst>
                <a:ext uri="{FF2B5EF4-FFF2-40B4-BE49-F238E27FC236}">
                  <a16:creationId xmlns:a16="http://schemas.microsoft.com/office/drawing/2014/main" id="{9BD02D9F-6E0A-3A82-5F27-5B06B2A52311}"/>
                </a:ext>
              </a:extLst>
            </p:cNvPr>
            <p:cNvSpPr/>
            <p:nvPr/>
          </p:nvSpPr>
          <p:spPr>
            <a:xfrm>
              <a:off x="2066460" y="1553908"/>
              <a:ext cx="503202" cy="251601"/>
            </a:xfrm>
            <a:custGeom>
              <a:avLst/>
              <a:gdLst>
                <a:gd name="connsiteX0" fmla="*/ 0 w 5273317"/>
                <a:gd name="connsiteY0" fmla="*/ 2636659 h 2636658"/>
                <a:gd name="connsiteX1" fmla="*/ 2636659 w 5273317"/>
                <a:gd name="connsiteY1" fmla="*/ 0 h 2636658"/>
                <a:gd name="connsiteX2" fmla="*/ 5273317 w 5273317"/>
                <a:gd name="connsiteY2" fmla="*/ 2636659 h 2636658"/>
              </a:gdLst>
              <a:ahLst/>
              <a:cxnLst>
                <a:cxn ang="0">
                  <a:pos x="connsiteX0" y="connsiteY0"/>
                </a:cxn>
                <a:cxn ang="0">
                  <a:pos x="connsiteX1" y="connsiteY1"/>
                </a:cxn>
                <a:cxn ang="0">
                  <a:pos x="connsiteX2" y="connsiteY2"/>
                </a:cxn>
              </a:cxnLst>
              <a:rect l="l" t="t" r="r" b="b"/>
              <a:pathLst>
                <a:path w="5273317" h="2636658">
                  <a:moveTo>
                    <a:pt x="0" y="2636659"/>
                  </a:moveTo>
                  <a:cubicBezTo>
                    <a:pt x="0" y="1180484"/>
                    <a:pt x="1180483" y="0"/>
                    <a:pt x="2636659" y="0"/>
                  </a:cubicBezTo>
                  <a:cubicBezTo>
                    <a:pt x="4092834" y="0"/>
                    <a:pt x="5273317" y="1180484"/>
                    <a:pt x="5273317" y="2636659"/>
                  </a:cubicBezTo>
                </a:path>
              </a:pathLst>
            </a:custGeom>
            <a:solidFill>
              <a:schemeClr val="bg1"/>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14" name="Freeform: Shape 313">
              <a:extLst>
                <a:ext uri="{FF2B5EF4-FFF2-40B4-BE49-F238E27FC236}">
                  <a16:creationId xmlns:a16="http://schemas.microsoft.com/office/drawing/2014/main" id="{E94176D1-3B09-A4A8-3129-2ACA0ECC1BB9}"/>
                </a:ext>
              </a:extLst>
            </p:cNvPr>
            <p:cNvSpPr/>
            <p:nvPr/>
          </p:nvSpPr>
          <p:spPr>
            <a:xfrm>
              <a:off x="2234096" y="1721140"/>
              <a:ext cx="168737" cy="84368"/>
            </a:xfrm>
            <a:custGeom>
              <a:avLst/>
              <a:gdLst>
                <a:gd name="connsiteX0" fmla="*/ 0 w 1768280"/>
                <a:gd name="connsiteY0" fmla="*/ 884140 h 884140"/>
                <a:gd name="connsiteX1" fmla="*/ 884140 w 1768280"/>
                <a:gd name="connsiteY1" fmla="*/ 0 h 884140"/>
                <a:gd name="connsiteX2" fmla="*/ 1768281 w 1768280"/>
                <a:gd name="connsiteY2" fmla="*/ 884140 h 884140"/>
              </a:gdLst>
              <a:ahLst/>
              <a:cxnLst>
                <a:cxn ang="0">
                  <a:pos x="connsiteX0" y="connsiteY0"/>
                </a:cxn>
                <a:cxn ang="0">
                  <a:pos x="connsiteX1" y="connsiteY1"/>
                </a:cxn>
                <a:cxn ang="0">
                  <a:pos x="connsiteX2" y="connsiteY2"/>
                </a:cxn>
              </a:cxnLst>
              <a:rect l="l" t="t" r="r" b="b"/>
              <a:pathLst>
                <a:path w="1768280" h="884140">
                  <a:moveTo>
                    <a:pt x="0" y="884140"/>
                  </a:moveTo>
                  <a:cubicBezTo>
                    <a:pt x="0" y="395878"/>
                    <a:pt x="395805" y="0"/>
                    <a:pt x="884140" y="0"/>
                  </a:cubicBezTo>
                  <a:cubicBezTo>
                    <a:pt x="1372475" y="0"/>
                    <a:pt x="1768281" y="395805"/>
                    <a:pt x="1768281" y="884140"/>
                  </a:cubicBezTo>
                </a:path>
              </a:pathLst>
            </a:custGeom>
            <a:solidFill>
              <a:srgbClr val="0070F2"/>
            </a:solidFill>
            <a:ln w="7292" cap="flat">
              <a:solidFill>
                <a:srgbClr val="0070F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15" name="Freeform: Shape 314">
              <a:extLst>
                <a:ext uri="{FF2B5EF4-FFF2-40B4-BE49-F238E27FC236}">
                  <a16:creationId xmlns:a16="http://schemas.microsoft.com/office/drawing/2014/main" id="{70BDE5E0-8114-011F-96A8-DEA655D433AE}"/>
                </a:ext>
              </a:extLst>
            </p:cNvPr>
            <p:cNvSpPr/>
            <p:nvPr/>
          </p:nvSpPr>
          <p:spPr>
            <a:xfrm rot="18304802">
              <a:off x="2166023" y="1630058"/>
              <a:ext cx="696" cy="125146"/>
            </a:xfrm>
            <a:custGeom>
              <a:avLst/>
              <a:gdLst>
                <a:gd name="connsiteX0" fmla="*/ 0 w 7297"/>
                <a:gd name="connsiteY0" fmla="*/ 0 h 1311469"/>
                <a:gd name="connsiteX1" fmla="*/ 7297 w 7297"/>
                <a:gd name="connsiteY1" fmla="*/ 0 h 1311469"/>
                <a:gd name="connsiteX2" fmla="*/ 7297 w 7297"/>
                <a:gd name="connsiteY2" fmla="*/ 1311470 h 1311469"/>
                <a:gd name="connsiteX3" fmla="*/ 0 w 7297"/>
                <a:gd name="connsiteY3" fmla="*/ 1311470 h 1311469"/>
              </a:gdLst>
              <a:ahLst/>
              <a:cxnLst>
                <a:cxn ang="0">
                  <a:pos x="connsiteX0" y="connsiteY0"/>
                </a:cxn>
                <a:cxn ang="0">
                  <a:pos x="connsiteX1" y="connsiteY1"/>
                </a:cxn>
                <a:cxn ang="0">
                  <a:pos x="connsiteX2" y="connsiteY2"/>
                </a:cxn>
                <a:cxn ang="0">
                  <a:pos x="connsiteX3" y="connsiteY3"/>
                </a:cxn>
              </a:cxnLst>
              <a:rect l="l" t="t" r="r" b="b"/>
              <a:pathLst>
                <a:path w="7297" h="1311469">
                  <a:moveTo>
                    <a:pt x="0" y="0"/>
                  </a:moveTo>
                  <a:lnTo>
                    <a:pt x="7297" y="0"/>
                  </a:lnTo>
                  <a:lnTo>
                    <a:pt x="7297" y="1311470"/>
                  </a:lnTo>
                  <a:lnTo>
                    <a:pt x="0" y="1311470"/>
                  </a:lnTo>
                  <a:close/>
                </a:path>
              </a:pathLst>
            </a:custGeom>
            <a:gradFill>
              <a:gsLst>
                <a:gs pos="0">
                  <a:srgbClr val="4DB1FF"/>
                </a:gs>
                <a:gs pos="50000">
                  <a:srgbClr val="79C8FF"/>
                </a:gs>
                <a:gs pos="100000">
                  <a:srgbClr val="A6E0FF"/>
                </a:gs>
              </a:gsLst>
              <a:lin ang="3295198"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16" name="Freeform: Shape 315">
              <a:extLst>
                <a:ext uri="{FF2B5EF4-FFF2-40B4-BE49-F238E27FC236}">
                  <a16:creationId xmlns:a16="http://schemas.microsoft.com/office/drawing/2014/main" id="{ED535B5C-D89B-EF9D-14CC-C9A55D722564}"/>
                </a:ext>
              </a:extLst>
            </p:cNvPr>
            <p:cNvSpPr/>
            <p:nvPr/>
          </p:nvSpPr>
          <p:spPr>
            <a:xfrm rot="19472402">
              <a:off x="2408420" y="1692304"/>
              <a:ext cx="124032" cy="696"/>
            </a:xfrm>
            <a:custGeom>
              <a:avLst/>
              <a:gdLst>
                <a:gd name="connsiteX0" fmla="*/ 0 w 1299794"/>
                <a:gd name="connsiteY0" fmla="*/ 0 h 7297"/>
                <a:gd name="connsiteX1" fmla="*/ 1299794 w 1299794"/>
                <a:gd name="connsiteY1" fmla="*/ 0 h 7297"/>
                <a:gd name="connsiteX2" fmla="*/ 1299794 w 1299794"/>
                <a:gd name="connsiteY2" fmla="*/ 7297 h 7297"/>
                <a:gd name="connsiteX3" fmla="*/ 0 w 1299794"/>
                <a:gd name="connsiteY3" fmla="*/ 7297 h 7297"/>
              </a:gdLst>
              <a:ahLst/>
              <a:cxnLst>
                <a:cxn ang="0">
                  <a:pos x="connsiteX0" y="connsiteY0"/>
                </a:cxn>
                <a:cxn ang="0">
                  <a:pos x="connsiteX1" y="connsiteY1"/>
                </a:cxn>
                <a:cxn ang="0">
                  <a:pos x="connsiteX2" y="connsiteY2"/>
                </a:cxn>
                <a:cxn ang="0">
                  <a:pos x="connsiteX3" y="connsiteY3"/>
                </a:cxn>
              </a:cxnLst>
              <a:rect l="l" t="t" r="r" b="b"/>
              <a:pathLst>
                <a:path w="1299794" h="7297">
                  <a:moveTo>
                    <a:pt x="0" y="0"/>
                  </a:moveTo>
                  <a:lnTo>
                    <a:pt x="1299794" y="0"/>
                  </a:lnTo>
                  <a:lnTo>
                    <a:pt x="1299794" y="7297"/>
                  </a:lnTo>
                  <a:lnTo>
                    <a:pt x="0" y="7297"/>
                  </a:lnTo>
                  <a:close/>
                </a:path>
              </a:pathLst>
            </a:custGeom>
            <a:gradFill>
              <a:gsLst>
                <a:gs pos="0">
                  <a:srgbClr val="A6E0FF"/>
                </a:gs>
                <a:gs pos="77000">
                  <a:srgbClr val="4DB1FF"/>
                </a:gs>
              </a:gsLst>
              <a:lin ang="2127598"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17" name="Freeform: Shape 316">
              <a:extLst>
                <a:ext uri="{FF2B5EF4-FFF2-40B4-BE49-F238E27FC236}">
                  <a16:creationId xmlns:a16="http://schemas.microsoft.com/office/drawing/2014/main" id="{37428C3B-EAD7-7270-16B6-7A35397E0CB1}"/>
                </a:ext>
              </a:extLst>
            </p:cNvPr>
            <p:cNvSpPr/>
            <p:nvPr/>
          </p:nvSpPr>
          <p:spPr>
            <a:xfrm rot="17278800">
              <a:off x="2314978" y="1625033"/>
              <a:ext cx="124206" cy="696"/>
            </a:xfrm>
            <a:custGeom>
              <a:avLst/>
              <a:gdLst>
                <a:gd name="connsiteX0" fmla="*/ 0 w 1301618"/>
                <a:gd name="connsiteY0" fmla="*/ 0 h 7297"/>
                <a:gd name="connsiteX1" fmla="*/ 1301618 w 1301618"/>
                <a:gd name="connsiteY1" fmla="*/ 0 h 7297"/>
                <a:gd name="connsiteX2" fmla="*/ 1301618 w 1301618"/>
                <a:gd name="connsiteY2" fmla="*/ 7297 h 7297"/>
                <a:gd name="connsiteX3" fmla="*/ 0 w 1301618"/>
                <a:gd name="connsiteY3" fmla="*/ 7297 h 7297"/>
              </a:gdLst>
              <a:ahLst/>
              <a:cxnLst>
                <a:cxn ang="0">
                  <a:pos x="connsiteX0" y="connsiteY0"/>
                </a:cxn>
                <a:cxn ang="0">
                  <a:pos x="connsiteX1" y="connsiteY1"/>
                </a:cxn>
                <a:cxn ang="0">
                  <a:pos x="connsiteX2" y="connsiteY2"/>
                </a:cxn>
                <a:cxn ang="0">
                  <a:pos x="connsiteX3" y="connsiteY3"/>
                </a:cxn>
              </a:cxnLst>
              <a:rect l="l" t="t" r="r" b="b"/>
              <a:pathLst>
                <a:path w="1301618" h="7297">
                  <a:moveTo>
                    <a:pt x="0" y="0"/>
                  </a:moveTo>
                  <a:lnTo>
                    <a:pt x="1301618" y="0"/>
                  </a:lnTo>
                  <a:lnTo>
                    <a:pt x="1301618" y="7297"/>
                  </a:lnTo>
                  <a:lnTo>
                    <a:pt x="0" y="7297"/>
                  </a:lnTo>
                  <a:close/>
                </a:path>
              </a:pathLst>
            </a:custGeom>
            <a:gradFill>
              <a:gsLst>
                <a:gs pos="0">
                  <a:srgbClr val="A6E0FF"/>
                </a:gs>
                <a:gs pos="77000">
                  <a:srgbClr val="4DB1FF"/>
                </a:gs>
              </a:gsLst>
              <a:lin ang="43212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18" name="Freeform: Shape 317">
              <a:extLst>
                <a:ext uri="{FF2B5EF4-FFF2-40B4-BE49-F238E27FC236}">
                  <a16:creationId xmlns:a16="http://schemas.microsoft.com/office/drawing/2014/main" id="{AE17CA44-2AC3-9C77-4DC7-5B29070F8EAA}"/>
                </a:ext>
              </a:extLst>
            </p:cNvPr>
            <p:cNvSpPr/>
            <p:nvPr/>
          </p:nvSpPr>
          <p:spPr>
            <a:xfrm rot="20515199">
              <a:off x="2260437" y="1563258"/>
              <a:ext cx="696" cy="124122"/>
            </a:xfrm>
            <a:custGeom>
              <a:avLst/>
              <a:gdLst>
                <a:gd name="connsiteX0" fmla="*/ 0 w 7297"/>
                <a:gd name="connsiteY0" fmla="*/ 0 h 1300742"/>
                <a:gd name="connsiteX1" fmla="*/ 7297 w 7297"/>
                <a:gd name="connsiteY1" fmla="*/ 0 h 1300742"/>
                <a:gd name="connsiteX2" fmla="*/ 7297 w 7297"/>
                <a:gd name="connsiteY2" fmla="*/ 1300743 h 1300742"/>
                <a:gd name="connsiteX3" fmla="*/ 0 w 7297"/>
                <a:gd name="connsiteY3" fmla="*/ 1300743 h 1300742"/>
              </a:gdLst>
              <a:ahLst/>
              <a:cxnLst>
                <a:cxn ang="0">
                  <a:pos x="connsiteX0" y="connsiteY0"/>
                </a:cxn>
                <a:cxn ang="0">
                  <a:pos x="connsiteX1" y="connsiteY1"/>
                </a:cxn>
                <a:cxn ang="0">
                  <a:pos x="connsiteX2" y="connsiteY2"/>
                </a:cxn>
                <a:cxn ang="0">
                  <a:pos x="connsiteX3" y="connsiteY3"/>
                </a:cxn>
              </a:cxnLst>
              <a:rect l="l" t="t" r="r" b="b"/>
              <a:pathLst>
                <a:path w="7297" h="1300742">
                  <a:moveTo>
                    <a:pt x="0" y="0"/>
                  </a:moveTo>
                  <a:lnTo>
                    <a:pt x="7297" y="0"/>
                  </a:lnTo>
                  <a:lnTo>
                    <a:pt x="7297" y="1300743"/>
                  </a:lnTo>
                  <a:lnTo>
                    <a:pt x="0" y="1300743"/>
                  </a:lnTo>
                  <a:close/>
                </a:path>
              </a:pathLst>
            </a:custGeom>
            <a:gradFill>
              <a:gsLst>
                <a:gs pos="0">
                  <a:srgbClr val="4DB1FF"/>
                </a:gs>
                <a:gs pos="50000">
                  <a:srgbClr val="79C8FF"/>
                </a:gs>
                <a:gs pos="100000">
                  <a:srgbClr val="A6E0FF"/>
                </a:gs>
              </a:gsLst>
              <a:lin ang="1084801"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19" name="Freeform: Shape 318">
              <a:extLst>
                <a:ext uri="{FF2B5EF4-FFF2-40B4-BE49-F238E27FC236}">
                  <a16:creationId xmlns:a16="http://schemas.microsoft.com/office/drawing/2014/main" id="{1F1AA94A-B748-D582-5D5A-645BC2860C86}"/>
                </a:ext>
              </a:extLst>
            </p:cNvPr>
            <p:cNvSpPr/>
            <p:nvPr/>
          </p:nvSpPr>
          <p:spPr>
            <a:xfrm>
              <a:off x="2191613" y="1677919"/>
              <a:ext cx="254275" cy="127137"/>
            </a:xfrm>
            <a:custGeom>
              <a:avLst/>
              <a:gdLst>
                <a:gd name="connsiteX0" fmla="*/ 2664680 w 2664680"/>
                <a:gd name="connsiteY0" fmla="*/ 1332340 h 1332340"/>
                <a:gd name="connsiteX1" fmla="*/ 2657383 w 2664680"/>
                <a:gd name="connsiteY1" fmla="*/ 1332340 h 1332340"/>
                <a:gd name="connsiteX2" fmla="*/ 1332340 w 2664680"/>
                <a:gd name="connsiteY2" fmla="*/ 7297 h 1332340"/>
                <a:gd name="connsiteX3" fmla="*/ 7297 w 2664680"/>
                <a:gd name="connsiteY3" fmla="*/ 1332340 h 1332340"/>
                <a:gd name="connsiteX4" fmla="*/ 0 w 2664680"/>
                <a:gd name="connsiteY4" fmla="*/ 1332340 h 1332340"/>
                <a:gd name="connsiteX5" fmla="*/ 1332340 w 2664680"/>
                <a:gd name="connsiteY5" fmla="*/ 0 h 1332340"/>
                <a:gd name="connsiteX6" fmla="*/ 2664680 w 2664680"/>
                <a:gd name="connsiteY6" fmla="*/ 1332340 h 1332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4680" h="1332340">
                  <a:moveTo>
                    <a:pt x="2664680" y="1332340"/>
                  </a:moveTo>
                  <a:lnTo>
                    <a:pt x="2657383" y="1332340"/>
                  </a:lnTo>
                  <a:cubicBezTo>
                    <a:pt x="2657383" y="601735"/>
                    <a:pt x="2062945" y="7297"/>
                    <a:pt x="1332340" y="7297"/>
                  </a:cubicBezTo>
                  <a:cubicBezTo>
                    <a:pt x="601735" y="7297"/>
                    <a:pt x="7297" y="601735"/>
                    <a:pt x="7297" y="1332340"/>
                  </a:cubicBezTo>
                  <a:lnTo>
                    <a:pt x="0" y="1332340"/>
                  </a:lnTo>
                  <a:cubicBezTo>
                    <a:pt x="0" y="597722"/>
                    <a:pt x="597721" y="0"/>
                    <a:pt x="1332340" y="0"/>
                  </a:cubicBezTo>
                  <a:cubicBezTo>
                    <a:pt x="2066959" y="0"/>
                    <a:pt x="2664680" y="597722"/>
                    <a:pt x="2664680" y="1332340"/>
                  </a:cubicBezTo>
                  <a:close/>
                </a:path>
              </a:pathLst>
            </a:custGeom>
            <a:gradFill>
              <a:gsLst>
                <a:gs pos="0">
                  <a:srgbClr val="A6E0FF"/>
                </a:gs>
                <a:gs pos="4000">
                  <a:srgbClr val="8CD2FF"/>
                </a:gs>
                <a:gs pos="8000">
                  <a:srgbClr val="76C6FF"/>
                </a:gs>
                <a:gs pos="14000">
                  <a:srgbClr val="65BDFF"/>
                </a:gs>
                <a:gs pos="20000">
                  <a:srgbClr val="59B7FF"/>
                </a:gs>
                <a:gs pos="29000">
                  <a:srgbClr val="52B3FF"/>
                </a:gs>
                <a:gs pos="54000">
                  <a:srgbClr val="51B3FF"/>
                </a:gs>
                <a:gs pos="54000">
                  <a:srgbClr val="4DB1FF"/>
                </a:gs>
                <a:gs pos="70000">
                  <a:srgbClr val="4FB2FF"/>
                </a:gs>
                <a:gs pos="78000">
                  <a:srgbClr val="57B6FF"/>
                </a:gs>
                <a:gs pos="85000">
                  <a:srgbClr val="65BDFF"/>
                </a:gs>
                <a:gs pos="91000">
                  <a:srgbClr val="78C8FF"/>
                </a:gs>
                <a:gs pos="97000">
                  <a:srgbClr val="91D5FF"/>
                </a:gs>
                <a:gs pos="100000">
                  <a:srgbClr val="A6E0FF"/>
                </a:gs>
                <a:gs pos="100000">
                  <a:srgbClr val="4DB1FF"/>
                </a:gs>
              </a:gsLst>
              <a:lin ang="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20" name="Freeform: Shape 319">
              <a:extLst>
                <a:ext uri="{FF2B5EF4-FFF2-40B4-BE49-F238E27FC236}">
                  <a16:creationId xmlns:a16="http://schemas.microsoft.com/office/drawing/2014/main" id="{19DD3141-62B0-4A66-4C05-611B3F66153F}"/>
                </a:ext>
              </a:extLst>
            </p:cNvPr>
            <p:cNvSpPr/>
            <p:nvPr/>
          </p:nvSpPr>
          <p:spPr>
            <a:xfrm rot="18344400">
              <a:off x="2070003" y="1606485"/>
              <a:ext cx="870" cy="36258"/>
            </a:xfrm>
            <a:custGeom>
              <a:avLst/>
              <a:gdLst>
                <a:gd name="connsiteX0" fmla="*/ 0 w 9121"/>
                <a:gd name="connsiteY0" fmla="*/ 0 h 379970"/>
                <a:gd name="connsiteX1" fmla="*/ 9122 w 9121"/>
                <a:gd name="connsiteY1" fmla="*/ 0 h 379970"/>
                <a:gd name="connsiteX2" fmla="*/ 9122 w 9121"/>
                <a:gd name="connsiteY2" fmla="*/ 379970 h 379970"/>
                <a:gd name="connsiteX3" fmla="*/ 0 w 9121"/>
                <a:gd name="connsiteY3" fmla="*/ 379970 h 379970"/>
              </a:gdLst>
              <a:ahLst/>
              <a:cxnLst>
                <a:cxn ang="0">
                  <a:pos x="connsiteX0" y="connsiteY0"/>
                </a:cxn>
                <a:cxn ang="0">
                  <a:pos x="connsiteX1" y="connsiteY1"/>
                </a:cxn>
                <a:cxn ang="0">
                  <a:pos x="connsiteX2" y="connsiteY2"/>
                </a:cxn>
                <a:cxn ang="0">
                  <a:pos x="connsiteX3" y="connsiteY3"/>
                </a:cxn>
              </a:cxnLst>
              <a:rect l="l" t="t" r="r" b="b"/>
              <a:pathLst>
                <a:path w="9121" h="379970">
                  <a:moveTo>
                    <a:pt x="0" y="0"/>
                  </a:moveTo>
                  <a:lnTo>
                    <a:pt x="9122" y="0"/>
                  </a:lnTo>
                  <a:lnTo>
                    <a:pt x="9122" y="379970"/>
                  </a:lnTo>
                  <a:lnTo>
                    <a:pt x="0" y="379970"/>
                  </a:lnTo>
                  <a:close/>
                </a:path>
              </a:pathLst>
            </a:custGeom>
            <a:gradFill>
              <a:gsLst>
                <a:gs pos="0">
                  <a:srgbClr val="FFFFFF">
                    <a:alpha val="0"/>
                  </a:srgbClr>
                </a:gs>
                <a:gs pos="99000">
                  <a:srgbClr val="A6E0FF"/>
                </a:gs>
                <a:gs pos="100000">
                  <a:srgbClr val="A7E0FF">
                    <a:alpha val="98824"/>
                  </a:srgbClr>
                </a:gs>
                <a:gs pos="100000">
                  <a:srgbClr val="ACE2FF">
                    <a:alpha val="96863"/>
                  </a:srgbClr>
                </a:gs>
                <a:gs pos="100000">
                  <a:srgbClr val="B4E4FF">
                    <a:alpha val="91765"/>
                  </a:srgbClr>
                </a:gs>
                <a:gs pos="100000">
                  <a:srgbClr val="C0E9FF">
                    <a:alpha val="84706"/>
                  </a:srgbClr>
                </a:gs>
                <a:gs pos="100000">
                  <a:srgbClr val="CFEEFF">
                    <a:alpha val="76863"/>
                  </a:srgbClr>
                </a:gs>
                <a:gs pos="100000">
                  <a:srgbClr val="E2F5FF">
                    <a:alpha val="65882"/>
                  </a:srgbClr>
                </a:gs>
                <a:gs pos="100000">
                  <a:srgbClr val="F8FCFF">
                    <a:alpha val="53725"/>
                  </a:srgbClr>
                </a:gs>
                <a:gs pos="100000">
                  <a:srgbClr val="FFFFFF">
                    <a:alpha val="49804"/>
                  </a:srgbClr>
                </a:gs>
              </a:gsLst>
              <a:lin ang="32556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21" name="Freeform: Shape 320">
              <a:extLst>
                <a:ext uri="{FF2B5EF4-FFF2-40B4-BE49-F238E27FC236}">
                  <a16:creationId xmlns:a16="http://schemas.microsoft.com/office/drawing/2014/main" id="{5CBCB06D-E8D6-06C4-8A12-9B46649AEA93}"/>
                </a:ext>
              </a:extLst>
            </p:cNvPr>
            <p:cNvSpPr/>
            <p:nvPr/>
          </p:nvSpPr>
          <p:spPr>
            <a:xfrm rot="19454999">
              <a:off x="2548527" y="1623864"/>
              <a:ext cx="36258" cy="870"/>
            </a:xfrm>
            <a:custGeom>
              <a:avLst/>
              <a:gdLst>
                <a:gd name="connsiteX0" fmla="*/ 0 w 379970"/>
                <a:gd name="connsiteY0" fmla="*/ 0 h 9121"/>
                <a:gd name="connsiteX1" fmla="*/ 379970 w 379970"/>
                <a:gd name="connsiteY1" fmla="*/ 0 h 9121"/>
                <a:gd name="connsiteX2" fmla="*/ 379970 w 379970"/>
                <a:gd name="connsiteY2" fmla="*/ 9122 h 9121"/>
                <a:gd name="connsiteX3" fmla="*/ 0 w 379970"/>
                <a:gd name="connsiteY3" fmla="*/ 9122 h 9121"/>
              </a:gdLst>
              <a:ahLst/>
              <a:cxnLst>
                <a:cxn ang="0">
                  <a:pos x="connsiteX0" y="connsiteY0"/>
                </a:cxn>
                <a:cxn ang="0">
                  <a:pos x="connsiteX1" y="connsiteY1"/>
                </a:cxn>
                <a:cxn ang="0">
                  <a:pos x="connsiteX2" y="connsiteY2"/>
                </a:cxn>
                <a:cxn ang="0">
                  <a:pos x="connsiteX3" y="connsiteY3"/>
                </a:cxn>
              </a:cxnLst>
              <a:rect l="l" t="t" r="r" b="b"/>
              <a:pathLst>
                <a:path w="379970" h="9121">
                  <a:moveTo>
                    <a:pt x="0" y="0"/>
                  </a:moveTo>
                  <a:lnTo>
                    <a:pt x="379970" y="0"/>
                  </a:lnTo>
                  <a:lnTo>
                    <a:pt x="379970" y="9122"/>
                  </a:lnTo>
                  <a:lnTo>
                    <a:pt x="0" y="9122"/>
                  </a:lnTo>
                  <a:close/>
                </a:path>
              </a:pathLst>
            </a:custGeom>
            <a:gradFill>
              <a:gsLst>
                <a:gs pos="0">
                  <a:srgbClr val="A6E0FF"/>
                </a:gs>
                <a:gs pos="67000">
                  <a:srgbClr val="E2F5FF">
                    <a:alpha val="31765"/>
                  </a:srgbClr>
                </a:gs>
                <a:gs pos="100000">
                  <a:srgbClr val="FFFFFF">
                    <a:alpha val="0"/>
                  </a:srgbClr>
                </a:gs>
              </a:gsLst>
              <a:lin ang="2145001"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22" name="Freeform: Shape 321">
              <a:extLst>
                <a:ext uri="{FF2B5EF4-FFF2-40B4-BE49-F238E27FC236}">
                  <a16:creationId xmlns:a16="http://schemas.microsoft.com/office/drawing/2014/main" id="{B3AD3BC0-7198-ACFD-3148-7812EDF007A9}"/>
                </a:ext>
              </a:extLst>
            </p:cNvPr>
            <p:cNvSpPr/>
            <p:nvPr/>
          </p:nvSpPr>
          <p:spPr>
            <a:xfrm rot="20471400">
              <a:off x="2223193" y="1495194"/>
              <a:ext cx="870" cy="36293"/>
            </a:xfrm>
            <a:custGeom>
              <a:avLst/>
              <a:gdLst>
                <a:gd name="connsiteX0" fmla="*/ 0 w 9121"/>
                <a:gd name="connsiteY0" fmla="*/ 0 h 380335"/>
                <a:gd name="connsiteX1" fmla="*/ 9122 w 9121"/>
                <a:gd name="connsiteY1" fmla="*/ 0 h 380335"/>
                <a:gd name="connsiteX2" fmla="*/ 9122 w 9121"/>
                <a:gd name="connsiteY2" fmla="*/ 380335 h 380335"/>
                <a:gd name="connsiteX3" fmla="*/ 0 w 9121"/>
                <a:gd name="connsiteY3" fmla="*/ 380335 h 380335"/>
              </a:gdLst>
              <a:ahLst/>
              <a:cxnLst>
                <a:cxn ang="0">
                  <a:pos x="connsiteX0" y="connsiteY0"/>
                </a:cxn>
                <a:cxn ang="0">
                  <a:pos x="connsiteX1" y="connsiteY1"/>
                </a:cxn>
                <a:cxn ang="0">
                  <a:pos x="connsiteX2" y="connsiteY2"/>
                </a:cxn>
                <a:cxn ang="0">
                  <a:pos x="connsiteX3" y="connsiteY3"/>
                </a:cxn>
              </a:cxnLst>
              <a:rect l="l" t="t" r="r" b="b"/>
              <a:pathLst>
                <a:path w="9121" h="380335">
                  <a:moveTo>
                    <a:pt x="0" y="0"/>
                  </a:moveTo>
                  <a:lnTo>
                    <a:pt x="9122" y="0"/>
                  </a:lnTo>
                  <a:lnTo>
                    <a:pt x="9122" y="380335"/>
                  </a:lnTo>
                  <a:lnTo>
                    <a:pt x="0" y="380335"/>
                  </a:lnTo>
                  <a:close/>
                </a:path>
              </a:pathLst>
            </a:custGeom>
            <a:gradFill>
              <a:gsLst>
                <a:gs pos="0">
                  <a:srgbClr val="FFFFFF">
                    <a:alpha val="0"/>
                  </a:srgbClr>
                </a:gs>
                <a:gs pos="99000">
                  <a:srgbClr val="A6E0FF"/>
                </a:gs>
                <a:gs pos="100000">
                  <a:srgbClr val="A7E0FF">
                    <a:alpha val="98824"/>
                  </a:srgbClr>
                </a:gs>
                <a:gs pos="100000">
                  <a:srgbClr val="ACE2FF">
                    <a:alpha val="96863"/>
                  </a:srgbClr>
                </a:gs>
                <a:gs pos="100000">
                  <a:srgbClr val="B4E4FF">
                    <a:alpha val="91765"/>
                  </a:srgbClr>
                </a:gs>
                <a:gs pos="100000">
                  <a:srgbClr val="C0E9FF">
                    <a:alpha val="84706"/>
                  </a:srgbClr>
                </a:gs>
                <a:gs pos="100000">
                  <a:srgbClr val="CFEEFF">
                    <a:alpha val="76863"/>
                  </a:srgbClr>
                </a:gs>
                <a:gs pos="100000">
                  <a:srgbClr val="E2F5FF">
                    <a:alpha val="65882"/>
                  </a:srgbClr>
                </a:gs>
                <a:gs pos="100000">
                  <a:srgbClr val="F8FCFF">
                    <a:alpha val="53725"/>
                  </a:srgbClr>
                </a:gs>
                <a:gs pos="100000">
                  <a:srgbClr val="FFFFFF">
                    <a:alpha val="49804"/>
                  </a:srgbClr>
                </a:gs>
              </a:gsLst>
              <a:lin ang="11286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23" name="Freeform: Shape 322">
              <a:extLst>
                <a:ext uri="{FF2B5EF4-FFF2-40B4-BE49-F238E27FC236}">
                  <a16:creationId xmlns:a16="http://schemas.microsoft.com/office/drawing/2014/main" id="{F8AE1C5F-2085-76C2-0964-09BAF5362D46}"/>
                </a:ext>
              </a:extLst>
            </p:cNvPr>
            <p:cNvSpPr/>
            <p:nvPr/>
          </p:nvSpPr>
          <p:spPr>
            <a:xfrm rot="17343600">
              <a:off x="2396246" y="1513253"/>
              <a:ext cx="36523" cy="870"/>
            </a:xfrm>
            <a:custGeom>
              <a:avLst/>
              <a:gdLst>
                <a:gd name="connsiteX0" fmla="*/ 0 w 382743"/>
                <a:gd name="connsiteY0" fmla="*/ 0 h 9121"/>
                <a:gd name="connsiteX1" fmla="*/ 382743 w 382743"/>
                <a:gd name="connsiteY1" fmla="*/ 0 h 9121"/>
                <a:gd name="connsiteX2" fmla="*/ 382743 w 382743"/>
                <a:gd name="connsiteY2" fmla="*/ 9122 h 9121"/>
                <a:gd name="connsiteX3" fmla="*/ 0 w 382743"/>
                <a:gd name="connsiteY3" fmla="*/ 9122 h 9121"/>
              </a:gdLst>
              <a:ahLst/>
              <a:cxnLst>
                <a:cxn ang="0">
                  <a:pos x="connsiteX0" y="connsiteY0"/>
                </a:cxn>
                <a:cxn ang="0">
                  <a:pos x="connsiteX1" y="connsiteY1"/>
                </a:cxn>
                <a:cxn ang="0">
                  <a:pos x="connsiteX2" y="connsiteY2"/>
                </a:cxn>
                <a:cxn ang="0">
                  <a:pos x="connsiteX3" y="connsiteY3"/>
                </a:cxn>
              </a:cxnLst>
              <a:rect l="l" t="t" r="r" b="b"/>
              <a:pathLst>
                <a:path w="382743" h="9121">
                  <a:moveTo>
                    <a:pt x="0" y="0"/>
                  </a:moveTo>
                  <a:lnTo>
                    <a:pt x="382743" y="0"/>
                  </a:lnTo>
                  <a:lnTo>
                    <a:pt x="382743" y="9122"/>
                  </a:lnTo>
                  <a:lnTo>
                    <a:pt x="0" y="9122"/>
                  </a:lnTo>
                  <a:close/>
                </a:path>
              </a:pathLst>
            </a:custGeom>
            <a:gradFill>
              <a:gsLst>
                <a:gs pos="0">
                  <a:srgbClr val="A6E0FF"/>
                </a:gs>
                <a:gs pos="67000">
                  <a:srgbClr val="E2F5FF">
                    <a:alpha val="31765"/>
                  </a:srgbClr>
                </a:gs>
                <a:gs pos="100000">
                  <a:srgbClr val="FFFFFF">
                    <a:alpha val="0"/>
                  </a:srgbClr>
                </a:gs>
              </a:gsLst>
              <a:lin ang="42564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24" name="Freeform: Shape 323">
              <a:extLst>
                <a:ext uri="{FF2B5EF4-FFF2-40B4-BE49-F238E27FC236}">
                  <a16:creationId xmlns:a16="http://schemas.microsoft.com/office/drawing/2014/main" id="{92EFD354-32AA-99CE-B114-2617EF8BE9B0}"/>
                </a:ext>
              </a:extLst>
            </p:cNvPr>
            <p:cNvSpPr/>
            <p:nvPr/>
          </p:nvSpPr>
          <p:spPr>
            <a:xfrm>
              <a:off x="2237445" y="1553908"/>
              <a:ext cx="161233" cy="251601"/>
            </a:xfrm>
            <a:custGeom>
              <a:avLst/>
              <a:gdLst>
                <a:gd name="connsiteX0" fmla="*/ 82489 w 161233"/>
                <a:gd name="connsiteY0" fmla="*/ 0 h 251601"/>
                <a:gd name="connsiteX1" fmla="*/ 133195 w 161233"/>
                <a:gd name="connsiteY1" fmla="*/ 5112 h 251601"/>
                <a:gd name="connsiteX2" fmla="*/ 161233 w 161233"/>
                <a:gd name="connsiteY2" fmla="*/ 13815 h 251601"/>
                <a:gd name="connsiteX3" fmla="*/ 101228 w 161233"/>
                <a:gd name="connsiteY3" fmla="*/ 251601 h 251601"/>
                <a:gd name="connsiteX4" fmla="*/ 49542 w 161233"/>
                <a:gd name="connsiteY4" fmla="*/ 251601 h 251601"/>
                <a:gd name="connsiteX5" fmla="*/ 0 w 161233"/>
                <a:gd name="connsiteY5" fmla="*/ 14978 h 251601"/>
                <a:gd name="connsiteX6" fmla="*/ 31783 w 161233"/>
                <a:gd name="connsiteY6" fmla="*/ 5112 h 251601"/>
                <a:gd name="connsiteX7" fmla="*/ 82489 w 161233"/>
                <a:gd name="connsiteY7" fmla="*/ 0 h 25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233" h="251601">
                  <a:moveTo>
                    <a:pt x="82489" y="0"/>
                  </a:moveTo>
                  <a:cubicBezTo>
                    <a:pt x="99858" y="0"/>
                    <a:pt x="116817" y="1760"/>
                    <a:pt x="133195" y="5112"/>
                  </a:cubicBezTo>
                  <a:lnTo>
                    <a:pt x="161233" y="13815"/>
                  </a:lnTo>
                  <a:lnTo>
                    <a:pt x="101228" y="251601"/>
                  </a:lnTo>
                  <a:lnTo>
                    <a:pt x="49542" y="251601"/>
                  </a:lnTo>
                  <a:lnTo>
                    <a:pt x="0" y="14978"/>
                  </a:lnTo>
                  <a:lnTo>
                    <a:pt x="31783" y="5112"/>
                  </a:lnTo>
                  <a:cubicBezTo>
                    <a:pt x="48162" y="1760"/>
                    <a:pt x="65120" y="0"/>
                    <a:pt x="82489" y="0"/>
                  </a:cubicBezTo>
                  <a:close/>
                </a:path>
              </a:pathLst>
            </a:custGeom>
            <a:solidFill>
              <a:srgbClr val="0070F2">
                <a:alpha val="50000"/>
              </a:srgbClr>
            </a:solidFill>
            <a:ln w="729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grpSp>
      <p:grpSp>
        <p:nvGrpSpPr>
          <p:cNvPr id="325" name="Group 324">
            <a:extLst>
              <a:ext uri="{FF2B5EF4-FFF2-40B4-BE49-F238E27FC236}">
                <a16:creationId xmlns:a16="http://schemas.microsoft.com/office/drawing/2014/main" id="{0CAD43F3-B026-F53A-B99A-0752A0FAAA3E}"/>
              </a:ext>
            </a:extLst>
          </p:cNvPr>
          <p:cNvGrpSpPr/>
          <p:nvPr/>
        </p:nvGrpSpPr>
        <p:grpSpPr>
          <a:xfrm>
            <a:off x="2938847" y="1791046"/>
            <a:ext cx="770908" cy="380654"/>
            <a:chOff x="1893624" y="1445467"/>
            <a:chExt cx="849576" cy="419498"/>
          </a:xfrm>
        </p:grpSpPr>
        <p:sp>
          <p:nvSpPr>
            <p:cNvPr id="326" name="Freeform: Shape 325">
              <a:extLst>
                <a:ext uri="{FF2B5EF4-FFF2-40B4-BE49-F238E27FC236}">
                  <a16:creationId xmlns:a16="http://schemas.microsoft.com/office/drawing/2014/main" id="{A73CB2E2-BBF9-090E-1122-8AA3B3CB280D}"/>
                </a:ext>
              </a:extLst>
            </p:cNvPr>
            <p:cNvSpPr/>
            <p:nvPr/>
          </p:nvSpPr>
          <p:spPr>
            <a:xfrm>
              <a:off x="1957093" y="1445467"/>
              <a:ext cx="723308" cy="360042"/>
            </a:xfrm>
            <a:custGeom>
              <a:avLst/>
              <a:gdLst>
                <a:gd name="connsiteX0" fmla="*/ 7579920 w 7579919"/>
                <a:gd name="connsiteY0" fmla="*/ 3773067 h 3773066"/>
                <a:gd name="connsiteX1" fmla="*/ 3789996 w 7579919"/>
                <a:gd name="connsiteY1" fmla="*/ 0 h 3773066"/>
                <a:gd name="connsiteX2" fmla="*/ 0 w 7579919"/>
                <a:gd name="connsiteY2" fmla="*/ 3773067 h 3773066"/>
                <a:gd name="connsiteX3" fmla="*/ 7579920 w 7579919"/>
                <a:gd name="connsiteY3" fmla="*/ 3773067 h 3773066"/>
              </a:gdLst>
              <a:ahLst/>
              <a:cxnLst>
                <a:cxn ang="0">
                  <a:pos x="connsiteX0" y="connsiteY0"/>
                </a:cxn>
                <a:cxn ang="0">
                  <a:pos x="connsiteX1" y="connsiteY1"/>
                </a:cxn>
                <a:cxn ang="0">
                  <a:pos x="connsiteX2" y="connsiteY2"/>
                </a:cxn>
                <a:cxn ang="0">
                  <a:pos x="connsiteX3" y="connsiteY3"/>
                </a:cxn>
              </a:cxnLst>
              <a:rect l="l" t="t" r="r" b="b"/>
              <a:pathLst>
                <a:path w="7579919" h="3773066">
                  <a:moveTo>
                    <a:pt x="7579920" y="3773067"/>
                  </a:moveTo>
                  <a:cubicBezTo>
                    <a:pt x="7579920" y="1689251"/>
                    <a:pt x="5883079" y="0"/>
                    <a:pt x="3789996" y="0"/>
                  </a:cubicBezTo>
                  <a:cubicBezTo>
                    <a:pt x="1696913" y="0"/>
                    <a:pt x="0" y="1689251"/>
                    <a:pt x="0" y="3773067"/>
                  </a:cubicBezTo>
                  <a:lnTo>
                    <a:pt x="7579920" y="3773067"/>
                  </a:lnTo>
                  <a:close/>
                </a:path>
              </a:pathLst>
            </a:custGeom>
            <a:solidFill>
              <a:srgbClr val="7858FF"/>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27" name="Freeform: Shape 326">
              <a:extLst>
                <a:ext uri="{FF2B5EF4-FFF2-40B4-BE49-F238E27FC236}">
                  <a16:creationId xmlns:a16="http://schemas.microsoft.com/office/drawing/2014/main" id="{54345E0E-37A2-BDDF-F992-F304F0E7E7AA}"/>
                </a:ext>
              </a:extLst>
            </p:cNvPr>
            <p:cNvSpPr/>
            <p:nvPr/>
          </p:nvSpPr>
          <p:spPr>
            <a:xfrm>
              <a:off x="1993449" y="1480207"/>
              <a:ext cx="650603" cy="325301"/>
            </a:xfrm>
            <a:custGeom>
              <a:avLst/>
              <a:gdLst>
                <a:gd name="connsiteX0" fmla="*/ 6818009 w 6818008"/>
                <a:gd name="connsiteY0" fmla="*/ 3409005 h 3409004"/>
                <a:gd name="connsiteX1" fmla="*/ 3409005 w 6818008"/>
                <a:gd name="connsiteY1" fmla="*/ 0 h 3409004"/>
                <a:gd name="connsiteX2" fmla="*/ 0 w 6818008"/>
                <a:gd name="connsiteY2" fmla="*/ 3409005 h 3409004"/>
                <a:gd name="connsiteX3" fmla="*/ 6818009 w 6818008"/>
                <a:gd name="connsiteY3" fmla="*/ 3409005 h 3409004"/>
              </a:gdLst>
              <a:ahLst/>
              <a:cxnLst>
                <a:cxn ang="0">
                  <a:pos x="connsiteX0" y="connsiteY0"/>
                </a:cxn>
                <a:cxn ang="0">
                  <a:pos x="connsiteX1" y="connsiteY1"/>
                </a:cxn>
                <a:cxn ang="0">
                  <a:pos x="connsiteX2" y="connsiteY2"/>
                </a:cxn>
                <a:cxn ang="0">
                  <a:pos x="connsiteX3" y="connsiteY3"/>
                </a:cxn>
              </a:cxnLst>
              <a:rect l="l" t="t" r="r" b="b"/>
              <a:pathLst>
                <a:path w="6818008" h="3409004">
                  <a:moveTo>
                    <a:pt x="6818009" y="3409005"/>
                  </a:moveTo>
                  <a:cubicBezTo>
                    <a:pt x="6818009" y="1526230"/>
                    <a:pt x="5291707" y="0"/>
                    <a:pt x="3409005" y="0"/>
                  </a:cubicBezTo>
                  <a:cubicBezTo>
                    <a:pt x="1526302" y="0"/>
                    <a:pt x="0" y="1526302"/>
                    <a:pt x="0" y="3409005"/>
                  </a:cubicBezTo>
                  <a:lnTo>
                    <a:pt x="6818009" y="3409005"/>
                  </a:lnTo>
                  <a:close/>
                </a:path>
              </a:pathLst>
            </a:custGeom>
            <a:solidFill>
              <a:srgbClr val="9B76FF">
                <a:alpha val="50000"/>
              </a:srgbClr>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28" name="Freeform: Shape 327">
              <a:extLst>
                <a:ext uri="{FF2B5EF4-FFF2-40B4-BE49-F238E27FC236}">
                  <a16:creationId xmlns:a16="http://schemas.microsoft.com/office/drawing/2014/main" id="{5B3BF8E7-6012-679F-1502-CAF3B05CCEC1}"/>
                </a:ext>
              </a:extLst>
            </p:cNvPr>
            <p:cNvSpPr/>
            <p:nvPr/>
          </p:nvSpPr>
          <p:spPr>
            <a:xfrm>
              <a:off x="2029617" y="1516702"/>
              <a:ext cx="577613" cy="288806"/>
            </a:xfrm>
            <a:custGeom>
              <a:avLst/>
              <a:gdLst>
                <a:gd name="connsiteX0" fmla="*/ 0 w 6053106"/>
                <a:gd name="connsiteY0" fmla="*/ 3026553 h 3026553"/>
                <a:gd name="connsiteX1" fmla="*/ 3026553 w 6053106"/>
                <a:gd name="connsiteY1" fmla="*/ 0 h 3026553"/>
                <a:gd name="connsiteX2" fmla="*/ 6053107 w 6053106"/>
                <a:gd name="connsiteY2" fmla="*/ 3026553 h 3026553"/>
              </a:gdLst>
              <a:ahLst/>
              <a:cxnLst>
                <a:cxn ang="0">
                  <a:pos x="connsiteX0" y="connsiteY0"/>
                </a:cxn>
                <a:cxn ang="0">
                  <a:pos x="connsiteX1" y="connsiteY1"/>
                </a:cxn>
                <a:cxn ang="0">
                  <a:pos x="connsiteX2" y="connsiteY2"/>
                </a:cxn>
              </a:cxnLst>
              <a:rect l="l" t="t" r="r" b="b"/>
              <a:pathLst>
                <a:path w="6053106" h="3026553">
                  <a:moveTo>
                    <a:pt x="0" y="3026553"/>
                  </a:moveTo>
                  <a:cubicBezTo>
                    <a:pt x="0" y="1355035"/>
                    <a:pt x="1355035" y="0"/>
                    <a:pt x="3026553" y="0"/>
                  </a:cubicBezTo>
                  <a:cubicBezTo>
                    <a:pt x="4698072" y="0"/>
                    <a:pt x="6053107" y="1355035"/>
                    <a:pt x="6053107" y="3026553"/>
                  </a:cubicBezTo>
                </a:path>
              </a:pathLst>
            </a:custGeom>
            <a:solidFill>
              <a:srgbClr val="4DB1FF"/>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29" name="Freeform: Shape 328">
              <a:extLst>
                <a:ext uri="{FF2B5EF4-FFF2-40B4-BE49-F238E27FC236}">
                  <a16:creationId xmlns:a16="http://schemas.microsoft.com/office/drawing/2014/main" id="{B8269C1D-0E6B-D39C-698D-AF84E48693AB}"/>
                </a:ext>
              </a:extLst>
            </p:cNvPr>
            <p:cNvSpPr/>
            <p:nvPr/>
          </p:nvSpPr>
          <p:spPr>
            <a:xfrm>
              <a:off x="1893624" y="1792842"/>
              <a:ext cx="849576" cy="72123"/>
            </a:xfrm>
            <a:custGeom>
              <a:avLst/>
              <a:gdLst>
                <a:gd name="connsiteX0" fmla="*/ 8884943 w 8903148"/>
                <a:gd name="connsiteY0" fmla="*/ 682224 h 755813"/>
                <a:gd name="connsiteX1" fmla="*/ 8420471 w 8903148"/>
                <a:gd name="connsiteY1" fmla="*/ 45900 h 755813"/>
                <a:gd name="connsiteX2" fmla="*/ 8325095 w 8903148"/>
                <a:gd name="connsiteY2" fmla="*/ 0 h 755813"/>
                <a:gd name="connsiteX3" fmla="*/ 561867 w 8903148"/>
                <a:gd name="connsiteY3" fmla="*/ 0 h 755813"/>
                <a:gd name="connsiteX4" fmla="*/ 458392 w 8903148"/>
                <a:gd name="connsiteY4" fmla="*/ 59035 h 755813"/>
                <a:gd name="connsiteX5" fmla="*/ 8951 w 8903148"/>
                <a:gd name="connsiteY5" fmla="*/ 696673 h 755813"/>
                <a:gd name="connsiteX6" fmla="*/ 8951 w 8903148"/>
                <a:gd name="connsiteY6" fmla="*/ 743886 h 755813"/>
                <a:gd name="connsiteX7" fmla="*/ 52516 w 8903148"/>
                <a:gd name="connsiteY7" fmla="*/ 755708 h 755813"/>
                <a:gd name="connsiteX8" fmla="*/ 8860497 w 8903148"/>
                <a:gd name="connsiteY8" fmla="*/ 755708 h 755813"/>
                <a:gd name="connsiteX9" fmla="*/ 8899976 w 8903148"/>
                <a:gd name="connsiteY9" fmla="*/ 737319 h 755813"/>
                <a:gd name="connsiteX10" fmla="*/ 8885016 w 8903148"/>
                <a:gd name="connsiteY10" fmla="*/ 682224 h 75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3148" h="755813">
                  <a:moveTo>
                    <a:pt x="8884943" y="682224"/>
                  </a:moveTo>
                  <a:lnTo>
                    <a:pt x="8420471" y="45900"/>
                  </a:lnTo>
                  <a:cubicBezTo>
                    <a:pt x="8420471" y="45900"/>
                    <a:pt x="8402738" y="0"/>
                    <a:pt x="8325095" y="0"/>
                  </a:cubicBezTo>
                  <a:lnTo>
                    <a:pt x="561867" y="0"/>
                  </a:lnTo>
                  <a:cubicBezTo>
                    <a:pt x="561867" y="0"/>
                    <a:pt x="499184" y="1314"/>
                    <a:pt x="458392" y="59035"/>
                  </a:cubicBezTo>
                  <a:cubicBezTo>
                    <a:pt x="417527" y="116757"/>
                    <a:pt x="8951" y="696673"/>
                    <a:pt x="8951" y="696673"/>
                  </a:cubicBezTo>
                  <a:cubicBezTo>
                    <a:pt x="8951" y="696673"/>
                    <a:pt x="-11189" y="721484"/>
                    <a:pt x="8951" y="743886"/>
                  </a:cubicBezTo>
                  <a:cubicBezTo>
                    <a:pt x="21138" y="757387"/>
                    <a:pt x="52516" y="755708"/>
                    <a:pt x="52516" y="755708"/>
                  </a:cubicBezTo>
                  <a:lnTo>
                    <a:pt x="8860497" y="755708"/>
                  </a:lnTo>
                  <a:cubicBezTo>
                    <a:pt x="8860497" y="755708"/>
                    <a:pt x="8887716" y="758335"/>
                    <a:pt x="8899976" y="737319"/>
                  </a:cubicBezTo>
                  <a:cubicBezTo>
                    <a:pt x="8912235" y="716303"/>
                    <a:pt x="8885016" y="682224"/>
                    <a:pt x="8885016" y="682224"/>
                  </a:cubicBezTo>
                  <a:close/>
                </a:path>
              </a:pathLst>
            </a:custGeom>
            <a:gradFill>
              <a:gsLst>
                <a:gs pos="0">
                  <a:srgbClr val="0070F2"/>
                </a:gs>
                <a:gs pos="7000">
                  <a:srgbClr val="0070F2"/>
                </a:gs>
                <a:gs pos="14000">
                  <a:srgbClr val="0070F2"/>
                </a:gs>
                <a:gs pos="100000">
                  <a:srgbClr val="0070F2"/>
                </a:gs>
              </a:gsLst>
              <a:lin ang="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30" name="Freeform: Shape 329">
              <a:extLst>
                <a:ext uri="{FF2B5EF4-FFF2-40B4-BE49-F238E27FC236}">
                  <a16:creationId xmlns:a16="http://schemas.microsoft.com/office/drawing/2014/main" id="{CB027FDF-135F-843B-730F-E06A134D5846}"/>
                </a:ext>
              </a:extLst>
            </p:cNvPr>
            <p:cNvSpPr/>
            <p:nvPr/>
          </p:nvSpPr>
          <p:spPr>
            <a:xfrm>
              <a:off x="2066460" y="1553908"/>
              <a:ext cx="503202" cy="251601"/>
            </a:xfrm>
            <a:custGeom>
              <a:avLst/>
              <a:gdLst>
                <a:gd name="connsiteX0" fmla="*/ 0 w 5273317"/>
                <a:gd name="connsiteY0" fmla="*/ 2636659 h 2636658"/>
                <a:gd name="connsiteX1" fmla="*/ 2636659 w 5273317"/>
                <a:gd name="connsiteY1" fmla="*/ 0 h 2636658"/>
                <a:gd name="connsiteX2" fmla="*/ 5273317 w 5273317"/>
                <a:gd name="connsiteY2" fmla="*/ 2636659 h 2636658"/>
              </a:gdLst>
              <a:ahLst/>
              <a:cxnLst>
                <a:cxn ang="0">
                  <a:pos x="connsiteX0" y="connsiteY0"/>
                </a:cxn>
                <a:cxn ang="0">
                  <a:pos x="connsiteX1" y="connsiteY1"/>
                </a:cxn>
                <a:cxn ang="0">
                  <a:pos x="connsiteX2" y="connsiteY2"/>
                </a:cxn>
              </a:cxnLst>
              <a:rect l="l" t="t" r="r" b="b"/>
              <a:pathLst>
                <a:path w="5273317" h="2636658">
                  <a:moveTo>
                    <a:pt x="0" y="2636659"/>
                  </a:moveTo>
                  <a:cubicBezTo>
                    <a:pt x="0" y="1180484"/>
                    <a:pt x="1180483" y="0"/>
                    <a:pt x="2636659" y="0"/>
                  </a:cubicBezTo>
                  <a:cubicBezTo>
                    <a:pt x="4092834" y="0"/>
                    <a:pt x="5273317" y="1180484"/>
                    <a:pt x="5273317" y="2636659"/>
                  </a:cubicBezTo>
                </a:path>
              </a:pathLst>
            </a:custGeom>
            <a:solidFill>
              <a:schemeClr val="bg1"/>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32" name="Freeform: Shape 331">
              <a:extLst>
                <a:ext uri="{FF2B5EF4-FFF2-40B4-BE49-F238E27FC236}">
                  <a16:creationId xmlns:a16="http://schemas.microsoft.com/office/drawing/2014/main" id="{0889FB9A-C6D7-1E59-2832-0307B6AF003D}"/>
                </a:ext>
              </a:extLst>
            </p:cNvPr>
            <p:cNvSpPr/>
            <p:nvPr/>
          </p:nvSpPr>
          <p:spPr>
            <a:xfrm rot="18304802">
              <a:off x="2166023" y="1630058"/>
              <a:ext cx="696" cy="125146"/>
            </a:xfrm>
            <a:custGeom>
              <a:avLst/>
              <a:gdLst>
                <a:gd name="connsiteX0" fmla="*/ 0 w 7297"/>
                <a:gd name="connsiteY0" fmla="*/ 0 h 1311469"/>
                <a:gd name="connsiteX1" fmla="*/ 7297 w 7297"/>
                <a:gd name="connsiteY1" fmla="*/ 0 h 1311469"/>
                <a:gd name="connsiteX2" fmla="*/ 7297 w 7297"/>
                <a:gd name="connsiteY2" fmla="*/ 1311470 h 1311469"/>
                <a:gd name="connsiteX3" fmla="*/ 0 w 7297"/>
                <a:gd name="connsiteY3" fmla="*/ 1311470 h 1311469"/>
              </a:gdLst>
              <a:ahLst/>
              <a:cxnLst>
                <a:cxn ang="0">
                  <a:pos x="connsiteX0" y="connsiteY0"/>
                </a:cxn>
                <a:cxn ang="0">
                  <a:pos x="connsiteX1" y="connsiteY1"/>
                </a:cxn>
                <a:cxn ang="0">
                  <a:pos x="connsiteX2" y="connsiteY2"/>
                </a:cxn>
                <a:cxn ang="0">
                  <a:pos x="connsiteX3" y="connsiteY3"/>
                </a:cxn>
              </a:cxnLst>
              <a:rect l="l" t="t" r="r" b="b"/>
              <a:pathLst>
                <a:path w="7297" h="1311469">
                  <a:moveTo>
                    <a:pt x="0" y="0"/>
                  </a:moveTo>
                  <a:lnTo>
                    <a:pt x="7297" y="0"/>
                  </a:lnTo>
                  <a:lnTo>
                    <a:pt x="7297" y="1311470"/>
                  </a:lnTo>
                  <a:lnTo>
                    <a:pt x="0" y="1311470"/>
                  </a:lnTo>
                  <a:close/>
                </a:path>
              </a:pathLst>
            </a:custGeom>
            <a:gradFill>
              <a:gsLst>
                <a:gs pos="0">
                  <a:srgbClr val="4DB1FF"/>
                </a:gs>
                <a:gs pos="50000">
                  <a:srgbClr val="79C8FF"/>
                </a:gs>
                <a:gs pos="100000">
                  <a:srgbClr val="A6E0FF"/>
                </a:gs>
              </a:gsLst>
              <a:lin ang="3295198"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33" name="Freeform: Shape 332">
              <a:extLst>
                <a:ext uri="{FF2B5EF4-FFF2-40B4-BE49-F238E27FC236}">
                  <a16:creationId xmlns:a16="http://schemas.microsoft.com/office/drawing/2014/main" id="{373369B9-2132-D63B-FD20-B14521AA3E6D}"/>
                </a:ext>
              </a:extLst>
            </p:cNvPr>
            <p:cNvSpPr/>
            <p:nvPr/>
          </p:nvSpPr>
          <p:spPr>
            <a:xfrm rot="19472402">
              <a:off x="2408420" y="1692304"/>
              <a:ext cx="124032" cy="696"/>
            </a:xfrm>
            <a:custGeom>
              <a:avLst/>
              <a:gdLst>
                <a:gd name="connsiteX0" fmla="*/ 0 w 1299794"/>
                <a:gd name="connsiteY0" fmla="*/ 0 h 7297"/>
                <a:gd name="connsiteX1" fmla="*/ 1299794 w 1299794"/>
                <a:gd name="connsiteY1" fmla="*/ 0 h 7297"/>
                <a:gd name="connsiteX2" fmla="*/ 1299794 w 1299794"/>
                <a:gd name="connsiteY2" fmla="*/ 7297 h 7297"/>
                <a:gd name="connsiteX3" fmla="*/ 0 w 1299794"/>
                <a:gd name="connsiteY3" fmla="*/ 7297 h 7297"/>
              </a:gdLst>
              <a:ahLst/>
              <a:cxnLst>
                <a:cxn ang="0">
                  <a:pos x="connsiteX0" y="connsiteY0"/>
                </a:cxn>
                <a:cxn ang="0">
                  <a:pos x="connsiteX1" y="connsiteY1"/>
                </a:cxn>
                <a:cxn ang="0">
                  <a:pos x="connsiteX2" y="connsiteY2"/>
                </a:cxn>
                <a:cxn ang="0">
                  <a:pos x="connsiteX3" y="connsiteY3"/>
                </a:cxn>
              </a:cxnLst>
              <a:rect l="l" t="t" r="r" b="b"/>
              <a:pathLst>
                <a:path w="1299794" h="7297">
                  <a:moveTo>
                    <a:pt x="0" y="0"/>
                  </a:moveTo>
                  <a:lnTo>
                    <a:pt x="1299794" y="0"/>
                  </a:lnTo>
                  <a:lnTo>
                    <a:pt x="1299794" y="7297"/>
                  </a:lnTo>
                  <a:lnTo>
                    <a:pt x="0" y="7297"/>
                  </a:lnTo>
                  <a:close/>
                </a:path>
              </a:pathLst>
            </a:custGeom>
            <a:gradFill>
              <a:gsLst>
                <a:gs pos="0">
                  <a:srgbClr val="A6E0FF"/>
                </a:gs>
                <a:gs pos="77000">
                  <a:srgbClr val="4DB1FF"/>
                </a:gs>
              </a:gsLst>
              <a:lin ang="2127598"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34" name="Freeform: Shape 333">
              <a:extLst>
                <a:ext uri="{FF2B5EF4-FFF2-40B4-BE49-F238E27FC236}">
                  <a16:creationId xmlns:a16="http://schemas.microsoft.com/office/drawing/2014/main" id="{2D772EE4-2E20-1611-A46E-5329C290D730}"/>
                </a:ext>
              </a:extLst>
            </p:cNvPr>
            <p:cNvSpPr/>
            <p:nvPr/>
          </p:nvSpPr>
          <p:spPr>
            <a:xfrm rot="17278800">
              <a:off x="2314978" y="1625033"/>
              <a:ext cx="124206" cy="696"/>
            </a:xfrm>
            <a:custGeom>
              <a:avLst/>
              <a:gdLst>
                <a:gd name="connsiteX0" fmla="*/ 0 w 1301618"/>
                <a:gd name="connsiteY0" fmla="*/ 0 h 7297"/>
                <a:gd name="connsiteX1" fmla="*/ 1301618 w 1301618"/>
                <a:gd name="connsiteY1" fmla="*/ 0 h 7297"/>
                <a:gd name="connsiteX2" fmla="*/ 1301618 w 1301618"/>
                <a:gd name="connsiteY2" fmla="*/ 7297 h 7297"/>
                <a:gd name="connsiteX3" fmla="*/ 0 w 1301618"/>
                <a:gd name="connsiteY3" fmla="*/ 7297 h 7297"/>
              </a:gdLst>
              <a:ahLst/>
              <a:cxnLst>
                <a:cxn ang="0">
                  <a:pos x="connsiteX0" y="connsiteY0"/>
                </a:cxn>
                <a:cxn ang="0">
                  <a:pos x="connsiteX1" y="connsiteY1"/>
                </a:cxn>
                <a:cxn ang="0">
                  <a:pos x="connsiteX2" y="connsiteY2"/>
                </a:cxn>
                <a:cxn ang="0">
                  <a:pos x="connsiteX3" y="connsiteY3"/>
                </a:cxn>
              </a:cxnLst>
              <a:rect l="l" t="t" r="r" b="b"/>
              <a:pathLst>
                <a:path w="1301618" h="7297">
                  <a:moveTo>
                    <a:pt x="0" y="0"/>
                  </a:moveTo>
                  <a:lnTo>
                    <a:pt x="1301618" y="0"/>
                  </a:lnTo>
                  <a:lnTo>
                    <a:pt x="1301618" y="7297"/>
                  </a:lnTo>
                  <a:lnTo>
                    <a:pt x="0" y="7297"/>
                  </a:lnTo>
                  <a:close/>
                </a:path>
              </a:pathLst>
            </a:custGeom>
            <a:gradFill>
              <a:gsLst>
                <a:gs pos="0">
                  <a:srgbClr val="A6E0FF"/>
                </a:gs>
                <a:gs pos="77000">
                  <a:srgbClr val="4DB1FF"/>
                </a:gs>
              </a:gsLst>
              <a:lin ang="43212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35" name="Freeform: Shape 334">
              <a:extLst>
                <a:ext uri="{FF2B5EF4-FFF2-40B4-BE49-F238E27FC236}">
                  <a16:creationId xmlns:a16="http://schemas.microsoft.com/office/drawing/2014/main" id="{0A2CACFB-EEA5-B924-DDC9-0D3923F8EA36}"/>
                </a:ext>
              </a:extLst>
            </p:cNvPr>
            <p:cNvSpPr/>
            <p:nvPr/>
          </p:nvSpPr>
          <p:spPr>
            <a:xfrm rot="20515199">
              <a:off x="2260437" y="1563258"/>
              <a:ext cx="696" cy="124122"/>
            </a:xfrm>
            <a:custGeom>
              <a:avLst/>
              <a:gdLst>
                <a:gd name="connsiteX0" fmla="*/ 0 w 7297"/>
                <a:gd name="connsiteY0" fmla="*/ 0 h 1300742"/>
                <a:gd name="connsiteX1" fmla="*/ 7297 w 7297"/>
                <a:gd name="connsiteY1" fmla="*/ 0 h 1300742"/>
                <a:gd name="connsiteX2" fmla="*/ 7297 w 7297"/>
                <a:gd name="connsiteY2" fmla="*/ 1300743 h 1300742"/>
                <a:gd name="connsiteX3" fmla="*/ 0 w 7297"/>
                <a:gd name="connsiteY3" fmla="*/ 1300743 h 1300742"/>
              </a:gdLst>
              <a:ahLst/>
              <a:cxnLst>
                <a:cxn ang="0">
                  <a:pos x="connsiteX0" y="connsiteY0"/>
                </a:cxn>
                <a:cxn ang="0">
                  <a:pos x="connsiteX1" y="connsiteY1"/>
                </a:cxn>
                <a:cxn ang="0">
                  <a:pos x="connsiteX2" y="connsiteY2"/>
                </a:cxn>
                <a:cxn ang="0">
                  <a:pos x="connsiteX3" y="connsiteY3"/>
                </a:cxn>
              </a:cxnLst>
              <a:rect l="l" t="t" r="r" b="b"/>
              <a:pathLst>
                <a:path w="7297" h="1300742">
                  <a:moveTo>
                    <a:pt x="0" y="0"/>
                  </a:moveTo>
                  <a:lnTo>
                    <a:pt x="7297" y="0"/>
                  </a:lnTo>
                  <a:lnTo>
                    <a:pt x="7297" y="1300743"/>
                  </a:lnTo>
                  <a:lnTo>
                    <a:pt x="0" y="1300743"/>
                  </a:lnTo>
                  <a:close/>
                </a:path>
              </a:pathLst>
            </a:custGeom>
            <a:gradFill>
              <a:gsLst>
                <a:gs pos="0">
                  <a:srgbClr val="4DB1FF"/>
                </a:gs>
                <a:gs pos="50000">
                  <a:srgbClr val="79C8FF"/>
                </a:gs>
                <a:gs pos="100000">
                  <a:srgbClr val="A6E0FF"/>
                </a:gs>
              </a:gsLst>
              <a:lin ang="1084801"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36" name="Freeform: Shape 335">
              <a:extLst>
                <a:ext uri="{FF2B5EF4-FFF2-40B4-BE49-F238E27FC236}">
                  <a16:creationId xmlns:a16="http://schemas.microsoft.com/office/drawing/2014/main" id="{5BBDF061-0883-2D9B-21D9-0D406A72CCE4}"/>
                </a:ext>
              </a:extLst>
            </p:cNvPr>
            <p:cNvSpPr/>
            <p:nvPr/>
          </p:nvSpPr>
          <p:spPr>
            <a:xfrm>
              <a:off x="2191613" y="1677919"/>
              <a:ext cx="254275" cy="127137"/>
            </a:xfrm>
            <a:custGeom>
              <a:avLst/>
              <a:gdLst>
                <a:gd name="connsiteX0" fmla="*/ 2664680 w 2664680"/>
                <a:gd name="connsiteY0" fmla="*/ 1332340 h 1332340"/>
                <a:gd name="connsiteX1" fmla="*/ 2657383 w 2664680"/>
                <a:gd name="connsiteY1" fmla="*/ 1332340 h 1332340"/>
                <a:gd name="connsiteX2" fmla="*/ 1332340 w 2664680"/>
                <a:gd name="connsiteY2" fmla="*/ 7297 h 1332340"/>
                <a:gd name="connsiteX3" fmla="*/ 7297 w 2664680"/>
                <a:gd name="connsiteY3" fmla="*/ 1332340 h 1332340"/>
                <a:gd name="connsiteX4" fmla="*/ 0 w 2664680"/>
                <a:gd name="connsiteY4" fmla="*/ 1332340 h 1332340"/>
                <a:gd name="connsiteX5" fmla="*/ 1332340 w 2664680"/>
                <a:gd name="connsiteY5" fmla="*/ 0 h 1332340"/>
                <a:gd name="connsiteX6" fmla="*/ 2664680 w 2664680"/>
                <a:gd name="connsiteY6" fmla="*/ 1332340 h 1332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4680" h="1332340">
                  <a:moveTo>
                    <a:pt x="2664680" y="1332340"/>
                  </a:moveTo>
                  <a:lnTo>
                    <a:pt x="2657383" y="1332340"/>
                  </a:lnTo>
                  <a:cubicBezTo>
                    <a:pt x="2657383" y="601735"/>
                    <a:pt x="2062945" y="7297"/>
                    <a:pt x="1332340" y="7297"/>
                  </a:cubicBezTo>
                  <a:cubicBezTo>
                    <a:pt x="601735" y="7297"/>
                    <a:pt x="7297" y="601735"/>
                    <a:pt x="7297" y="1332340"/>
                  </a:cubicBezTo>
                  <a:lnTo>
                    <a:pt x="0" y="1332340"/>
                  </a:lnTo>
                  <a:cubicBezTo>
                    <a:pt x="0" y="597722"/>
                    <a:pt x="597721" y="0"/>
                    <a:pt x="1332340" y="0"/>
                  </a:cubicBezTo>
                  <a:cubicBezTo>
                    <a:pt x="2066959" y="0"/>
                    <a:pt x="2664680" y="597722"/>
                    <a:pt x="2664680" y="1332340"/>
                  </a:cubicBezTo>
                  <a:close/>
                </a:path>
              </a:pathLst>
            </a:custGeom>
            <a:gradFill>
              <a:gsLst>
                <a:gs pos="0">
                  <a:srgbClr val="A6E0FF"/>
                </a:gs>
                <a:gs pos="4000">
                  <a:srgbClr val="8CD2FF"/>
                </a:gs>
                <a:gs pos="8000">
                  <a:srgbClr val="76C6FF"/>
                </a:gs>
                <a:gs pos="14000">
                  <a:srgbClr val="65BDFF"/>
                </a:gs>
                <a:gs pos="20000">
                  <a:srgbClr val="59B7FF"/>
                </a:gs>
                <a:gs pos="29000">
                  <a:srgbClr val="52B3FF"/>
                </a:gs>
                <a:gs pos="54000">
                  <a:srgbClr val="51B3FF"/>
                </a:gs>
                <a:gs pos="54000">
                  <a:srgbClr val="4DB1FF"/>
                </a:gs>
                <a:gs pos="70000">
                  <a:srgbClr val="4FB2FF"/>
                </a:gs>
                <a:gs pos="78000">
                  <a:srgbClr val="57B6FF"/>
                </a:gs>
                <a:gs pos="85000">
                  <a:srgbClr val="65BDFF"/>
                </a:gs>
                <a:gs pos="91000">
                  <a:srgbClr val="78C8FF"/>
                </a:gs>
                <a:gs pos="97000">
                  <a:srgbClr val="91D5FF"/>
                </a:gs>
                <a:gs pos="100000">
                  <a:srgbClr val="A6E0FF"/>
                </a:gs>
                <a:gs pos="100000">
                  <a:srgbClr val="4DB1FF"/>
                </a:gs>
              </a:gsLst>
              <a:lin ang="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37" name="Freeform: Shape 336">
              <a:extLst>
                <a:ext uri="{FF2B5EF4-FFF2-40B4-BE49-F238E27FC236}">
                  <a16:creationId xmlns:a16="http://schemas.microsoft.com/office/drawing/2014/main" id="{B375D7F0-26B2-C7A5-EBAA-337F9EDAD55C}"/>
                </a:ext>
              </a:extLst>
            </p:cNvPr>
            <p:cNvSpPr/>
            <p:nvPr/>
          </p:nvSpPr>
          <p:spPr>
            <a:xfrm rot="18344400">
              <a:off x="2070003" y="1606485"/>
              <a:ext cx="870" cy="36258"/>
            </a:xfrm>
            <a:custGeom>
              <a:avLst/>
              <a:gdLst>
                <a:gd name="connsiteX0" fmla="*/ 0 w 9121"/>
                <a:gd name="connsiteY0" fmla="*/ 0 h 379970"/>
                <a:gd name="connsiteX1" fmla="*/ 9122 w 9121"/>
                <a:gd name="connsiteY1" fmla="*/ 0 h 379970"/>
                <a:gd name="connsiteX2" fmla="*/ 9122 w 9121"/>
                <a:gd name="connsiteY2" fmla="*/ 379970 h 379970"/>
                <a:gd name="connsiteX3" fmla="*/ 0 w 9121"/>
                <a:gd name="connsiteY3" fmla="*/ 379970 h 379970"/>
              </a:gdLst>
              <a:ahLst/>
              <a:cxnLst>
                <a:cxn ang="0">
                  <a:pos x="connsiteX0" y="connsiteY0"/>
                </a:cxn>
                <a:cxn ang="0">
                  <a:pos x="connsiteX1" y="connsiteY1"/>
                </a:cxn>
                <a:cxn ang="0">
                  <a:pos x="connsiteX2" y="connsiteY2"/>
                </a:cxn>
                <a:cxn ang="0">
                  <a:pos x="connsiteX3" y="connsiteY3"/>
                </a:cxn>
              </a:cxnLst>
              <a:rect l="l" t="t" r="r" b="b"/>
              <a:pathLst>
                <a:path w="9121" h="379970">
                  <a:moveTo>
                    <a:pt x="0" y="0"/>
                  </a:moveTo>
                  <a:lnTo>
                    <a:pt x="9122" y="0"/>
                  </a:lnTo>
                  <a:lnTo>
                    <a:pt x="9122" y="379970"/>
                  </a:lnTo>
                  <a:lnTo>
                    <a:pt x="0" y="379970"/>
                  </a:lnTo>
                  <a:close/>
                </a:path>
              </a:pathLst>
            </a:custGeom>
            <a:gradFill>
              <a:gsLst>
                <a:gs pos="0">
                  <a:srgbClr val="FFFFFF">
                    <a:alpha val="0"/>
                  </a:srgbClr>
                </a:gs>
                <a:gs pos="99000">
                  <a:srgbClr val="A6E0FF"/>
                </a:gs>
                <a:gs pos="100000">
                  <a:srgbClr val="A7E0FF">
                    <a:alpha val="98824"/>
                  </a:srgbClr>
                </a:gs>
                <a:gs pos="100000">
                  <a:srgbClr val="ACE2FF">
                    <a:alpha val="96863"/>
                  </a:srgbClr>
                </a:gs>
                <a:gs pos="100000">
                  <a:srgbClr val="B4E4FF">
                    <a:alpha val="91765"/>
                  </a:srgbClr>
                </a:gs>
                <a:gs pos="100000">
                  <a:srgbClr val="C0E9FF">
                    <a:alpha val="84706"/>
                  </a:srgbClr>
                </a:gs>
                <a:gs pos="100000">
                  <a:srgbClr val="CFEEFF">
                    <a:alpha val="76863"/>
                  </a:srgbClr>
                </a:gs>
                <a:gs pos="100000">
                  <a:srgbClr val="E2F5FF">
                    <a:alpha val="65882"/>
                  </a:srgbClr>
                </a:gs>
                <a:gs pos="100000">
                  <a:srgbClr val="F8FCFF">
                    <a:alpha val="53725"/>
                  </a:srgbClr>
                </a:gs>
                <a:gs pos="100000">
                  <a:srgbClr val="FFFFFF">
                    <a:alpha val="49804"/>
                  </a:srgbClr>
                </a:gs>
              </a:gsLst>
              <a:lin ang="32556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38" name="Freeform: Shape 337">
              <a:extLst>
                <a:ext uri="{FF2B5EF4-FFF2-40B4-BE49-F238E27FC236}">
                  <a16:creationId xmlns:a16="http://schemas.microsoft.com/office/drawing/2014/main" id="{B9DE0551-F623-600F-733E-C5910D971858}"/>
                </a:ext>
              </a:extLst>
            </p:cNvPr>
            <p:cNvSpPr/>
            <p:nvPr/>
          </p:nvSpPr>
          <p:spPr>
            <a:xfrm rot="19454999">
              <a:off x="2548527" y="1623864"/>
              <a:ext cx="36258" cy="870"/>
            </a:xfrm>
            <a:custGeom>
              <a:avLst/>
              <a:gdLst>
                <a:gd name="connsiteX0" fmla="*/ 0 w 379970"/>
                <a:gd name="connsiteY0" fmla="*/ 0 h 9121"/>
                <a:gd name="connsiteX1" fmla="*/ 379970 w 379970"/>
                <a:gd name="connsiteY1" fmla="*/ 0 h 9121"/>
                <a:gd name="connsiteX2" fmla="*/ 379970 w 379970"/>
                <a:gd name="connsiteY2" fmla="*/ 9122 h 9121"/>
                <a:gd name="connsiteX3" fmla="*/ 0 w 379970"/>
                <a:gd name="connsiteY3" fmla="*/ 9122 h 9121"/>
              </a:gdLst>
              <a:ahLst/>
              <a:cxnLst>
                <a:cxn ang="0">
                  <a:pos x="connsiteX0" y="connsiteY0"/>
                </a:cxn>
                <a:cxn ang="0">
                  <a:pos x="connsiteX1" y="connsiteY1"/>
                </a:cxn>
                <a:cxn ang="0">
                  <a:pos x="connsiteX2" y="connsiteY2"/>
                </a:cxn>
                <a:cxn ang="0">
                  <a:pos x="connsiteX3" y="connsiteY3"/>
                </a:cxn>
              </a:cxnLst>
              <a:rect l="l" t="t" r="r" b="b"/>
              <a:pathLst>
                <a:path w="379970" h="9121">
                  <a:moveTo>
                    <a:pt x="0" y="0"/>
                  </a:moveTo>
                  <a:lnTo>
                    <a:pt x="379970" y="0"/>
                  </a:lnTo>
                  <a:lnTo>
                    <a:pt x="379970" y="9122"/>
                  </a:lnTo>
                  <a:lnTo>
                    <a:pt x="0" y="9122"/>
                  </a:lnTo>
                  <a:close/>
                </a:path>
              </a:pathLst>
            </a:custGeom>
            <a:gradFill>
              <a:gsLst>
                <a:gs pos="0">
                  <a:srgbClr val="A6E0FF"/>
                </a:gs>
                <a:gs pos="67000">
                  <a:srgbClr val="E2F5FF">
                    <a:alpha val="31765"/>
                  </a:srgbClr>
                </a:gs>
                <a:gs pos="100000">
                  <a:srgbClr val="FFFFFF">
                    <a:alpha val="0"/>
                  </a:srgbClr>
                </a:gs>
              </a:gsLst>
              <a:lin ang="2145001"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39" name="Freeform: Shape 338">
              <a:extLst>
                <a:ext uri="{FF2B5EF4-FFF2-40B4-BE49-F238E27FC236}">
                  <a16:creationId xmlns:a16="http://schemas.microsoft.com/office/drawing/2014/main" id="{4776C596-621A-848F-DB3A-F785D16539A3}"/>
                </a:ext>
              </a:extLst>
            </p:cNvPr>
            <p:cNvSpPr/>
            <p:nvPr/>
          </p:nvSpPr>
          <p:spPr>
            <a:xfrm rot="20471400">
              <a:off x="2223193" y="1495194"/>
              <a:ext cx="870" cy="36293"/>
            </a:xfrm>
            <a:custGeom>
              <a:avLst/>
              <a:gdLst>
                <a:gd name="connsiteX0" fmla="*/ 0 w 9121"/>
                <a:gd name="connsiteY0" fmla="*/ 0 h 380335"/>
                <a:gd name="connsiteX1" fmla="*/ 9122 w 9121"/>
                <a:gd name="connsiteY1" fmla="*/ 0 h 380335"/>
                <a:gd name="connsiteX2" fmla="*/ 9122 w 9121"/>
                <a:gd name="connsiteY2" fmla="*/ 380335 h 380335"/>
                <a:gd name="connsiteX3" fmla="*/ 0 w 9121"/>
                <a:gd name="connsiteY3" fmla="*/ 380335 h 380335"/>
              </a:gdLst>
              <a:ahLst/>
              <a:cxnLst>
                <a:cxn ang="0">
                  <a:pos x="connsiteX0" y="connsiteY0"/>
                </a:cxn>
                <a:cxn ang="0">
                  <a:pos x="connsiteX1" y="connsiteY1"/>
                </a:cxn>
                <a:cxn ang="0">
                  <a:pos x="connsiteX2" y="connsiteY2"/>
                </a:cxn>
                <a:cxn ang="0">
                  <a:pos x="connsiteX3" y="connsiteY3"/>
                </a:cxn>
              </a:cxnLst>
              <a:rect l="l" t="t" r="r" b="b"/>
              <a:pathLst>
                <a:path w="9121" h="380335">
                  <a:moveTo>
                    <a:pt x="0" y="0"/>
                  </a:moveTo>
                  <a:lnTo>
                    <a:pt x="9122" y="0"/>
                  </a:lnTo>
                  <a:lnTo>
                    <a:pt x="9122" y="380335"/>
                  </a:lnTo>
                  <a:lnTo>
                    <a:pt x="0" y="380335"/>
                  </a:lnTo>
                  <a:close/>
                </a:path>
              </a:pathLst>
            </a:custGeom>
            <a:gradFill>
              <a:gsLst>
                <a:gs pos="0">
                  <a:srgbClr val="FFFFFF">
                    <a:alpha val="0"/>
                  </a:srgbClr>
                </a:gs>
                <a:gs pos="99000">
                  <a:srgbClr val="A6E0FF"/>
                </a:gs>
                <a:gs pos="100000">
                  <a:srgbClr val="A7E0FF">
                    <a:alpha val="98824"/>
                  </a:srgbClr>
                </a:gs>
                <a:gs pos="100000">
                  <a:srgbClr val="ACE2FF">
                    <a:alpha val="96863"/>
                  </a:srgbClr>
                </a:gs>
                <a:gs pos="100000">
                  <a:srgbClr val="B4E4FF">
                    <a:alpha val="91765"/>
                  </a:srgbClr>
                </a:gs>
                <a:gs pos="100000">
                  <a:srgbClr val="C0E9FF">
                    <a:alpha val="84706"/>
                  </a:srgbClr>
                </a:gs>
                <a:gs pos="100000">
                  <a:srgbClr val="CFEEFF">
                    <a:alpha val="76863"/>
                  </a:srgbClr>
                </a:gs>
                <a:gs pos="100000">
                  <a:srgbClr val="E2F5FF">
                    <a:alpha val="65882"/>
                  </a:srgbClr>
                </a:gs>
                <a:gs pos="100000">
                  <a:srgbClr val="F8FCFF">
                    <a:alpha val="53725"/>
                  </a:srgbClr>
                </a:gs>
                <a:gs pos="100000">
                  <a:srgbClr val="FFFFFF">
                    <a:alpha val="49804"/>
                  </a:srgbClr>
                </a:gs>
              </a:gsLst>
              <a:lin ang="11286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40" name="Freeform: Shape 339">
              <a:extLst>
                <a:ext uri="{FF2B5EF4-FFF2-40B4-BE49-F238E27FC236}">
                  <a16:creationId xmlns:a16="http://schemas.microsoft.com/office/drawing/2014/main" id="{D1B4EDDB-66AC-8511-9974-E334803885FD}"/>
                </a:ext>
              </a:extLst>
            </p:cNvPr>
            <p:cNvSpPr/>
            <p:nvPr/>
          </p:nvSpPr>
          <p:spPr>
            <a:xfrm rot="17343600">
              <a:off x="2396246" y="1513253"/>
              <a:ext cx="36523" cy="870"/>
            </a:xfrm>
            <a:custGeom>
              <a:avLst/>
              <a:gdLst>
                <a:gd name="connsiteX0" fmla="*/ 0 w 382743"/>
                <a:gd name="connsiteY0" fmla="*/ 0 h 9121"/>
                <a:gd name="connsiteX1" fmla="*/ 382743 w 382743"/>
                <a:gd name="connsiteY1" fmla="*/ 0 h 9121"/>
                <a:gd name="connsiteX2" fmla="*/ 382743 w 382743"/>
                <a:gd name="connsiteY2" fmla="*/ 9122 h 9121"/>
                <a:gd name="connsiteX3" fmla="*/ 0 w 382743"/>
                <a:gd name="connsiteY3" fmla="*/ 9122 h 9121"/>
              </a:gdLst>
              <a:ahLst/>
              <a:cxnLst>
                <a:cxn ang="0">
                  <a:pos x="connsiteX0" y="connsiteY0"/>
                </a:cxn>
                <a:cxn ang="0">
                  <a:pos x="connsiteX1" y="connsiteY1"/>
                </a:cxn>
                <a:cxn ang="0">
                  <a:pos x="connsiteX2" y="connsiteY2"/>
                </a:cxn>
                <a:cxn ang="0">
                  <a:pos x="connsiteX3" y="connsiteY3"/>
                </a:cxn>
              </a:cxnLst>
              <a:rect l="l" t="t" r="r" b="b"/>
              <a:pathLst>
                <a:path w="382743" h="9121">
                  <a:moveTo>
                    <a:pt x="0" y="0"/>
                  </a:moveTo>
                  <a:lnTo>
                    <a:pt x="382743" y="0"/>
                  </a:lnTo>
                  <a:lnTo>
                    <a:pt x="382743" y="9122"/>
                  </a:lnTo>
                  <a:lnTo>
                    <a:pt x="0" y="9122"/>
                  </a:lnTo>
                  <a:close/>
                </a:path>
              </a:pathLst>
            </a:custGeom>
            <a:gradFill>
              <a:gsLst>
                <a:gs pos="0">
                  <a:srgbClr val="A6E0FF"/>
                </a:gs>
                <a:gs pos="67000">
                  <a:srgbClr val="E2F5FF">
                    <a:alpha val="31765"/>
                  </a:srgbClr>
                </a:gs>
                <a:gs pos="100000">
                  <a:srgbClr val="FFFFFF">
                    <a:alpha val="0"/>
                  </a:srgbClr>
                </a:gs>
              </a:gsLst>
              <a:lin ang="42564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41" name="Freeform: Shape 340">
              <a:extLst>
                <a:ext uri="{FF2B5EF4-FFF2-40B4-BE49-F238E27FC236}">
                  <a16:creationId xmlns:a16="http://schemas.microsoft.com/office/drawing/2014/main" id="{FA73AF92-1E48-8E49-65EF-5BBEF78729CF}"/>
                </a:ext>
              </a:extLst>
            </p:cNvPr>
            <p:cNvSpPr/>
            <p:nvPr/>
          </p:nvSpPr>
          <p:spPr>
            <a:xfrm rot="19550733">
              <a:off x="2163966" y="1574903"/>
              <a:ext cx="161233" cy="251601"/>
            </a:xfrm>
            <a:custGeom>
              <a:avLst/>
              <a:gdLst>
                <a:gd name="connsiteX0" fmla="*/ 82489 w 161233"/>
                <a:gd name="connsiteY0" fmla="*/ 0 h 251601"/>
                <a:gd name="connsiteX1" fmla="*/ 133195 w 161233"/>
                <a:gd name="connsiteY1" fmla="*/ 5112 h 251601"/>
                <a:gd name="connsiteX2" fmla="*/ 161233 w 161233"/>
                <a:gd name="connsiteY2" fmla="*/ 13815 h 251601"/>
                <a:gd name="connsiteX3" fmla="*/ 101228 w 161233"/>
                <a:gd name="connsiteY3" fmla="*/ 251601 h 251601"/>
                <a:gd name="connsiteX4" fmla="*/ 49542 w 161233"/>
                <a:gd name="connsiteY4" fmla="*/ 251601 h 251601"/>
                <a:gd name="connsiteX5" fmla="*/ 0 w 161233"/>
                <a:gd name="connsiteY5" fmla="*/ 14978 h 251601"/>
                <a:gd name="connsiteX6" fmla="*/ 31783 w 161233"/>
                <a:gd name="connsiteY6" fmla="*/ 5112 h 251601"/>
                <a:gd name="connsiteX7" fmla="*/ 82489 w 161233"/>
                <a:gd name="connsiteY7" fmla="*/ 0 h 25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233" h="251601">
                  <a:moveTo>
                    <a:pt x="82489" y="0"/>
                  </a:moveTo>
                  <a:cubicBezTo>
                    <a:pt x="99858" y="0"/>
                    <a:pt x="116817" y="1760"/>
                    <a:pt x="133195" y="5112"/>
                  </a:cubicBezTo>
                  <a:lnTo>
                    <a:pt x="161233" y="13815"/>
                  </a:lnTo>
                  <a:lnTo>
                    <a:pt x="101228" y="251601"/>
                  </a:lnTo>
                  <a:lnTo>
                    <a:pt x="49542" y="251601"/>
                  </a:lnTo>
                  <a:lnTo>
                    <a:pt x="0" y="14978"/>
                  </a:lnTo>
                  <a:lnTo>
                    <a:pt x="31783" y="5112"/>
                  </a:lnTo>
                  <a:cubicBezTo>
                    <a:pt x="48162" y="1760"/>
                    <a:pt x="65120" y="0"/>
                    <a:pt x="82489" y="0"/>
                  </a:cubicBezTo>
                  <a:close/>
                </a:path>
              </a:pathLst>
            </a:custGeom>
            <a:solidFill>
              <a:srgbClr val="0070F2">
                <a:alpha val="50000"/>
              </a:srgbClr>
            </a:solidFill>
            <a:ln w="729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31" name="Freeform: Shape 330">
              <a:extLst>
                <a:ext uri="{FF2B5EF4-FFF2-40B4-BE49-F238E27FC236}">
                  <a16:creationId xmlns:a16="http://schemas.microsoft.com/office/drawing/2014/main" id="{15DAF0B0-0002-3175-DC63-E1A7FE61B64E}"/>
                </a:ext>
              </a:extLst>
            </p:cNvPr>
            <p:cNvSpPr/>
            <p:nvPr/>
          </p:nvSpPr>
          <p:spPr>
            <a:xfrm>
              <a:off x="2234096" y="1721140"/>
              <a:ext cx="168737" cy="84368"/>
            </a:xfrm>
            <a:custGeom>
              <a:avLst/>
              <a:gdLst>
                <a:gd name="connsiteX0" fmla="*/ 0 w 1768280"/>
                <a:gd name="connsiteY0" fmla="*/ 884140 h 884140"/>
                <a:gd name="connsiteX1" fmla="*/ 884140 w 1768280"/>
                <a:gd name="connsiteY1" fmla="*/ 0 h 884140"/>
                <a:gd name="connsiteX2" fmla="*/ 1768281 w 1768280"/>
                <a:gd name="connsiteY2" fmla="*/ 884140 h 884140"/>
              </a:gdLst>
              <a:ahLst/>
              <a:cxnLst>
                <a:cxn ang="0">
                  <a:pos x="connsiteX0" y="connsiteY0"/>
                </a:cxn>
                <a:cxn ang="0">
                  <a:pos x="connsiteX1" y="connsiteY1"/>
                </a:cxn>
                <a:cxn ang="0">
                  <a:pos x="connsiteX2" y="connsiteY2"/>
                </a:cxn>
              </a:cxnLst>
              <a:rect l="l" t="t" r="r" b="b"/>
              <a:pathLst>
                <a:path w="1768280" h="884140">
                  <a:moveTo>
                    <a:pt x="0" y="884140"/>
                  </a:moveTo>
                  <a:cubicBezTo>
                    <a:pt x="0" y="395878"/>
                    <a:pt x="395805" y="0"/>
                    <a:pt x="884140" y="0"/>
                  </a:cubicBezTo>
                  <a:cubicBezTo>
                    <a:pt x="1372475" y="0"/>
                    <a:pt x="1768281" y="395805"/>
                    <a:pt x="1768281" y="884140"/>
                  </a:cubicBezTo>
                </a:path>
              </a:pathLst>
            </a:custGeom>
            <a:solidFill>
              <a:srgbClr val="0070F2"/>
            </a:solidFill>
            <a:ln w="7292" cap="flat">
              <a:solidFill>
                <a:srgbClr val="0070F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grpSp>
      <p:grpSp>
        <p:nvGrpSpPr>
          <p:cNvPr id="342" name="Group 341">
            <a:extLst>
              <a:ext uri="{FF2B5EF4-FFF2-40B4-BE49-F238E27FC236}">
                <a16:creationId xmlns:a16="http://schemas.microsoft.com/office/drawing/2014/main" id="{51922C42-6D01-C937-4E34-1876388A26B9}"/>
              </a:ext>
            </a:extLst>
          </p:cNvPr>
          <p:cNvGrpSpPr/>
          <p:nvPr/>
        </p:nvGrpSpPr>
        <p:grpSpPr>
          <a:xfrm>
            <a:off x="1080673" y="1791046"/>
            <a:ext cx="770908" cy="380654"/>
            <a:chOff x="1907766" y="1467196"/>
            <a:chExt cx="770908" cy="380654"/>
          </a:xfrm>
        </p:grpSpPr>
        <p:sp>
          <p:nvSpPr>
            <p:cNvPr id="343" name="Freeform: Shape 342">
              <a:extLst>
                <a:ext uri="{FF2B5EF4-FFF2-40B4-BE49-F238E27FC236}">
                  <a16:creationId xmlns:a16="http://schemas.microsoft.com/office/drawing/2014/main" id="{65FA4C95-FDBC-AE07-F307-57106198885D}"/>
                </a:ext>
              </a:extLst>
            </p:cNvPr>
            <p:cNvSpPr/>
            <p:nvPr/>
          </p:nvSpPr>
          <p:spPr>
            <a:xfrm>
              <a:off x="1965358" y="1467196"/>
              <a:ext cx="656332" cy="326703"/>
            </a:xfrm>
            <a:custGeom>
              <a:avLst/>
              <a:gdLst>
                <a:gd name="connsiteX0" fmla="*/ 7579920 w 7579919"/>
                <a:gd name="connsiteY0" fmla="*/ 3773067 h 3773066"/>
                <a:gd name="connsiteX1" fmla="*/ 3789996 w 7579919"/>
                <a:gd name="connsiteY1" fmla="*/ 0 h 3773066"/>
                <a:gd name="connsiteX2" fmla="*/ 0 w 7579919"/>
                <a:gd name="connsiteY2" fmla="*/ 3773067 h 3773066"/>
                <a:gd name="connsiteX3" fmla="*/ 7579920 w 7579919"/>
                <a:gd name="connsiteY3" fmla="*/ 3773067 h 3773066"/>
              </a:gdLst>
              <a:ahLst/>
              <a:cxnLst>
                <a:cxn ang="0">
                  <a:pos x="connsiteX0" y="connsiteY0"/>
                </a:cxn>
                <a:cxn ang="0">
                  <a:pos x="connsiteX1" y="connsiteY1"/>
                </a:cxn>
                <a:cxn ang="0">
                  <a:pos x="connsiteX2" y="connsiteY2"/>
                </a:cxn>
                <a:cxn ang="0">
                  <a:pos x="connsiteX3" y="connsiteY3"/>
                </a:cxn>
              </a:cxnLst>
              <a:rect l="l" t="t" r="r" b="b"/>
              <a:pathLst>
                <a:path w="7579919" h="3773066">
                  <a:moveTo>
                    <a:pt x="7579920" y="3773067"/>
                  </a:moveTo>
                  <a:cubicBezTo>
                    <a:pt x="7579920" y="1689251"/>
                    <a:pt x="5883079" y="0"/>
                    <a:pt x="3789996" y="0"/>
                  </a:cubicBezTo>
                  <a:cubicBezTo>
                    <a:pt x="1696913" y="0"/>
                    <a:pt x="0" y="1689251"/>
                    <a:pt x="0" y="3773067"/>
                  </a:cubicBezTo>
                  <a:lnTo>
                    <a:pt x="7579920" y="3773067"/>
                  </a:lnTo>
                  <a:close/>
                </a:path>
              </a:pathLst>
            </a:custGeom>
            <a:solidFill>
              <a:srgbClr val="7858FF"/>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44" name="Freeform: Shape 343">
              <a:extLst>
                <a:ext uri="{FF2B5EF4-FFF2-40B4-BE49-F238E27FC236}">
                  <a16:creationId xmlns:a16="http://schemas.microsoft.com/office/drawing/2014/main" id="{F6B9A370-BF42-E13F-453C-9B8D1775AB32}"/>
                </a:ext>
              </a:extLst>
            </p:cNvPr>
            <p:cNvSpPr/>
            <p:nvPr/>
          </p:nvSpPr>
          <p:spPr>
            <a:xfrm>
              <a:off x="1998348" y="1498719"/>
              <a:ext cx="590359" cy="295179"/>
            </a:xfrm>
            <a:custGeom>
              <a:avLst/>
              <a:gdLst>
                <a:gd name="connsiteX0" fmla="*/ 6818009 w 6818008"/>
                <a:gd name="connsiteY0" fmla="*/ 3409005 h 3409004"/>
                <a:gd name="connsiteX1" fmla="*/ 3409005 w 6818008"/>
                <a:gd name="connsiteY1" fmla="*/ 0 h 3409004"/>
                <a:gd name="connsiteX2" fmla="*/ 0 w 6818008"/>
                <a:gd name="connsiteY2" fmla="*/ 3409005 h 3409004"/>
                <a:gd name="connsiteX3" fmla="*/ 6818009 w 6818008"/>
                <a:gd name="connsiteY3" fmla="*/ 3409005 h 3409004"/>
              </a:gdLst>
              <a:ahLst/>
              <a:cxnLst>
                <a:cxn ang="0">
                  <a:pos x="connsiteX0" y="connsiteY0"/>
                </a:cxn>
                <a:cxn ang="0">
                  <a:pos x="connsiteX1" y="connsiteY1"/>
                </a:cxn>
                <a:cxn ang="0">
                  <a:pos x="connsiteX2" y="connsiteY2"/>
                </a:cxn>
                <a:cxn ang="0">
                  <a:pos x="connsiteX3" y="connsiteY3"/>
                </a:cxn>
              </a:cxnLst>
              <a:rect l="l" t="t" r="r" b="b"/>
              <a:pathLst>
                <a:path w="6818008" h="3409004">
                  <a:moveTo>
                    <a:pt x="6818009" y="3409005"/>
                  </a:moveTo>
                  <a:cubicBezTo>
                    <a:pt x="6818009" y="1526230"/>
                    <a:pt x="5291707" y="0"/>
                    <a:pt x="3409005" y="0"/>
                  </a:cubicBezTo>
                  <a:cubicBezTo>
                    <a:pt x="1526302" y="0"/>
                    <a:pt x="0" y="1526302"/>
                    <a:pt x="0" y="3409005"/>
                  </a:cubicBezTo>
                  <a:lnTo>
                    <a:pt x="6818009" y="3409005"/>
                  </a:lnTo>
                  <a:close/>
                </a:path>
              </a:pathLst>
            </a:custGeom>
            <a:solidFill>
              <a:srgbClr val="9B76FF">
                <a:alpha val="50000"/>
              </a:srgbClr>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45" name="Freeform: Shape 344">
              <a:extLst>
                <a:ext uri="{FF2B5EF4-FFF2-40B4-BE49-F238E27FC236}">
                  <a16:creationId xmlns:a16="http://schemas.microsoft.com/office/drawing/2014/main" id="{C274F671-FBF7-2F84-09A9-FB1248E3A850}"/>
                </a:ext>
              </a:extLst>
            </p:cNvPr>
            <p:cNvSpPr/>
            <p:nvPr/>
          </p:nvSpPr>
          <p:spPr>
            <a:xfrm>
              <a:off x="2031166" y="1531835"/>
              <a:ext cx="524128" cy="262064"/>
            </a:xfrm>
            <a:custGeom>
              <a:avLst/>
              <a:gdLst>
                <a:gd name="connsiteX0" fmla="*/ 0 w 6053106"/>
                <a:gd name="connsiteY0" fmla="*/ 3026553 h 3026553"/>
                <a:gd name="connsiteX1" fmla="*/ 3026553 w 6053106"/>
                <a:gd name="connsiteY1" fmla="*/ 0 h 3026553"/>
                <a:gd name="connsiteX2" fmla="*/ 6053107 w 6053106"/>
                <a:gd name="connsiteY2" fmla="*/ 3026553 h 3026553"/>
              </a:gdLst>
              <a:ahLst/>
              <a:cxnLst>
                <a:cxn ang="0">
                  <a:pos x="connsiteX0" y="connsiteY0"/>
                </a:cxn>
                <a:cxn ang="0">
                  <a:pos x="connsiteX1" y="connsiteY1"/>
                </a:cxn>
                <a:cxn ang="0">
                  <a:pos x="connsiteX2" y="connsiteY2"/>
                </a:cxn>
              </a:cxnLst>
              <a:rect l="l" t="t" r="r" b="b"/>
              <a:pathLst>
                <a:path w="6053106" h="3026553">
                  <a:moveTo>
                    <a:pt x="0" y="3026553"/>
                  </a:moveTo>
                  <a:cubicBezTo>
                    <a:pt x="0" y="1355035"/>
                    <a:pt x="1355035" y="0"/>
                    <a:pt x="3026553" y="0"/>
                  </a:cubicBezTo>
                  <a:cubicBezTo>
                    <a:pt x="4698072" y="0"/>
                    <a:pt x="6053107" y="1355035"/>
                    <a:pt x="6053107" y="3026553"/>
                  </a:cubicBezTo>
                </a:path>
              </a:pathLst>
            </a:custGeom>
            <a:solidFill>
              <a:srgbClr val="4DB1FF"/>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46" name="Freeform: Shape 345">
              <a:extLst>
                <a:ext uri="{FF2B5EF4-FFF2-40B4-BE49-F238E27FC236}">
                  <a16:creationId xmlns:a16="http://schemas.microsoft.com/office/drawing/2014/main" id="{9DD52687-53FC-91B6-A604-D34AA1D3136F}"/>
                </a:ext>
              </a:extLst>
            </p:cNvPr>
            <p:cNvSpPr/>
            <p:nvPr/>
          </p:nvSpPr>
          <p:spPr>
            <a:xfrm>
              <a:off x="1907766" y="1782405"/>
              <a:ext cx="770908" cy="65445"/>
            </a:xfrm>
            <a:custGeom>
              <a:avLst/>
              <a:gdLst>
                <a:gd name="connsiteX0" fmla="*/ 8884943 w 8903148"/>
                <a:gd name="connsiteY0" fmla="*/ 682224 h 755813"/>
                <a:gd name="connsiteX1" fmla="*/ 8420471 w 8903148"/>
                <a:gd name="connsiteY1" fmla="*/ 45900 h 755813"/>
                <a:gd name="connsiteX2" fmla="*/ 8325095 w 8903148"/>
                <a:gd name="connsiteY2" fmla="*/ 0 h 755813"/>
                <a:gd name="connsiteX3" fmla="*/ 561867 w 8903148"/>
                <a:gd name="connsiteY3" fmla="*/ 0 h 755813"/>
                <a:gd name="connsiteX4" fmla="*/ 458392 w 8903148"/>
                <a:gd name="connsiteY4" fmla="*/ 59035 h 755813"/>
                <a:gd name="connsiteX5" fmla="*/ 8951 w 8903148"/>
                <a:gd name="connsiteY5" fmla="*/ 696673 h 755813"/>
                <a:gd name="connsiteX6" fmla="*/ 8951 w 8903148"/>
                <a:gd name="connsiteY6" fmla="*/ 743886 h 755813"/>
                <a:gd name="connsiteX7" fmla="*/ 52516 w 8903148"/>
                <a:gd name="connsiteY7" fmla="*/ 755708 h 755813"/>
                <a:gd name="connsiteX8" fmla="*/ 8860497 w 8903148"/>
                <a:gd name="connsiteY8" fmla="*/ 755708 h 755813"/>
                <a:gd name="connsiteX9" fmla="*/ 8899976 w 8903148"/>
                <a:gd name="connsiteY9" fmla="*/ 737319 h 755813"/>
                <a:gd name="connsiteX10" fmla="*/ 8885016 w 8903148"/>
                <a:gd name="connsiteY10" fmla="*/ 682224 h 75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3148" h="755813">
                  <a:moveTo>
                    <a:pt x="8884943" y="682224"/>
                  </a:moveTo>
                  <a:lnTo>
                    <a:pt x="8420471" y="45900"/>
                  </a:lnTo>
                  <a:cubicBezTo>
                    <a:pt x="8420471" y="45900"/>
                    <a:pt x="8402738" y="0"/>
                    <a:pt x="8325095" y="0"/>
                  </a:cubicBezTo>
                  <a:lnTo>
                    <a:pt x="561867" y="0"/>
                  </a:lnTo>
                  <a:cubicBezTo>
                    <a:pt x="561867" y="0"/>
                    <a:pt x="499184" y="1314"/>
                    <a:pt x="458392" y="59035"/>
                  </a:cubicBezTo>
                  <a:cubicBezTo>
                    <a:pt x="417527" y="116757"/>
                    <a:pt x="8951" y="696673"/>
                    <a:pt x="8951" y="696673"/>
                  </a:cubicBezTo>
                  <a:cubicBezTo>
                    <a:pt x="8951" y="696673"/>
                    <a:pt x="-11189" y="721484"/>
                    <a:pt x="8951" y="743886"/>
                  </a:cubicBezTo>
                  <a:cubicBezTo>
                    <a:pt x="21138" y="757387"/>
                    <a:pt x="52516" y="755708"/>
                    <a:pt x="52516" y="755708"/>
                  </a:cubicBezTo>
                  <a:lnTo>
                    <a:pt x="8860497" y="755708"/>
                  </a:lnTo>
                  <a:cubicBezTo>
                    <a:pt x="8860497" y="755708"/>
                    <a:pt x="8887716" y="758335"/>
                    <a:pt x="8899976" y="737319"/>
                  </a:cubicBezTo>
                  <a:cubicBezTo>
                    <a:pt x="8912235" y="716303"/>
                    <a:pt x="8885016" y="682224"/>
                    <a:pt x="8885016" y="682224"/>
                  </a:cubicBezTo>
                  <a:close/>
                </a:path>
              </a:pathLst>
            </a:custGeom>
            <a:gradFill>
              <a:gsLst>
                <a:gs pos="0">
                  <a:srgbClr val="0070F2"/>
                </a:gs>
                <a:gs pos="7000">
                  <a:srgbClr val="0070F2"/>
                </a:gs>
                <a:gs pos="14000">
                  <a:srgbClr val="0070F2"/>
                </a:gs>
                <a:gs pos="100000">
                  <a:srgbClr val="0070F2"/>
                </a:gs>
              </a:gsLst>
              <a:lin ang="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47" name="Freeform: Shape 346">
              <a:extLst>
                <a:ext uri="{FF2B5EF4-FFF2-40B4-BE49-F238E27FC236}">
                  <a16:creationId xmlns:a16="http://schemas.microsoft.com/office/drawing/2014/main" id="{1F23F197-7D3B-1E35-D4D0-A6171FFC287E}"/>
                </a:ext>
              </a:extLst>
            </p:cNvPr>
            <p:cNvSpPr/>
            <p:nvPr/>
          </p:nvSpPr>
          <p:spPr>
            <a:xfrm>
              <a:off x="2064598" y="1565596"/>
              <a:ext cx="456607" cy="228304"/>
            </a:xfrm>
            <a:custGeom>
              <a:avLst/>
              <a:gdLst>
                <a:gd name="connsiteX0" fmla="*/ 0 w 5273317"/>
                <a:gd name="connsiteY0" fmla="*/ 2636659 h 2636658"/>
                <a:gd name="connsiteX1" fmla="*/ 2636659 w 5273317"/>
                <a:gd name="connsiteY1" fmla="*/ 0 h 2636658"/>
                <a:gd name="connsiteX2" fmla="*/ 5273317 w 5273317"/>
                <a:gd name="connsiteY2" fmla="*/ 2636659 h 2636658"/>
              </a:gdLst>
              <a:ahLst/>
              <a:cxnLst>
                <a:cxn ang="0">
                  <a:pos x="connsiteX0" y="connsiteY0"/>
                </a:cxn>
                <a:cxn ang="0">
                  <a:pos x="connsiteX1" y="connsiteY1"/>
                </a:cxn>
                <a:cxn ang="0">
                  <a:pos x="connsiteX2" y="connsiteY2"/>
                </a:cxn>
              </a:cxnLst>
              <a:rect l="l" t="t" r="r" b="b"/>
              <a:pathLst>
                <a:path w="5273317" h="2636658">
                  <a:moveTo>
                    <a:pt x="0" y="2636659"/>
                  </a:moveTo>
                  <a:cubicBezTo>
                    <a:pt x="0" y="1180484"/>
                    <a:pt x="1180483" y="0"/>
                    <a:pt x="2636659" y="0"/>
                  </a:cubicBezTo>
                  <a:cubicBezTo>
                    <a:pt x="4092834" y="0"/>
                    <a:pt x="5273317" y="1180484"/>
                    <a:pt x="5273317" y="2636659"/>
                  </a:cubicBezTo>
                </a:path>
              </a:pathLst>
            </a:custGeom>
            <a:solidFill>
              <a:schemeClr val="bg1"/>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48" name="Freeform: Shape 347">
              <a:extLst>
                <a:ext uri="{FF2B5EF4-FFF2-40B4-BE49-F238E27FC236}">
                  <a16:creationId xmlns:a16="http://schemas.microsoft.com/office/drawing/2014/main" id="{A58FA004-775D-0E40-E50B-B037CC3A5D7E}"/>
                </a:ext>
              </a:extLst>
            </p:cNvPr>
            <p:cNvSpPr/>
            <p:nvPr/>
          </p:nvSpPr>
          <p:spPr>
            <a:xfrm>
              <a:off x="2216711" y="1717343"/>
              <a:ext cx="153112" cy="76556"/>
            </a:xfrm>
            <a:custGeom>
              <a:avLst/>
              <a:gdLst>
                <a:gd name="connsiteX0" fmla="*/ 0 w 1768280"/>
                <a:gd name="connsiteY0" fmla="*/ 884140 h 884140"/>
                <a:gd name="connsiteX1" fmla="*/ 884140 w 1768280"/>
                <a:gd name="connsiteY1" fmla="*/ 0 h 884140"/>
                <a:gd name="connsiteX2" fmla="*/ 1768281 w 1768280"/>
                <a:gd name="connsiteY2" fmla="*/ 884140 h 884140"/>
              </a:gdLst>
              <a:ahLst/>
              <a:cxnLst>
                <a:cxn ang="0">
                  <a:pos x="connsiteX0" y="connsiteY0"/>
                </a:cxn>
                <a:cxn ang="0">
                  <a:pos x="connsiteX1" y="connsiteY1"/>
                </a:cxn>
                <a:cxn ang="0">
                  <a:pos x="connsiteX2" y="connsiteY2"/>
                </a:cxn>
              </a:cxnLst>
              <a:rect l="l" t="t" r="r" b="b"/>
              <a:pathLst>
                <a:path w="1768280" h="884140">
                  <a:moveTo>
                    <a:pt x="0" y="884140"/>
                  </a:moveTo>
                  <a:cubicBezTo>
                    <a:pt x="0" y="395878"/>
                    <a:pt x="395805" y="0"/>
                    <a:pt x="884140" y="0"/>
                  </a:cubicBezTo>
                  <a:cubicBezTo>
                    <a:pt x="1372475" y="0"/>
                    <a:pt x="1768281" y="395805"/>
                    <a:pt x="1768281" y="884140"/>
                  </a:cubicBezTo>
                </a:path>
              </a:pathLst>
            </a:custGeom>
            <a:solidFill>
              <a:srgbClr val="0070F2"/>
            </a:solidFill>
            <a:ln w="7292" cap="flat">
              <a:solidFill>
                <a:srgbClr val="0070F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49" name="Freeform: Shape 348">
              <a:extLst>
                <a:ext uri="{FF2B5EF4-FFF2-40B4-BE49-F238E27FC236}">
                  <a16:creationId xmlns:a16="http://schemas.microsoft.com/office/drawing/2014/main" id="{D76271CF-2A39-A740-EEB9-F5193DFDBF53}"/>
                </a:ext>
              </a:extLst>
            </p:cNvPr>
            <p:cNvSpPr/>
            <p:nvPr/>
          </p:nvSpPr>
          <p:spPr>
            <a:xfrm rot="18304802">
              <a:off x="2154942" y="1634695"/>
              <a:ext cx="632" cy="113558"/>
            </a:xfrm>
            <a:custGeom>
              <a:avLst/>
              <a:gdLst>
                <a:gd name="connsiteX0" fmla="*/ 0 w 7297"/>
                <a:gd name="connsiteY0" fmla="*/ 0 h 1311469"/>
                <a:gd name="connsiteX1" fmla="*/ 7297 w 7297"/>
                <a:gd name="connsiteY1" fmla="*/ 0 h 1311469"/>
                <a:gd name="connsiteX2" fmla="*/ 7297 w 7297"/>
                <a:gd name="connsiteY2" fmla="*/ 1311470 h 1311469"/>
                <a:gd name="connsiteX3" fmla="*/ 0 w 7297"/>
                <a:gd name="connsiteY3" fmla="*/ 1311470 h 1311469"/>
              </a:gdLst>
              <a:ahLst/>
              <a:cxnLst>
                <a:cxn ang="0">
                  <a:pos x="connsiteX0" y="connsiteY0"/>
                </a:cxn>
                <a:cxn ang="0">
                  <a:pos x="connsiteX1" y="connsiteY1"/>
                </a:cxn>
                <a:cxn ang="0">
                  <a:pos x="connsiteX2" y="connsiteY2"/>
                </a:cxn>
                <a:cxn ang="0">
                  <a:pos x="connsiteX3" y="connsiteY3"/>
                </a:cxn>
              </a:cxnLst>
              <a:rect l="l" t="t" r="r" b="b"/>
              <a:pathLst>
                <a:path w="7297" h="1311469">
                  <a:moveTo>
                    <a:pt x="0" y="0"/>
                  </a:moveTo>
                  <a:lnTo>
                    <a:pt x="7297" y="0"/>
                  </a:lnTo>
                  <a:lnTo>
                    <a:pt x="7297" y="1311470"/>
                  </a:lnTo>
                  <a:lnTo>
                    <a:pt x="0" y="1311470"/>
                  </a:lnTo>
                  <a:close/>
                </a:path>
              </a:pathLst>
            </a:custGeom>
            <a:gradFill>
              <a:gsLst>
                <a:gs pos="0">
                  <a:srgbClr val="4DB1FF"/>
                </a:gs>
                <a:gs pos="50000">
                  <a:srgbClr val="79C8FF"/>
                </a:gs>
                <a:gs pos="100000">
                  <a:srgbClr val="A6E0FF"/>
                </a:gs>
              </a:gsLst>
              <a:lin ang="3295198"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50" name="Freeform: Shape 349">
              <a:extLst>
                <a:ext uri="{FF2B5EF4-FFF2-40B4-BE49-F238E27FC236}">
                  <a16:creationId xmlns:a16="http://schemas.microsoft.com/office/drawing/2014/main" id="{24B1061B-91F0-F51E-5BA9-D2E30676A5FD}"/>
                </a:ext>
              </a:extLst>
            </p:cNvPr>
            <p:cNvSpPr/>
            <p:nvPr/>
          </p:nvSpPr>
          <p:spPr>
            <a:xfrm rot="19472402">
              <a:off x="2374894" y="1691177"/>
              <a:ext cx="112547" cy="632"/>
            </a:xfrm>
            <a:custGeom>
              <a:avLst/>
              <a:gdLst>
                <a:gd name="connsiteX0" fmla="*/ 0 w 1299794"/>
                <a:gd name="connsiteY0" fmla="*/ 0 h 7297"/>
                <a:gd name="connsiteX1" fmla="*/ 1299794 w 1299794"/>
                <a:gd name="connsiteY1" fmla="*/ 0 h 7297"/>
                <a:gd name="connsiteX2" fmla="*/ 1299794 w 1299794"/>
                <a:gd name="connsiteY2" fmla="*/ 7297 h 7297"/>
                <a:gd name="connsiteX3" fmla="*/ 0 w 1299794"/>
                <a:gd name="connsiteY3" fmla="*/ 7297 h 7297"/>
              </a:gdLst>
              <a:ahLst/>
              <a:cxnLst>
                <a:cxn ang="0">
                  <a:pos x="connsiteX0" y="connsiteY0"/>
                </a:cxn>
                <a:cxn ang="0">
                  <a:pos x="connsiteX1" y="connsiteY1"/>
                </a:cxn>
                <a:cxn ang="0">
                  <a:pos x="connsiteX2" y="connsiteY2"/>
                </a:cxn>
                <a:cxn ang="0">
                  <a:pos x="connsiteX3" y="connsiteY3"/>
                </a:cxn>
              </a:cxnLst>
              <a:rect l="l" t="t" r="r" b="b"/>
              <a:pathLst>
                <a:path w="1299794" h="7297">
                  <a:moveTo>
                    <a:pt x="0" y="0"/>
                  </a:moveTo>
                  <a:lnTo>
                    <a:pt x="1299794" y="0"/>
                  </a:lnTo>
                  <a:lnTo>
                    <a:pt x="1299794" y="7297"/>
                  </a:lnTo>
                  <a:lnTo>
                    <a:pt x="0" y="7297"/>
                  </a:lnTo>
                  <a:close/>
                </a:path>
              </a:pathLst>
            </a:custGeom>
            <a:gradFill>
              <a:gsLst>
                <a:gs pos="0">
                  <a:srgbClr val="A6E0FF"/>
                </a:gs>
                <a:gs pos="77000">
                  <a:srgbClr val="4DB1FF"/>
                </a:gs>
              </a:gsLst>
              <a:lin ang="2127598"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51" name="Freeform: Shape 350">
              <a:extLst>
                <a:ext uri="{FF2B5EF4-FFF2-40B4-BE49-F238E27FC236}">
                  <a16:creationId xmlns:a16="http://schemas.microsoft.com/office/drawing/2014/main" id="{01686BA8-EC30-83A4-BE34-0CCEB956223B}"/>
                </a:ext>
              </a:extLst>
            </p:cNvPr>
            <p:cNvSpPr/>
            <p:nvPr/>
          </p:nvSpPr>
          <p:spPr>
            <a:xfrm rot="17278800">
              <a:off x="2290104" y="1630135"/>
              <a:ext cx="112705" cy="632"/>
            </a:xfrm>
            <a:custGeom>
              <a:avLst/>
              <a:gdLst>
                <a:gd name="connsiteX0" fmla="*/ 0 w 1301618"/>
                <a:gd name="connsiteY0" fmla="*/ 0 h 7297"/>
                <a:gd name="connsiteX1" fmla="*/ 1301618 w 1301618"/>
                <a:gd name="connsiteY1" fmla="*/ 0 h 7297"/>
                <a:gd name="connsiteX2" fmla="*/ 1301618 w 1301618"/>
                <a:gd name="connsiteY2" fmla="*/ 7297 h 7297"/>
                <a:gd name="connsiteX3" fmla="*/ 0 w 1301618"/>
                <a:gd name="connsiteY3" fmla="*/ 7297 h 7297"/>
              </a:gdLst>
              <a:ahLst/>
              <a:cxnLst>
                <a:cxn ang="0">
                  <a:pos x="connsiteX0" y="connsiteY0"/>
                </a:cxn>
                <a:cxn ang="0">
                  <a:pos x="connsiteX1" y="connsiteY1"/>
                </a:cxn>
                <a:cxn ang="0">
                  <a:pos x="connsiteX2" y="connsiteY2"/>
                </a:cxn>
                <a:cxn ang="0">
                  <a:pos x="connsiteX3" y="connsiteY3"/>
                </a:cxn>
              </a:cxnLst>
              <a:rect l="l" t="t" r="r" b="b"/>
              <a:pathLst>
                <a:path w="1301618" h="7297">
                  <a:moveTo>
                    <a:pt x="0" y="0"/>
                  </a:moveTo>
                  <a:lnTo>
                    <a:pt x="1301618" y="0"/>
                  </a:lnTo>
                  <a:lnTo>
                    <a:pt x="1301618" y="7297"/>
                  </a:lnTo>
                  <a:lnTo>
                    <a:pt x="0" y="7297"/>
                  </a:lnTo>
                  <a:close/>
                </a:path>
              </a:pathLst>
            </a:custGeom>
            <a:gradFill>
              <a:gsLst>
                <a:gs pos="0">
                  <a:srgbClr val="A6E0FF"/>
                </a:gs>
                <a:gs pos="77000">
                  <a:srgbClr val="4DB1FF"/>
                </a:gs>
              </a:gsLst>
              <a:lin ang="43212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52" name="Freeform: Shape 351">
              <a:extLst>
                <a:ext uri="{FF2B5EF4-FFF2-40B4-BE49-F238E27FC236}">
                  <a16:creationId xmlns:a16="http://schemas.microsoft.com/office/drawing/2014/main" id="{E4427686-DC30-4741-92EB-178569EEB69A}"/>
                </a:ext>
              </a:extLst>
            </p:cNvPr>
            <p:cNvSpPr/>
            <p:nvPr/>
          </p:nvSpPr>
          <p:spPr>
            <a:xfrm rot="20515199">
              <a:off x="2240613" y="1574080"/>
              <a:ext cx="632" cy="112629"/>
            </a:xfrm>
            <a:custGeom>
              <a:avLst/>
              <a:gdLst>
                <a:gd name="connsiteX0" fmla="*/ 0 w 7297"/>
                <a:gd name="connsiteY0" fmla="*/ 0 h 1300742"/>
                <a:gd name="connsiteX1" fmla="*/ 7297 w 7297"/>
                <a:gd name="connsiteY1" fmla="*/ 0 h 1300742"/>
                <a:gd name="connsiteX2" fmla="*/ 7297 w 7297"/>
                <a:gd name="connsiteY2" fmla="*/ 1300743 h 1300742"/>
                <a:gd name="connsiteX3" fmla="*/ 0 w 7297"/>
                <a:gd name="connsiteY3" fmla="*/ 1300743 h 1300742"/>
              </a:gdLst>
              <a:ahLst/>
              <a:cxnLst>
                <a:cxn ang="0">
                  <a:pos x="connsiteX0" y="connsiteY0"/>
                </a:cxn>
                <a:cxn ang="0">
                  <a:pos x="connsiteX1" y="connsiteY1"/>
                </a:cxn>
                <a:cxn ang="0">
                  <a:pos x="connsiteX2" y="connsiteY2"/>
                </a:cxn>
                <a:cxn ang="0">
                  <a:pos x="connsiteX3" y="connsiteY3"/>
                </a:cxn>
              </a:cxnLst>
              <a:rect l="l" t="t" r="r" b="b"/>
              <a:pathLst>
                <a:path w="7297" h="1300742">
                  <a:moveTo>
                    <a:pt x="0" y="0"/>
                  </a:moveTo>
                  <a:lnTo>
                    <a:pt x="7297" y="0"/>
                  </a:lnTo>
                  <a:lnTo>
                    <a:pt x="7297" y="1300743"/>
                  </a:lnTo>
                  <a:lnTo>
                    <a:pt x="0" y="1300743"/>
                  </a:lnTo>
                  <a:close/>
                </a:path>
              </a:pathLst>
            </a:custGeom>
            <a:gradFill>
              <a:gsLst>
                <a:gs pos="0">
                  <a:srgbClr val="4DB1FF"/>
                </a:gs>
                <a:gs pos="50000">
                  <a:srgbClr val="79C8FF"/>
                </a:gs>
                <a:gs pos="100000">
                  <a:srgbClr val="A6E0FF"/>
                </a:gs>
              </a:gsLst>
              <a:lin ang="1084801"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53" name="Freeform: Shape 352">
              <a:extLst>
                <a:ext uri="{FF2B5EF4-FFF2-40B4-BE49-F238E27FC236}">
                  <a16:creationId xmlns:a16="http://schemas.microsoft.com/office/drawing/2014/main" id="{BBE25DB3-BC3E-7836-A669-01E27BF3D278}"/>
                </a:ext>
              </a:extLst>
            </p:cNvPr>
            <p:cNvSpPr/>
            <p:nvPr/>
          </p:nvSpPr>
          <p:spPr>
            <a:xfrm>
              <a:off x="2178162" y="1678124"/>
              <a:ext cx="230730" cy="115365"/>
            </a:xfrm>
            <a:custGeom>
              <a:avLst/>
              <a:gdLst>
                <a:gd name="connsiteX0" fmla="*/ 2664680 w 2664680"/>
                <a:gd name="connsiteY0" fmla="*/ 1332340 h 1332340"/>
                <a:gd name="connsiteX1" fmla="*/ 2657383 w 2664680"/>
                <a:gd name="connsiteY1" fmla="*/ 1332340 h 1332340"/>
                <a:gd name="connsiteX2" fmla="*/ 1332340 w 2664680"/>
                <a:gd name="connsiteY2" fmla="*/ 7297 h 1332340"/>
                <a:gd name="connsiteX3" fmla="*/ 7297 w 2664680"/>
                <a:gd name="connsiteY3" fmla="*/ 1332340 h 1332340"/>
                <a:gd name="connsiteX4" fmla="*/ 0 w 2664680"/>
                <a:gd name="connsiteY4" fmla="*/ 1332340 h 1332340"/>
                <a:gd name="connsiteX5" fmla="*/ 1332340 w 2664680"/>
                <a:gd name="connsiteY5" fmla="*/ 0 h 1332340"/>
                <a:gd name="connsiteX6" fmla="*/ 2664680 w 2664680"/>
                <a:gd name="connsiteY6" fmla="*/ 1332340 h 1332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4680" h="1332340">
                  <a:moveTo>
                    <a:pt x="2664680" y="1332340"/>
                  </a:moveTo>
                  <a:lnTo>
                    <a:pt x="2657383" y="1332340"/>
                  </a:lnTo>
                  <a:cubicBezTo>
                    <a:pt x="2657383" y="601735"/>
                    <a:pt x="2062945" y="7297"/>
                    <a:pt x="1332340" y="7297"/>
                  </a:cubicBezTo>
                  <a:cubicBezTo>
                    <a:pt x="601735" y="7297"/>
                    <a:pt x="7297" y="601735"/>
                    <a:pt x="7297" y="1332340"/>
                  </a:cubicBezTo>
                  <a:lnTo>
                    <a:pt x="0" y="1332340"/>
                  </a:lnTo>
                  <a:cubicBezTo>
                    <a:pt x="0" y="597722"/>
                    <a:pt x="597721" y="0"/>
                    <a:pt x="1332340" y="0"/>
                  </a:cubicBezTo>
                  <a:cubicBezTo>
                    <a:pt x="2066959" y="0"/>
                    <a:pt x="2664680" y="597722"/>
                    <a:pt x="2664680" y="1332340"/>
                  </a:cubicBezTo>
                  <a:close/>
                </a:path>
              </a:pathLst>
            </a:custGeom>
            <a:gradFill>
              <a:gsLst>
                <a:gs pos="0">
                  <a:srgbClr val="A6E0FF"/>
                </a:gs>
                <a:gs pos="4000">
                  <a:srgbClr val="8CD2FF"/>
                </a:gs>
                <a:gs pos="8000">
                  <a:srgbClr val="76C6FF"/>
                </a:gs>
                <a:gs pos="14000">
                  <a:srgbClr val="65BDFF"/>
                </a:gs>
                <a:gs pos="20000">
                  <a:srgbClr val="59B7FF"/>
                </a:gs>
                <a:gs pos="29000">
                  <a:srgbClr val="52B3FF"/>
                </a:gs>
                <a:gs pos="54000">
                  <a:srgbClr val="51B3FF"/>
                </a:gs>
                <a:gs pos="54000">
                  <a:srgbClr val="4DB1FF"/>
                </a:gs>
                <a:gs pos="70000">
                  <a:srgbClr val="4FB2FF"/>
                </a:gs>
                <a:gs pos="78000">
                  <a:srgbClr val="57B6FF"/>
                </a:gs>
                <a:gs pos="85000">
                  <a:srgbClr val="65BDFF"/>
                </a:gs>
                <a:gs pos="91000">
                  <a:srgbClr val="78C8FF"/>
                </a:gs>
                <a:gs pos="97000">
                  <a:srgbClr val="91D5FF"/>
                </a:gs>
                <a:gs pos="100000">
                  <a:srgbClr val="A6E0FF"/>
                </a:gs>
                <a:gs pos="100000">
                  <a:srgbClr val="4DB1FF"/>
                </a:gs>
              </a:gsLst>
              <a:lin ang="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54" name="Freeform: Shape 353">
              <a:extLst>
                <a:ext uri="{FF2B5EF4-FFF2-40B4-BE49-F238E27FC236}">
                  <a16:creationId xmlns:a16="http://schemas.microsoft.com/office/drawing/2014/main" id="{0C696CC2-4F54-9658-E70F-A3B1ED8A9A93}"/>
                </a:ext>
              </a:extLst>
            </p:cNvPr>
            <p:cNvSpPr/>
            <p:nvPr/>
          </p:nvSpPr>
          <p:spPr>
            <a:xfrm rot="18344400">
              <a:off x="2067813" y="1613304"/>
              <a:ext cx="789" cy="32901"/>
            </a:xfrm>
            <a:custGeom>
              <a:avLst/>
              <a:gdLst>
                <a:gd name="connsiteX0" fmla="*/ 0 w 9121"/>
                <a:gd name="connsiteY0" fmla="*/ 0 h 379970"/>
                <a:gd name="connsiteX1" fmla="*/ 9122 w 9121"/>
                <a:gd name="connsiteY1" fmla="*/ 0 h 379970"/>
                <a:gd name="connsiteX2" fmla="*/ 9122 w 9121"/>
                <a:gd name="connsiteY2" fmla="*/ 379970 h 379970"/>
                <a:gd name="connsiteX3" fmla="*/ 0 w 9121"/>
                <a:gd name="connsiteY3" fmla="*/ 379970 h 379970"/>
              </a:gdLst>
              <a:ahLst/>
              <a:cxnLst>
                <a:cxn ang="0">
                  <a:pos x="connsiteX0" y="connsiteY0"/>
                </a:cxn>
                <a:cxn ang="0">
                  <a:pos x="connsiteX1" y="connsiteY1"/>
                </a:cxn>
                <a:cxn ang="0">
                  <a:pos x="connsiteX2" y="connsiteY2"/>
                </a:cxn>
                <a:cxn ang="0">
                  <a:pos x="connsiteX3" y="connsiteY3"/>
                </a:cxn>
              </a:cxnLst>
              <a:rect l="l" t="t" r="r" b="b"/>
              <a:pathLst>
                <a:path w="9121" h="379970">
                  <a:moveTo>
                    <a:pt x="0" y="0"/>
                  </a:moveTo>
                  <a:lnTo>
                    <a:pt x="9122" y="0"/>
                  </a:lnTo>
                  <a:lnTo>
                    <a:pt x="9122" y="379970"/>
                  </a:lnTo>
                  <a:lnTo>
                    <a:pt x="0" y="379970"/>
                  </a:lnTo>
                  <a:close/>
                </a:path>
              </a:pathLst>
            </a:custGeom>
            <a:gradFill>
              <a:gsLst>
                <a:gs pos="0">
                  <a:srgbClr val="FFFFFF">
                    <a:alpha val="0"/>
                  </a:srgbClr>
                </a:gs>
                <a:gs pos="99000">
                  <a:srgbClr val="A6E0FF"/>
                </a:gs>
                <a:gs pos="100000">
                  <a:srgbClr val="A7E0FF">
                    <a:alpha val="98824"/>
                  </a:srgbClr>
                </a:gs>
                <a:gs pos="100000">
                  <a:srgbClr val="ACE2FF">
                    <a:alpha val="96863"/>
                  </a:srgbClr>
                </a:gs>
                <a:gs pos="100000">
                  <a:srgbClr val="B4E4FF">
                    <a:alpha val="91765"/>
                  </a:srgbClr>
                </a:gs>
                <a:gs pos="100000">
                  <a:srgbClr val="C0E9FF">
                    <a:alpha val="84706"/>
                  </a:srgbClr>
                </a:gs>
                <a:gs pos="100000">
                  <a:srgbClr val="CFEEFF">
                    <a:alpha val="76863"/>
                  </a:srgbClr>
                </a:gs>
                <a:gs pos="100000">
                  <a:srgbClr val="E2F5FF">
                    <a:alpha val="65882"/>
                  </a:srgbClr>
                </a:gs>
                <a:gs pos="100000">
                  <a:srgbClr val="F8FCFF">
                    <a:alpha val="53725"/>
                  </a:srgbClr>
                </a:gs>
                <a:gs pos="100000">
                  <a:srgbClr val="FFFFFF">
                    <a:alpha val="49804"/>
                  </a:srgbClr>
                </a:gs>
              </a:gsLst>
              <a:lin ang="32556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55" name="Freeform: Shape 354">
              <a:extLst>
                <a:ext uri="{FF2B5EF4-FFF2-40B4-BE49-F238E27FC236}">
                  <a16:creationId xmlns:a16="http://schemas.microsoft.com/office/drawing/2014/main" id="{9E15D2F9-FE5F-B037-06FC-500EBDC78585}"/>
                </a:ext>
              </a:extLst>
            </p:cNvPr>
            <p:cNvSpPr/>
            <p:nvPr/>
          </p:nvSpPr>
          <p:spPr>
            <a:xfrm rot="19454999">
              <a:off x="2502027" y="1629074"/>
              <a:ext cx="32901" cy="789"/>
            </a:xfrm>
            <a:custGeom>
              <a:avLst/>
              <a:gdLst>
                <a:gd name="connsiteX0" fmla="*/ 0 w 379970"/>
                <a:gd name="connsiteY0" fmla="*/ 0 h 9121"/>
                <a:gd name="connsiteX1" fmla="*/ 379970 w 379970"/>
                <a:gd name="connsiteY1" fmla="*/ 0 h 9121"/>
                <a:gd name="connsiteX2" fmla="*/ 379970 w 379970"/>
                <a:gd name="connsiteY2" fmla="*/ 9122 h 9121"/>
                <a:gd name="connsiteX3" fmla="*/ 0 w 379970"/>
                <a:gd name="connsiteY3" fmla="*/ 9122 h 9121"/>
              </a:gdLst>
              <a:ahLst/>
              <a:cxnLst>
                <a:cxn ang="0">
                  <a:pos x="connsiteX0" y="connsiteY0"/>
                </a:cxn>
                <a:cxn ang="0">
                  <a:pos x="connsiteX1" y="connsiteY1"/>
                </a:cxn>
                <a:cxn ang="0">
                  <a:pos x="connsiteX2" y="connsiteY2"/>
                </a:cxn>
                <a:cxn ang="0">
                  <a:pos x="connsiteX3" y="connsiteY3"/>
                </a:cxn>
              </a:cxnLst>
              <a:rect l="l" t="t" r="r" b="b"/>
              <a:pathLst>
                <a:path w="379970" h="9121">
                  <a:moveTo>
                    <a:pt x="0" y="0"/>
                  </a:moveTo>
                  <a:lnTo>
                    <a:pt x="379970" y="0"/>
                  </a:lnTo>
                  <a:lnTo>
                    <a:pt x="379970" y="9122"/>
                  </a:lnTo>
                  <a:lnTo>
                    <a:pt x="0" y="9122"/>
                  </a:lnTo>
                  <a:close/>
                </a:path>
              </a:pathLst>
            </a:custGeom>
            <a:gradFill>
              <a:gsLst>
                <a:gs pos="0">
                  <a:srgbClr val="A6E0FF"/>
                </a:gs>
                <a:gs pos="67000">
                  <a:srgbClr val="E2F5FF">
                    <a:alpha val="31765"/>
                  </a:srgbClr>
                </a:gs>
                <a:gs pos="100000">
                  <a:srgbClr val="FFFFFF">
                    <a:alpha val="0"/>
                  </a:srgbClr>
                </a:gs>
              </a:gsLst>
              <a:lin ang="2145001"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56" name="Freeform: Shape 355">
              <a:extLst>
                <a:ext uri="{FF2B5EF4-FFF2-40B4-BE49-F238E27FC236}">
                  <a16:creationId xmlns:a16="http://schemas.microsoft.com/office/drawing/2014/main" id="{2BFE83D6-EACB-AE25-5EBB-F696B50365BD}"/>
                </a:ext>
              </a:extLst>
            </p:cNvPr>
            <p:cNvSpPr/>
            <p:nvPr/>
          </p:nvSpPr>
          <p:spPr>
            <a:xfrm rot="20471400">
              <a:off x="2206818" y="1512318"/>
              <a:ext cx="789" cy="32932"/>
            </a:xfrm>
            <a:custGeom>
              <a:avLst/>
              <a:gdLst>
                <a:gd name="connsiteX0" fmla="*/ 0 w 9121"/>
                <a:gd name="connsiteY0" fmla="*/ 0 h 380335"/>
                <a:gd name="connsiteX1" fmla="*/ 9122 w 9121"/>
                <a:gd name="connsiteY1" fmla="*/ 0 h 380335"/>
                <a:gd name="connsiteX2" fmla="*/ 9122 w 9121"/>
                <a:gd name="connsiteY2" fmla="*/ 380335 h 380335"/>
                <a:gd name="connsiteX3" fmla="*/ 0 w 9121"/>
                <a:gd name="connsiteY3" fmla="*/ 380335 h 380335"/>
              </a:gdLst>
              <a:ahLst/>
              <a:cxnLst>
                <a:cxn ang="0">
                  <a:pos x="connsiteX0" y="connsiteY0"/>
                </a:cxn>
                <a:cxn ang="0">
                  <a:pos x="connsiteX1" y="connsiteY1"/>
                </a:cxn>
                <a:cxn ang="0">
                  <a:pos x="connsiteX2" y="connsiteY2"/>
                </a:cxn>
                <a:cxn ang="0">
                  <a:pos x="connsiteX3" y="connsiteY3"/>
                </a:cxn>
              </a:cxnLst>
              <a:rect l="l" t="t" r="r" b="b"/>
              <a:pathLst>
                <a:path w="9121" h="380335">
                  <a:moveTo>
                    <a:pt x="0" y="0"/>
                  </a:moveTo>
                  <a:lnTo>
                    <a:pt x="9122" y="0"/>
                  </a:lnTo>
                  <a:lnTo>
                    <a:pt x="9122" y="380335"/>
                  </a:lnTo>
                  <a:lnTo>
                    <a:pt x="0" y="380335"/>
                  </a:lnTo>
                  <a:close/>
                </a:path>
              </a:pathLst>
            </a:custGeom>
            <a:gradFill>
              <a:gsLst>
                <a:gs pos="0">
                  <a:srgbClr val="FFFFFF">
                    <a:alpha val="0"/>
                  </a:srgbClr>
                </a:gs>
                <a:gs pos="99000">
                  <a:srgbClr val="A6E0FF"/>
                </a:gs>
                <a:gs pos="100000">
                  <a:srgbClr val="A7E0FF">
                    <a:alpha val="98824"/>
                  </a:srgbClr>
                </a:gs>
                <a:gs pos="100000">
                  <a:srgbClr val="ACE2FF">
                    <a:alpha val="96863"/>
                  </a:srgbClr>
                </a:gs>
                <a:gs pos="100000">
                  <a:srgbClr val="B4E4FF">
                    <a:alpha val="91765"/>
                  </a:srgbClr>
                </a:gs>
                <a:gs pos="100000">
                  <a:srgbClr val="C0E9FF">
                    <a:alpha val="84706"/>
                  </a:srgbClr>
                </a:gs>
                <a:gs pos="100000">
                  <a:srgbClr val="CFEEFF">
                    <a:alpha val="76863"/>
                  </a:srgbClr>
                </a:gs>
                <a:gs pos="100000">
                  <a:srgbClr val="E2F5FF">
                    <a:alpha val="65882"/>
                  </a:srgbClr>
                </a:gs>
                <a:gs pos="100000">
                  <a:srgbClr val="F8FCFF">
                    <a:alpha val="53725"/>
                  </a:srgbClr>
                </a:gs>
                <a:gs pos="100000">
                  <a:srgbClr val="FFFFFF">
                    <a:alpha val="49804"/>
                  </a:srgbClr>
                </a:gs>
              </a:gsLst>
              <a:lin ang="11286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57" name="Freeform: Shape 356">
              <a:extLst>
                <a:ext uri="{FF2B5EF4-FFF2-40B4-BE49-F238E27FC236}">
                  <a16:creationId xmlns:a16="http://schemas.microsoft.com/office/drawing/2014/main" id="{CBFF42E3-DCEA-986B-7012-386B71BFCB0A}"/>
                </a:ext>
              </a:extLst>
            </p:cNvPr>
            <p:cNvSpPr/>
            <p:nvPr/>
          </p:nvSpPr>
          <p:spPr>
            <a:xfrm rot="17343600">
              <a:off x="2363847" y="1528705"/>
              <a:ext cx="33141" cy="789"/>
            </a:xfrm>
            <a:custGeom>
              <a:avLst/>
              <a:gdLst>
                <a:gd name="connsiteX0" fmla="*/ 0 w 382743"/>
                <a:gd name="connsiteY0" fmla="*/ 0 h 9121"/>
                <a:gd name="connsiteX1" fmla="*/ 382743 w 382743"/>
                <a:gd name="connsiteY1" fmla="*/ 0 h 9121"/>
                <a:gd name="connsiteX2" fmla="*/ 382743 w 382743"/>
                <a:gd name="connsiteY2" fmla="*/ 9122 h 9121"/>
                <a:gd name="connsiteX3" fmla="*/ 0 w 382743"/>
                <a:gd name="connsiteY3" fmla="*/ 9122 h 9121"/>
              </a:gdLst>
              <a:ahLst/>
              <a:cxnLst>
                <a:cxn ang="0">
                  <a:pos x="connsiteX0" y="connsiteY0"/>
                </a:cxn>
                <a:cxn ang="0">
                  <a:pos x="connsiteX1" y="connsiteY1"/>
                </a:cxn>
                <a:cxn ang="0">
                  <a:pos x="connsiteX2" y="connsiteY2"/>
                </a:cxn>
                <a:cxn ang="0">
                  <a:pos x="connsiteX3" y="connsiteY3"/>
                </a:cxn>
              </a:cxnLst>
              <a:rect l="l" t="t" r="r" b="b"/>
              <a:pathLst>
                <a:path w="382743" h="9121">
                  <a:moveTo>
                    <a:pt x="0" y="0"/>
                  </a:moveTo>
                  <a:lnTo>
                    <a:pt x="382743" y="0"/>
                  </a:lnTo>
                  <a:lnTo>
                    <a:pt x="382743" y="9122"/>
                  </a:lnTo>
                  <a:lnTo>
                    <a:pt x="0" y="9122"/>
                  </a:lnTo>
                  <a:close/>
                </a:path>
              </a:pathLst>
            </a:custGeom>
            <a:gradFill>
              <a:gsLst>
                <a:gs pos="0">
                  <a:srgbClr val="A6E0FF"/>
                </a:gs>
                <a:gs pos="67000">
                  <a:srgbClr val="E2F5FF">
                    <a:alpha val="31765"/>
                  </a:srgbClr>
                </a:gs>
                <a:gs pos="100000">
                  <a:srgbClr val="FFFFFF">
                    <a:alpha val="0"/>
                  </a:srgbClr>
                </a:gs>
              </a:gsLst>
              <a:lin ang="42564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58" name="Freeform: Shape 357">
              <a:extLst>
                <a:ext uri="{FF2B5EF4-FFF2-40B4-BE49-F238E27FC236}">
                  <a16:creationId xmlns:a16="http://schemas.microsoft.com/office/drawing/2014/main" id="{A7BE83CB-8BE2-7F3D-33A9-31C9E530C047}"/>
                </a:ext>
              </a:extLst>
            </p:cNvPr>
            <p:cNvSpPr/>
            <p:nvPr/>
          </p:nvSpPr>
          <p:spPr>
            <a:xfrm rot="17310774">
              <a:off x="2110704" y="1645421"/>
              <a:ext cx="146303" cy="228304"/>
            </a:xfrm>
            <a:custGeom>
              <a:avLst/>
              <a:gdLst>
                <a:gd name="connsiteX0" fmla="*/ 82489 w 161233"/>
                <a:gd name="connsiteY0" fmla="*/ 0 h 251601"/>
                <a:gd name="connsiteX1" fmla="*/ 133195 w 161233"/>
                <a:gd name="connsiteY1" fmla="*/ 5112 h 251601"/>
                <a:gd name="connsiteX2" fmla="*/ 161233 w 161233"/>
                <a:gd name="connsiteY2" fmla="*/ 13815 h 251601"/>
                <a:gd name="connsiteX3" fmla="*/ 101228 w 161233"/>
                <a:gd name="connsiteY3" fmla="*/ 251601 h 251601"/>
                <a:gd name="connsiteX4" fmla="*/ 49542 w 161233"/>
                <a:gd name="connsiteY4" fmla="*/ 251601 h 251601"/>
                <a:gd name="connsiteX5" fmla="*/ 0 w 161233"/>
                <a:gd name="connsiteY5" fmla="*/ 14978 h 251601"/>
                <a:gd name="connsiteX6" fmla="*/ 31783 w 161233"/>
                <a:gd name="connsiteY6" fmla="*/ 5112 h 251601"/>
                <a:gd name="connsiteX7" fmla="*/ 82489 w 161233"/>
                <a:gd name="connsiteY7" fmla="*/ 0 h 25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233" h="251601">
                  <a:moveTo>
                    <a:pt x="82489" y="0"/>
                  </a:moveTo>
                  <a:cubicBezTo>
                    <a:pt x="99858" y="0"/>
                    <a:pt x="116817" y="1760"/>
                    <a:pt x="133195" y="5112"/>
                  </a:cubicBezTo>
                  <a:lnTo>
                    <a:pt x="161233" y="13815"/>
                  </a:lnTo>
                  <a:lnTo>
                    <a:pt x="101228" y="251601"/>
                  </a:lnTo>
                  <a:lnTo>
                    <a:pt x="49542" y="251601"/>
                  </a:lnTo>
                  <a:lnTo>
                    <a:pt x="0" y="14978"/>
                  </a:lnTo>
                  <a:lnTo>
                    <a:pt x="31783" y="5112"/>
                  </a:lnTo>
                  <a:cubicBezTo>
                    <a:pt x="48162" y="1760"/>
                    <a:pt x="65120" y="0"/>
                    <a:pt x="82489" y="0"/>
                  </a:cubicBezTo>
                  <a:close/>
                </a:path>
              </a:pathLst>
            </a:custGeom>
            <a:solidFill>
              <a:srgbClr val="0070F2">
                <a:alpha val="50000"/>
              </a:srgbClr>
            </a:solidFill>
            <a:ln w="729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grpSp>
      <p:grpSp>
        <p:nvGrpSpPr>
          <p:cNvPr id="359" name="Group 358">
            <a:extLst>
              <a:ext uri="{FF2B5EF4-FFF2-40B4-BE49-F238E27FC236}">
                <a16:creationId xmlns:a16="http://schemas.microsoft.com/office/drawing/2014/main" id="{9C13A207-2674-D5FF-990A-4EAD81750BC9}"/>
              </a:ext>
            </a:extLst>
          </p:cNvPr>
          <p:cNvGrpSpPr/>
          <p:nvPr/>
        </p:nvGrpSpPr>
        <p:grpSpPr>
          <a:xfrm flipH="1">
            <a:off x="6655194" y="1791046"/>
            <a:ext cx="770908" cy="380654"/>
            <a:chOff x="1893624" y="1445467"/>
            <a:chExt cx="849576" cy="419498"/>
          </a:xfrm>
        </p:grpSpPr>
        <p:sp>
          <p:nvSpPr>
            <p:cNvPr id="360" name="Freeform: Shape 359">
              <a:extLst>
                <a:ext uri="{FF2B5EF4-FFF2-40B4-BE49-F238E27FC236}">
                  <a16:creationId xmlns:a16="http://schemas.microsoft.com/office/drawing/2014/main" id="{98817C20-41E4-BF9F-B8E3-42D9632208D2}"/>
                </a:ext>
              </a:extLst>
            </p:cNvPr>
            <p:cNvSpPr/>
            <p:nvPr/>
          </p:nvSpPr>
          <p:spPr>
            <a:xfrm>
              <a:off x="1957093" y="1445467"/>
              <a:ext cx="723308" cy="360042"/>
            </a:xfrm>
            <a:custGeom>
              <a:avLst/>
              <a:gdLst>
                <a:gd name="connsiteX0" fmla="*/ 7579920 w 7579919"/>
                <a:gd name="connsiteY0" fmla="*/ 3773067 h 3773066"/>
                <a:gd name="connsiteX1" fmla="*/ 3789996 w 7579919"/>
                <a:gd name="connsiteY1" fmla="*/ 0 h 3773066"/>
                <a:gd name="connsiteX2" fmla="*/ 0 w 7579919"/>
                <a:gd name="connsiteY2" fmla="*/ 3773067 h 3773066"/>
                <a:gd name="connsiteX3" fmla="*/ 7579920 w 7579919"/>
                <a:gd name="connsiteY3" fmla="*/ 3773067 h 3773066"/>
              </a:gdLst>
              <a:ahLst/>
              <a:cxnLst>
                <a:cxn ang="0">
                  <a:pos x="connsiteX0" y="connsiteY0"/>
                </a:cxn>
                <a:cxn ang="0">
                  <a:pos x="connsiteX1" y="connsiteY1"/>
                </a:cxn>
                <a:cxn ang="0">
                  <a:pos x="connsiteX2" y="connsiteY2"/>
                </a:cxn>
                <a:cxn ang="0">
                  <a:pos x="connsiteX3" y="connsiteY3"/>
                </a:cxn>
              </a:cxnLst>
              <a:rect l="l" t="t" r="r" b="b"/>
              <a:pathLst>
                <a:path w="7579919" h="3773066">
                  <a:moveTo>
                    <a:pt x="7579920" y="3773067"/>
                  </a:moveTo>
                  <a:cubicBezTo>
                    <a:pt x="7579920" y="1689251"/>
                    <a:pt x="5883079" y="0"/>
                    <a:pt x="3789996" y="0"/>
                  </a:cubicBezTo>
                  <a:cubicBezTo>
                    <a:pt x="1696913" y="0"/>
                    <a:pt x="0" y="1689251"/>
                    <a:pt x="0" y="3773067"/>
                  </a:cubicBezTo>
                  <a:lnTo>
                    <a:pt x="7579920" y="3773067"/>
                  </a:lnTo>
                  <a:close/>
                </a:path>
              </a:pathLst>
            </a:custGeom>
            <a:solidFill>
              <a:srgbClr val="7858FF"/>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61" name="Freeform: Shape 360">
              <a:extLst>
                <a:ext uri="{FF2B5EF4-FFF2-40B4-BE49-F238E27FC236}">
                  <a16:creationId xmlns:a16="http://schemas.microsoft.com/office/drawing/2014/main" id="{B0A9B3E2-B0F5-EF7C-9F01-B6D3EB286C85}"/>
                </a:ext>
              </a:extLst>
            </p:cNvPr>
            <p:cNvSpPr/>
            <p:nvPr/>
          </p:nvSpPr>
          <p:spPr>
            <a:xfrm>
              <a:off x="1993449" y="1480207"/>
              <a:ext cx="650603" cy="325301"/>
            </a:xfrm>
            <a:custGeom>
              <a:avLst/>
              <a:gdLst>
                <a:gd name="connsiteX0" fmla="*/ 6818009 w 6818008"/>
                <a:gd name="connsiteY0" fmla="*/ 3409005 h 3409004"/>
                <a:gd name="connsiteX1" fmla="*/ 3409005 w 6818008"/>
                <a:gd name="connsiteY1" fmla="*/ 0 h 3409004"/>
                <a:gd name="connsiteX2" fmla="*/ 0 w 6818008"/>
                <a:gd name="connsiteY2" fmla="*/ 3409005 h 3409004"/>
                <a:gd name="connsiteX3" fmla="*/ 6818009 w 6818008"/>
                <a:gd name="connsiteY3" fmla="*/ 3409005 h 3409004"/>
              </a:gdLst>
              <a:ahLst/>
              <a:cxnLst>
                <a:cxn ang="0">
                  <a:pos x="connsiteX0" y="connsiteY0"/>
                </a:cxn>
                <a:cxn ang="0">
                  <a:pos x="connsiteX1" y="connsiteY1"/>
                </a:cxn>
                <a:cxn ang="0">
                  <a:pos x="connsiteX2" y="connsiteY2"/>
                </a:cxn>
                <a:cxn ang="0">
                  <a:pos x="connsiteX3" y="connsiteY3"/>
                </a:cxn>
              </a:cxnLst>
              <a:rect l="l" t="t" r="r" b="b"/>
              <a:pathLst>
                <a:path w="6818008" h="3409004">
                  <a:moveTo>
                    <a:pt x="6818009" y="3409005"/>
                  </a:moveTo>
                  <a:cubicBezTo>
                    <a:pt x="6818009" y="1526230"/>
                    <a:pt x="5291707" y="0"/>
                    <a:pt x="3409005" y="0"/>
                  </a:cubicBezTo>
                  <a:cubicBezTo>
                    <a:pt x="1526302" y="0"/>
                    <a:pt x="0" y="1526302"/>
                    <a:pt x="0" y="3409005"/>
                  </a:cubicBezTo>
                  <a:lnTo>
                    <a:pt x="6818009" y="3409005"/>
                  </a:lnTo>
                  <a:close/>
                </a:path>
              </a:pathLst>
            </a:custGeom>
            <a:solidFill>
              <a:srgbClr val="9B76FF">
                <a:alpha val="50000"/>
              </a:srgbClr>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62" name="Freeform: Shape 361">
              <a:extLst>
                <a:ext uri="{FF2B5EF4-FFF2-40B4-BE49-F238E27FC236}">
                  <a16:creationId xmlns:a16="http://schemas.microsoft.com/office/drawing/2014/main" id="{6ED6C578-1F1C-72CA-6D17-94936E1CAF83}"/>
                </a:ext>
              </a:extLst>
            </p:cNvPr>
            <p:cNvSpPr/>
            <p:nvPr/>
          </p:nvSpPr>
          <p:spPr>
            <a:xfrm>
              <a:off x="2029617" y="1516702"/>
              <a:ext cx="577613" cy="288806"/>
            </a:xfrm>
            <a:custGeom>
              <a:avLst/>
              <a:gdLst>
                <a:gd name="connsiteX0" fmla="*/ 0 w 6053106"/>
                <a:gd name="connsiteY0" fmla="*/ 3026553 h 3026553"/>
                <a:gd name="connsiteX1" fmla="*/ 3026553 w 6053106"/>
                <a:gd name="connsiteY1" fmla="*/ 0 h 3026553"/>
                <a:gd name="connsiteX2" fmla="*/ 6053107 w 6053106"/>
                <a:gd name="connsiteY2" fmla="*/ 3026553 h 3026553"/>
              </a:gdLst>
              <a:ahLst/>
              <a:cxnLst>
                <a:cxn ang="0">
                  <a:pos x="connsiteX0" y="connsiteY0"/>
                </a:cxn>
                <a:cxn ang="0">
                  <a:pos x="connsiteX1" y="connsiteY1"/>
                </a:cxn>
                <a:cxn ang="0">
                  <a:pos x="connsiteX2" y="connsiteY2"/>
                </a:cxn>
              </a:cxnLst>
              <a:rect l="l" t="t" r="r" b="b"/>
              <a:pathLst>
                <a:path w="6053106" h="3026553">
                  <a:moveTo>
                    <a:pt x="0" y="3026553"/>
                  </a:moveTo>
                  <a:cubicBezTo>
                    <a:pt x="0" y="1355035"/>
                    <a:pt x="1355035" y="0"/>
                    <a:pt x="3026553" y="0"/>
                  </a:cubicBezTo>
                  <a:cubicBezTo>
                    <a:pt x="4698072" y="0"/>
                    <a:pt x="6053107" y="1355035"/>
                    <a:pt x="6053107" y="3026553"/>
                  </a:cubicBezTo>
                </a:path>
              </a:pathLst>
            </a:custGeom>
            <a:solidFill>
              <a:srgbClr val="4DB1FF"/>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63" name="Freeform: Shape 362">
              <a:extLst>
                <a:ext uri="{FF2B5EF4-FFF2-40B4-BE49-F238E27FC236}">
                  <a16:creationId xmlns:a16="http://schemas.microsoft.com/office/drawing/2014/main" id="{C1D3E597-7DA1-E4C3-53FB-32D380252F18}"/>
                </a:ext>
              </a:extLst>
            </p:cNvPr>
            <p:cNvSpPr/>
            <p:nvPr/>
          </p:nvSpPr>
          <p:spPr>
            <a:xfrm>
              <a:off x="1893624" y="1792842"/>
              <a:ext cx="849576" cy="72123"/>
            </a:xfrm>
            <a:custGeom>
              <a:avLst/>
              <a:gdLst>
                <a:gd name="connsiteX0" fmla="*/ 8884943 w 8903148"/>
                <a:gd name="connsiteY0" fmla="*/ 682224 h 755813"/>
                <a:gd name="connsiteX1" fmla="*/ 8420471 w 8903148"/>
                <a:gd name="connsiteY1" fmla="*/ 45900 h 755813"/>
                <a:gd name="connsiteX2" fmla="*/ 8325095 w 8903148"/>
                <a:gd name="connsiteY2" fmla="*/ 0 h 755813"/>
                <a:gd name="connsiteX3" fmla="*/ 561867 w 8903148"/>
                <a:gd name="connsiteY3" fmla="*/ 0 h 755813"/>
                <a:gd name="connsiteX4" fmla="*/ 458392 w 8903148"/>
                <a:gd name="connsiteY4" fmla="*/ 59035 h 755813"/>
                <a:gd name="connsiteX5" fmla="*/ 8951 w 8903148"/>
                <a:gd name="connsiteY5" fmla="*/ 696673 h 755813"/>
                <a:gd name="connsiteX6" fmla="*/ 8951 w 8903148"/>
                <a:gd name="connsiteY6" fmla="*/ 743886 h 755813"/>
                <a:gd name="connsiteX7" fmla="*/ 52516 w 8903148"/>
                <a:gd name="connsiteY7" fmla="*/ 755708 h 755813"/>
                <a:gd name="connsiteX8" fmla="*/ 8860497 w 8903148"/>
                <a:gd name="connsiteY8" fmla="*/ 755708 h 755813"/>
                <a:gd name="connsiteX9" fmla="*/ 8899976 w 8903148"/>
                <a:gd name="connsiteY9" fmla="*/ 737319 h 755813"/>
                <a:gd name="connsiteX10" fmla="*/ 8885016 w 8903148"/>
                <a:gd name="connsiteY10" fmla="*/ 682224 h 75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3148" h="755813">
                  <a:moveTo>
                    <a:pt x="8884943" y="682224"/>
                  </a:moveTo>
                  <a:lnTo>
                    <a:pt x="8420471" y="45900"/>
                  </a:lnTo>
                  <a:cubicBezTo>
                    <a:pt x="8420471" y="45900"/>
                    <a:pt x="8402738" y="0"/>
                    <a:pt x="8325095" y="0"/>
                  </a:cubicBezTo>
                  <a:lnTo>
                    <a:pt x="561867" y="0"/>
                  </a:lnTo>
                  <a:cubicBezTo>
                    <a:pt x="561867" y="0"/>
                    <a:pt x="499184" y="1314"/>
                    <a:pt x="458392" y="59035"/>
                  </a:cubicBezTo>
                  <a:cubicBezTo>
                    <a:pt x="417527" y="116757"/>
                    <a:pt x="8951" y="696673"/>
                    <a:pt x="8951" y="696673"/>
                  </a:cubicBezTo>
                  <a:cubicBezTo>
                    <a:pt x="8951" y="696673"/>
                    <a:pt x="-11189" y="721484"/>
                    <a:pt x="8951" y="743886"/>
                  </a:cubicBezTo>
                  <a:cubicBezTo>
                    <a:pt x="21138" y="757387"/>
                    <a:pt x="52516" y="755708"/>
                    <a:pt x="52516" y="755708"/>
                  </a:cubicBezTo>
                  <a:lnTo>
                    <a:pt x="8860497" y="755708"/>
                  </a:lnTo>
                  <a:cubicBezTo>
                    <a:pt x="8860497" y="755708"/>
                    <a:pt x="8887716" y="758335"/>
                    <a:pt x="8899976" y="737319"/>
                  </a:cubicBezTo>
                  <a:cubicBezTo>
                    <a:pt x="8912235" y="716303"/>
                    <a:pt x="8885016" y="682224"/>
                    <a:pt x="8885016" y="682224"/>
                  </a:cubicBezTo>
                  <a:close/>
                </a:path>
              </a:pathLst>
            </a:custGeom>
            <a:gradFill>
              <a:gsLst>
                <a:gs pos="0">
                  <a:srgbClr val="0070F2"/>
                </a:gs>
                <a:gs pos="7000">
                  <a:srgbClr val="0070F2"/>
                </a:gs>
                <a:gs pos="14000">
                  <a:srgbClr val="0070F2"/>
                </a:gs>
                <a:gs pos="100000">
                  <a:srgbClr val="0070F2"/>
                </a:gs>
              </a:gsLst>
              <a:lin ang="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64" name="Freeform: Shape 363">
              <a:extLst>
                <a:ext uri="{FF2B5EF4-FFF2-40B4-BE49-F238E27FC236}">
                  <a16:creationId xmlns:a16="http://schemas.microsoft.com/office/drawing/2014/main" id="{EC68CA4B-E3E9-B6C7-0772-196EFF34B4D8}"/>
                </a:ext>
              </a:extLst>
            </p:cNvPr>
            <p:cNvSpPr/>
            <p:nvPr/>
          </p:nvSpPr>
          <p:spPr>
            <a:xfrm>
              <a:off x="2066460" y="1553908"/>
              <a:ext cx="503202" cy="251601"/>
            </a:xfrm>
            <a:custGeom>
              <a:avLst/>
              <a:gdLst>
                <a:gd name="connsiteX0" fmla="*/ 0 w 5273317"/>
                <a:gd name="connsiteY0" fmla="*/ 2636659 h 2636658"/>
                <a:gd name="connsiteX1" fmla="*/ 2636659 w 5273317"/>
                <a:gd name="connsiteY1" fmla="*/ 0 h 2636658"/>
                <a:gd name="connsiteX2" fmla="*/ 5273317 w 5273317"/>
                <a:gd name="connsiteY2" fmla="*/ 2636659 h 2636658"/>
              </a:gdLst>
              <a:ahLst/>
              <a:cxnLst>
                <a:cxn ang="0">
                  <a:pos x="connsiteX0" y="connsiteY0"/>
                </a:cxn>
                <a:cxn ang="0">
                  <a:pos x="connsiteX1" y="connsiteY1"/>
                </a:cxn>
                <a:cxn ang="0">
                  <a:pos x="connsiteX2" y="connsiteY2"/>
                </a:cxn>
              </a:cxnLst>
              <a:rect l="l" t="t" r="r" b="b"/>
              <a:pathLst>
                <a:path w="5273317" h="2636658">
                  <a:moveTo>
                    <a:pt x="0" y="2636659"/>
                  </a:moveTo>
                  <a:cubicBezTo>
                    <a:pt x="0" y="1180484"/>
                    <a:pt x="1180483" y="0"/>
                    <a:pt x="2636659" y="0"/>
                  </a:cubicBezTo>
                  <a:cubicBezTo>
                    <a:pt x="4092834" y="0"/>
                    <a:pt x="5273317" y="1180484"/>
                    <a:pt x="5273317" y="2636659"/>
                  </a:cubicBezTo>
                </a:path>
              </a:pathLst>
            </a:custGeom>
            <a:solidFill>
              <a:schemeClr val="bg1"/>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65" name="Freeform: Shape 364">
              <a:extLst>
                <a:ext uri="{FF2B5EF4-FFF2-40B4-BE49-F238E27FC236}">
                  <a16:creationId xmlns:a16="http://schemas.microsoft.com/office/drawing/2014/main" id="{C44861A1-E040-E6F8-F751-8581A160CF38}"/>
                </a:ext>
              </a:extLst>
            </p:cNvPr>
            <p:cNvSpPr/>
            <p:nvPr/>
          </p:nvSpPr>
          <p:spPr>
            <a:xfrm>
              <a:off x="2234096" y="1721140"/>
              <a:ext cx="168737" cy="84368"/>
            </a:xfrm>
            <a:custGeom>
              <a:avLst/>
              <a:gdLst>
                <a:gd name="connsiteX0" fmla="*/ 0 w 1768280"/>
                <a:gd name="connsiteY0" fmla="*/ 884140 h 884140"/>
                <a:gd name="connsiteX1" fmla="*/ 884140 w 1768280"/>
                <a:gd name="connsiteY1" fmla="*/ 0 h 884140"/>
                <a:gd name="connsiteX2" fmla="*/ 1768281 w 1768280"/>
                <a:gd name="connsiteY2" fmla="*/ 884140 h 884140"/>
              </a:gdLst>
              <a:ahLst/>
              <a:cxnLst>
                <a:cxn ang="0">
                  <a:pos x="connsiteX0" y="connsiteY0"/>
                </a:cxn>
                <a:cxn ang="0">
                  <a:pos x="connsiteX1" y="connsiteY1"/>
                </a:cxn>
                <a:cxn ang="0">
                  <a:pos x="connsiteX2" y="connsiteY2"/>
                </a:cxn>
              </a:cxnLst>
              <a:rect l="l" t="t" r="r" b="b"/>
              <a:pathLst>
                <a:path w="1768280" h="884140">
                  <a:moveTo>
                    <a:pt x="0" y="884140"/>
                  </a:moveTo>
                  <a:cubicBezTo>
                    <a:pt x="0" y="395878"/>
                    <a:pt x="395805" y="0"/>
                    <a:pt x="884140" y="0"/>
                  </a:cubicBezTo>
                  <a:cubicBezTo>
                    <a:pt x="1372475" y="0"/>
                    <a:pt x="1768281" y="395805"/>
                    <a:pt x="1768281" y="884140"/>
                  </a:cubicBezTo>
                </a:path>
              </a:pathLst>
            </a:custGeom>
            <a:solidFill>
              <a:srgbClr val="0070F2"/>
            </a:solidFill>
            <a:ln w="7292" cap="flat">
              <a:solidFill>
                <a:srgbClr val="0070F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66" name="Freeform: Shape 365">
              <a:extLst>
                <a:ext uri="{FF2B5EF4-FFF2-40B4-BE49-F238E27FC236}">
                  <a16:creationId xmlns:a16="http://schemas.microsoft.com/office/drawing/2014/main" id="{58A14B67-D9F6-D458-BF64-914E1D1792B8}"/>
                </a:ext>
              </a:extLst>
            </p:cNvPr>
            <p:cNvSpPr/>
            <p:nvPr/>
          </p:nvSpPr>
          <p:spPr>
            <a:xfrm rot="18304802">
              <a:off x="2166023" y="1630058"/>
              <a:ext cx="696" cy="125146"/>
            </a:xfrm>
            <a:custGeom>
              <a:avLst/>
              <a:gdLst>
                <a:gd name="connsiteX0" fmla="*/ 0 w 7297"/>
                <a:gd name="connsiteY0" fmla="*/ 0 h 1311469"/>
                <a:gd name="connsiteX1" fmla="*/ 7297 w 7297"/>
                <a:gd name="connsiteY1" fmla="*/ 0 h 1311469"/>
                <a:gd name="connsiteX2" fmla="*/ 7297 w 7297"/>
                <a:gd name="connsiteY2" fmla="*/ 1311470 h 1311469"/>
                <a:gd name="connsiteX3" fmla="*/ 0 w 7297"/>
                <a:gd name="connsiteY3" fmla="*/ 1311470 h 1311469"/>
              </a:gdLst>
              <a:ahLst/>
              <a:cxnLst>
                <a:cxn ang="0">
                  <a:pos x="connsiteX0" y="connsiteY0"/>
                </a:cxn>
                <a:cxn ang="0">
                  <a:pos x="connsiteX1" y="connsiteY1"/>
                </a:cxn>
                <a:cxn ang="0">
                  <a:pos x="connsiteX2" y="connsiteY2"/>
                </a:cxn>
                <a:cxn ang="0">
                  <a:pos x="connsiteX3" y="connsiteY3"/>
                </a:cxn>
              </a:cxnLst>
              <a:rect l="l" t="t" r="r" b="b"/>
              <a:pathLst>
                <a:path w="7297" h="1311469">
                  <a:moveTo>
                    <a:pt x="0" y="0"/>
                  </a:moveTo>
                  <a:lnTo>
                    <a:pt x="7297" y="0"/>
                  </a:lnTo>
                  <a:lnTo>
                    <a:pt x="7297" y="1311470"/>
                  </a:lnTo>
                  <a:lnTo>
                    <a:pt x="0" y="1311470"/>
                  </a:lnTo>
                  <a:close/>
                </a:path>
              </a:pathLst>
            </a:custGeom>
            <a:gradFill>
              <a:gsLst>
                <a:gs pos="0">
                  <a:srgbClr val="4DB1FF"/>
                </a:gs>
                <a:gs pos="50000">
                  <a:srgbClr val="79C8FF"/>
                </a:gs>
                <a:gs pos="100000">
                  <a:srgbClr val="A6E0FF"/>
                </a:gs>
              </a:gsLst>
              <a:lin ang="3295198"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67" name="Freeform: Shape 366">
              <a:extLst>
                <a:ext uri="{FF2B5EF4-FFF2-40B4-BE49-F238E27FC236}">
                  <a16:creationId xmlns:a16="http://schemas.microsoft.com/office/drawing/2014/main" id="{801FD31B-FAC1-AF16-1D49-B5CF352A5493}"/>
                </a:ext>
              </a:extLst>
            </p:cNvPr>
            <p:cNvSpPr/>
            <p:nvPr/>
          </p:nvSpPr>
          <p:spPr>
            <a:xfrm rot="19472402">
              <a:off x="2408420" y="1692304"/>
              <a:ext cx="124032" cy="696"/>
            </a:xfrm>
            <a:custGeom>
              <a:avLst/>
              <a:gdLst>
                <a:gd name="connsiteX0" fmla="*/ 0 w 1299794"/>
                <a:gd name="connsiteY0" fmla="*/ 0 h 7297"/>
                <a:gd name="connsiteX1" fmla="*/ 1299794 w 1299794"/>
                <a:gd name="connsiteY1" fmla="*/ 0 h 7297"/>
                <a:gd name="connsiteX2" fmla="*/ 1299794 w 1299794"/>
                <a:gd name="connsiteY2" fmla="*/ 7297 h 7297"/>
                <a:gd name="connsiteX3" fmla="*/ 0 w 1299794"/>
                <a:gd name="connsiteY3" fmla="*/ 7297 h 7297"/>
              </a:gdLst>
              <a:ahLst/>
              <a:cxnLst>
                <a:cxn ang="0">
                  <a:pos x="connsiteX0" y="connsiteY0"/>
                </a:cxn>
                <a:cxn ang="0">
                  <a:pos x="connsiteX1" y="connsiteY1"/>
                </a:cxn>
                <a:cxn ang="0">
                  <a:pos x="connsiteX2" y="connsiteY2"/>
                </a:cxn>
                <a:cxn ang="0">
                  <a:pos x="connsiteX3" y="connsiteY3"/>
                </a:cxn>
              </a:cxnLst>
              <a:rect l="l" t="t" r="r" b="b"/>
              <a:pathLst>
                <a:path w="1299794" h="7297">
                  <a:moveTo>
                    <a:pt x="0" y="0"/>
                  </a:moveTo>
                  <a:lnTo>
                    <a:pt x="1299794" y="0"/>
                  </a:lnTo>
                  <a:lnTo>
                    <a:pt x="1299794" y="7297"/>
                  </a:lnTo>
                  <a:lnTo>
                    <a:pt x="0" y="7297"/>
                  </a:lnTo>
                  <a:close/>
                </a:path>
              </a:pathLst>
            </a:custGeom>
            <a:gradFill>
              <a:gsLst>
                <a:gs pos="0">
                  <a:srgbClr val="A6E0FF"/>
                </a:gs>
                <a:gs pos="77000">
                  <a:srgbClr val="4DB1FF"/>
                </a:gs>
              </a:gsLst>
              <a:lin ang="2127598"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68" name="Freeform: Shape 367">
              <a:extLst>
                <a:ext uri="{FF2B5EF4-FFF2-40B4-BE49-F238E27FC236}">
                  <a16:creationId xmlns:a16="http://schemas.microsoft.com/office/drawing/2014/main" id="{10BB445C-4B45-02E5-4FD0-DC09DE9640E0}"/>
                </a:ext>
              </a:extLst>
            </p:cNvPr>
            <p:cNvSpPr/>
            <p:nvPr/>
          </p:nvSpPr>
          <p:spPr>
            <a:xfrm rot="17278800">
              <a:off x="2314978" y="1625033"/>
              <a:ext cx="124206" cy="696"/>
            </a:xfrm>
            <a:custGeom>
              <a:avLst/>
              <a:gdLst>
                <a:gd name="connsiteX0" fmla="*/ 0 w 1301618"/>
                <a:gd name="connsiteY0" fmla="*/ 0 h 7297"/>
                <a:gd name="connsiteX1" fmla="*/ 1301618 w 1301618"/>
                <a:gd name="connsiteY1" fmla="*/ 0 h 7297"/>
                <a:gd name="connsiteX2" fmla="*/ 1301618 w 1301618"/>
                <a:gd name="connsiteY2" fmla="*/ 7297 h 7297"/>
                <a:gd name="connsiteX3" fmla="*/ 0 w 1301618"/>
                <a:gd name="connsiteY3" fmla="*/ 7297 h 7297"/>
              </a:gdLst>
              <a:ahLst/>
              <a:cxnLst>
                <a:cxn ang="0">
                  <a:pos x="connsiteX0" y="connsiteY0"/>
                </a:cxn>
                <a:cxn ang="0">
                  <a:pos x="connsiteX1" y="connsiteY1"/>
                </a:cxn>
                <a:cxn ang="0">
                  <a:pos x="connsiteX2" y="connsiteY2"/>
                </a:cxn>
                <a:cxn ang="0">
                  <a:pos x="connsiteX3" y="connsiteY3"/>
                </a:cxn>
              </a:cxnLst>
              <a:rect l="l" t="t" r="r" b="b"/>
              <a:pathLst>
                <a:path w="1301618" h="7297">
                  <a:moveTo>
                    <a:pt x="0" y="0"/>
                  </a:moveTo>
                  <a:lnTo>
                    <a:pt x="1301618" y="0"/>
                  </a:lnTo>
                  <a:lnTo>
                    <a:pt x="1301618" y="7297"/>
                  </a:lnTo>
                  <a:lnTo>
                    <a:pt x="0" y="7297"/>
                  </a:lnTo>
                  <a:close/>
                </a:path>
              </a:pathLst>
            </a:custGeom>
            <a:gradFill>
              <a:gsLst>
                <a:gs pos="0">
                  <a:srgbClr val="A6E0FF"/>
                </a:gs>
                <a:gs pos="77000">
                  <a:srgbClr val="4DB1FF"/>
                </a:gs>
              </a:gsLst>
              <a:lin ang="43212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69" name="Freeform: Shape 368">
              <a:extLst>
                <a:ext uri="{FF2B5EF4-FFF2-40B4-BE49-F238E27FC236}">
                  <a16:creationId xmlns:a16="http://schemas.microsoft.com/office/drawing/2014/main" id="{C9BDFA43-EC27-A865-A179-AC4235486A3E}"/>
                </a:ext>
              </a:extLst>
            </p:cNvPr>
            <p:cNvSpPr/>
            <p:nvPr/>
          </p:nvSpPr>
          <p:spPr>
            <a:xfrm rot="20515199">
              <a:off x="2260437" y="1563258"/>
              <a:ext cx="696" cy="124122"/>
            </a:xfrm>
            <a:custGeom>
              <a:avLst/>
              <a:gdLst>
                <a:gd name="connsiteX0" fmla="*/ 0 w 7297"/>
                <a:gd name="connsiteY0" fmla="*/ 0 h 1300742"/>
                <a:gd name="connsiteX1" fmla="*/ 7297 w 7297"/>
                <a:gd name="connsiteY1" fmla="*/ 0 h 1300742"/>
                <a:gd name="connsiteX2" fmla="*/ 7297 w 7297"/>
                <a:gd name="connsiteY2" fmla="*/ 1300743 h 1300742"/>
                <a:gd name="connsiteX3" fmla="*/ 0 w 7297"/>
                <a:gd name="connsiteY3" fmla="*/ 1300743 h 1300742"/>
              </a:gdLst>
              <a:ahLst/>
              <a:cxnLst>
                <a:cxn ang="0">
                  <a:pos x="connsiteX0" y="connsiteY0"/>
                </a:cxn>
                <a:cxn ang="0">
                  <a:pos x="connsiteX1" y="connsiteY1"/>
                </a:cxn>
                <a:cxn ang="0">
                  <a:pos x="connsiteX2" y="connsiteY2"/>
                </a:cxn>
                <a:cxn ang="0">
                  <a:pos x="connsiteX3" y="connsiteY3"/>
                </a:cxn>
              </a:cxnLst>
              <a:rect l="l" t="t" r="r" b="b"/>
              <a:pathLst>
                <a:path w="7297" h="1300742">
                  <a:moveTo>
                    <a:pt x="0" y="0"/>
                  </a:moveTo>
                  <a:lnTo>
                    <a:pt x="7297" y="0"/>
                  </a:lnTo>
                  <a:lnTo>
                    <a:pt x="7297" y="1300743"/>
                  </a:lnTo>
                  <a:lnTo>
                    <a:pt x="0" y="1300743"/>
                  </a:lnTo>
                  <a:close/>
                </a:path>
              </a:pathLst>
            </a:custGeom>
            <a:gradFill>
              <a:gsLst>
                <a:gs pos="0">
                  <a:srgbClr val="4DB1FF"/>
                </a:gs>
                <a:gs pos="50000">
                  <a:srgbClr val="79C8FF"/>
                </a:gs>
                <a:gs pos="100000">
                  <a:srgbClr val="A6E0FF"/>
                </a:gs>
              </a:gsLst>
              <a:lin ang="1084801"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70" name="Freeform: Shape 369">
              <a:extLst>
                <a:ext uri="{FF2B5EF4-FFF2-40B4-BE49-F238E27FC236}">
                  <a16:creationId xmlns:a16="http://schemas.microsoft.com/office/drawing/2014/main" id="{F33E119A-2335-74F3-C8BF-C1BD37B8A55D}"/>
                </a:ext>
              </a:extLst>
            </p:cNvPr>
            <p:cNvSpPr/>
            <p:nvPr/>
          </p:nvSpPr>
          <p:spPr>
            <a:xfrm>
              <a:off x="2191613" y="1677919"/>
              <a:ext cx="254275" cy="127137"/>
            </a:xfrm>
            <a:custGeom>
              <a:avLst/>
              <a:gdLst>
                <a:gd name="connsiteX0" fmla="*/ 2664680 w 2664680"/>
                <a:gd name="connsiteY0" fmla="*/ 1332340 h 1332340"/>
                <a:gd name="connsiteX1" fmla="*/ 2657383 w 2664680"/>
                <a:gd name="connsiteY1" fmla="*/ 1332340 h 1332340"/>
                <a:gd name="connsiteX2" fmla="*/ 1332340 w 2664680"/>
                <a:gd name="connsiteY2" fmla="*/ 7297 h 1332340"/>
                <a:gd name="connsiteX3" fmla="*/ 7297 w 2664680"/>
                <a:gd name="connsiteY3" fmla="*/ 1332340 h 1332340"/>
                <a:gd name="connsiteX4" fmla="*/ 0 w 2664680"/>
                <a:gd name="connsiteY4" fmla="*/ 1332340 h 1332340"/>
                <a:gd name="connsiteX5" fmla="*/ 1332340 w 2664680"/>
                <a:gd name="connsiteY5" fmla="*/ 0 h 1332340"/>
                <a:gd name="connsiteX6" fmla="*/ 2664680 w 2664680"/>
                <a:gd name="connsiteY6" fmla="*/ 1332340 h 1332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4680" h="1332340">
                  <a:moveTo>
                    <a:pt x="2664680" y="1332340"/>
                  </a:moveTo>
                  <a:lnTo>
                    <a:pt x="2657383" y="1332340"/>
                  </a:lnTo>
                  <a:cubicBezTo>
                    <a:pt x="2657383" y="601735"/>
                    <a:pt x="2062945" y="7297"/>
                    <a:pt x="1332340" y="7297"/>
                  </a:cubicBezTo>
                  <a:cubicBezTo>
                    <a:pt x="601735" y="7297"/>
                    <a:pt x="7297" y="601735"/>
                    <a:pt x="7297" y="1332340"/>
                  </a:cubicBezTo>
                  <a:lnTo>
                    <a:pt x="0" y="1332340"/>
                  </a:lnTo>
                  <a:cubicBezTo>
                    <a:pt x="0" y="597722"/>
                    <a:pt x="597721" y="0"/>
                    <a:pt x="1332340" y="0"/>
                  </a:cubicBezTo>
                  <a:cubicBezTo>
                    <a:pt x="2066959" y="0"/>
                    <a:pt x="2664680" y="597722"/>
                    <a:pt x="2664680" y="1332340"/>
                  </a:cubicBezTo>
                  <a:close/>
                </a:path>
              </a:pathLst>
            </a:custGeom>
            <a:gradFill>
              <a:gsLst>
                <a:gs pos="0">
                  <a:srgbClr val="A6E0FF"/>
                </a:gs>
                <a:gs pos="4000">
                  <a:srgbClr val="8CD2FF"/>
                </a:gs>
                <a:gs pos="8000">
                  <a:srgbClr val="76C6FF"/>
                </a:gs>
                <a:gs pos="14000">
                  <a:srgbClr val="65BDFF"/>
                </a:gs>
                <a:gs pos="20000">
                  <a:srgbClr val="59B7FF"/>
                </a:gs>
                <a:gs pos="29000">
                  <a:srgbClr val="52B3FF"/>
                </a:gs>
                <a:gs pos="54000">
                  <a:srgbClr val="51B3FF"/>
                </a:gs>
                <a:gs pos="54000">
                  <a:srgbClr val="4DB1FF"/>
                </a:gs>
                <a:gs pos="70000">
                  <a:srgbClr val="4FB2FF"/>
                </a:gs>
                <a:gs pos="78000">
                  <a:srgbClr val="57B6FF"/>
                </a:gs>
                <a:gs pos="85000">
                  <a:srgbClr val="65BDFF"/>
                </a:gs>
                <a:gs pos="91000">
                  <a:srgbClr val="78C8FF"/>
                </a:gs>
                <a:gs pos="97000">
                  <a:srgbClr val="91D5FF"/>
                </a:gs>
                <a:gs pos="100000">
                  <a:srgbClr val="A6E0FF"/>
                </a:gs>
                <a:gs pos="100000">
                  <a:srgbClr val="4DB1FF"/>
                </a:gs>
              </a:gsLst>
              <a:lin ang="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71" name="Freeform: Shape 370">
              <a:extLst>
                <a:ext uri="{FF2B5EF4-FFF2-40B4-BE49-F238E27FC236}">
                  <a16:creationId xmlns:a16="http://schemas.microsoft.com/office/drawing/2014/main" id="{00447BE2-FE5F-AF88-CE81-3629E0EBB92B}"/>
                </a:ext>
              </a:extLst>
            </p:cNvPr>
            <p:cNvSpPr/>
            <p:nvPr/>
          </p:nvSpPr>
          <p:spPr>
            <a:xfrm rot="18344400">
              <a:off x="2070003" y="1606485"/>
              <a:ext cx="870" cy="36258"/>
            </a:xfrm>
            <a:custGeom>
              <a:avLst/>
              <a:gdLst>
                <a:gd name="connsiteX0" fmla="*/ 0 w 9121"/>
                <a:gd name="connsiteY0" fmla="*/ 0 h 379970"/>
                <a:gd name="connsiteX1" fmla="*/ 9122 w 9121"/>
                <a:gd name="connsiteY1" fmla="*/ 0 h 379970"/>
                <a:gd name="connsiteX2" fmla="*/ 9122 w 9121"/>
                <a:gd name="connsiteY2" fmla="*/ 379970 h 379970"/>
                <a:gd name="connsiteX3" fmla="*/ 0 w 9121"/>
                <a:gd name="connsiteY3" fmla="*/ 379970 h 379970"/>
              </a:gdLst>
              <a:ahLst/>
              <a:cxnLst>
                <a:cxn ang="0">
                  <a:pos x="connsiteX0" y="connsiteY0"/>
                </a:cxn>
                <a:cxn ang="0">
                  <a:pos x="connsiteX1" y="connsiteY1"/>
                </a:cxn>
                <a:cxn ang="0">
                  <a:pos x="connsiteX2" y="connsiteY2"/>
                </a:cxn>
                <a:cxn ang="0">
                  <a:pos x="connsiteX3" y="connsiteY3"/>
                </a:cxn>
              </a:cxnLst>
              <a:rect l="l" t="t" r="r" b="b"/>
              <a:pathLst>
                <a:path w="9121" h="379970">
                  <a:moveTo>
                    <a:pt x="0" y="0"/>
                  </a:moveTo>
                  <a:lnTo>
                    <a:pt x="9122" y="0"/>
                  </a:lnTo>
                  <a:lnTo>
                    <a:pt x="9122" y="379970"/>
                  </a:lnTo>
                  <a:lnTo>
                    <a:pt x="0" y="379970"/>
                  </a:lnTo>
                  <a:close/>
                </a:path>
              </a:pathLst>
            </a:custGeom>
            <a:gradFill>
              <a:gsLst>
                <a:gs pos="0">
                  <a:srgbClr val="FFFFFF">
                    <a:alpha val="0"/>
                  </a:srgbClr>
                </a:gs>
                <a:gs pos="99000">
                  <a:srgbClr val="A6E0FF"/>
                </a:gs>
                <a:gs pos="100000">
                  <a:srgbClr val="A7E0FF">
                    <a:alpha val="98824"/>
                  </a:srgbClr>
                </a:gs>
                <a:gs pos="100000">
                  <a:srgbClr val="ACE2FF">
                    <a:alpha val="96863"/>
                  </a:srgbClr>
                </a:gs>
                <a:gs pos="100000">
                  <a:srgbClr val="B4E4FF">
                    <a:alpha val="91765"/>
                  </a:srgbClr>
                </a:gs>
                <a:gs pos="100000">
                  <a:srgbClr val="C0E9FF">
                    <a:alpha val="84706"/>
                  </a:srgbClr>
                </a:gs>
                <a:gs pos="100000">
                  <a:srgbClr val="CFEEFF">
                    <a:alpha val="76863"/>
                  </a:srgbClr>
                </a:gs>
                <a:gs pos="100000">
                  <a:srgbClr val="E2F5FF">
                    <a:alpha val="65882"/>
                  </a:srgbClr>
                </a:gs>
                <a:gs pos="100000">
                  <a:srgbClr val="F8FCFF">
                    <a:alpha val="53725"/>
                  </a:srgbClr>
                </a:gs>
                <a:gs pos="100000">
                  <a:srgbClr val="FFFFFF">
                    <a:alpha val="49804"/>
                  </a:srgbClr>
                </a:gs>
              </a:gsLst>
              <a:lin ang="32556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72" name="Freeform: Shape 371">
              <a:extLst>
                <a:ext uri="{FF2B5EF4-FFF2-40B4-BE49-F238E27FC236}">
                  <a16:creationId xmlns:a16="http://schemas.microsoft.com/office/drawing/2014/main" id="{D23CAB5F-05AE-DE1C-9F17-52F6BC2A5D3F}"/>
                </a:ext>
              </a:extLst>
            </p:cNvPr>
            <p:cNvSpPr/>
            <p:nvPr/>
          </p:nvSpPr>
          <p:spPr>
            <a:xfrm rot="19454999">
              <a:off x="2548527" y="1623864"/>
              <a:ext cx="36258" cy="870"/>
            </a:xfrm>
            <a:custGeom>
              <a:avLst/>
              <a:gdLst>
                <a:gd name="connsiteX0" fmla="*/ 0 w 379970"/>
                <a:gd name="connsiteY0" fmla="*/ 0 h 9121"/>
                <a:gd name="connsiteX1" fmla="*/ 379970 w 379970"/>
                <a:gd name="connsiteY1" fmla="*/ 0 h 9121"/>
                <a:gd name="connsiteX2" fmla="*/ 379970 w 379970"/>
                <a:gd name="connsiteY2" fmla="*/ 9122 h 9121"/>
                <a:gd name="connsiteX3" fmla="*/ 0 w 379970"/>
                <a:gd name="connsiteY3" fmla="*/ 9122 h 9121"/>
              </a:gdLst>
              <a:ahLst/>
              <a:cxnLst>
                <a:cxn ang="0">
                  <a:pos x="connsiteX0" y="connsiteY0"/>
                </a:cxn>
                <a:cxn ang="0">
                  <a:pos x="connsiteX1" y="connsiteY1"/>
                </a:cxn>
                <a:cxn ang="0">
                  <a:pos x="connsiteX2" y="connsiteY2"/>
                </a:cxn>
                <a:cxn ang="0">
                  <a:pos x="connsiteX3" y="connsiteY3"/>
                </a:cxn>
              </a:cxnLst>
              <a:rect l="l" t="t" r="r" b="b"/>
              <a:pathLst>
                <a:path w="379970" h="9121">
                  <a:moveTo>
                    <a:pt x="0" y="0"/>
                  </a:moveTo>
                  <a:lnTo>
                    <a:pt x="379970" y="0"/>
                  </a:lnTo>
                  <a:lnTo>
                    <a:pt x="379970" y="9122"/>
                  </a:lnTo>
                  <a:lnTo>
                    <a:pt x="0" y="9122"/>
                  </a:lnTo>
                  <a:close/>
                </a:path>
              </a:pathLst>
            </a:custGeom>
            <a:gradFill>
              <a:gsLst>
                <a:gs pos="0">
                  <a:srgbClr val="A6E0FF"/>
                </a:gs>
                <a:gs pos="67000">
                  <a:srgbClr val="E2F5FF">
                    <a:alpha val="31765"/>
                  </a:srgbClr>
                </a:gs>
                <a:gs pos="100000">
                  <a:srgbClr val="FFFFFF">
                    <a:alpha val="0"/>
                  </a:srgbClr>
                </a:gs>
              </a:gsLst>
              <a:lin ang="2145001"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73" name="Freeform: Shape 372">
              <a:extLst>
                <a:ext uri="{FF2B5EF4-FFF2-40B4-BE49-F238E27FC236}">
                  <a16:creationId xmlns:a16="http://schemas.microsoft.com/office/drawing/2014/main" id="{37D166E2-C9E1-FFCF-49FD-828B2BD08A05}"/>
                </a:ext>
              </a:extLst>
            </p:cNvPr>
            <p:cNvSpPr/>
            <p:nvPr/>
          </p:nvSpPr>
          <p:spPr>
            <a:xfrm rot="20471400">
              <a:off x="2223193" y="1495194"/>
              <a:ext cx="870" cy="36293"/>
            </a:xfrm>
            <a:custGeom>
              <a:avLst/>
              <a:gdLst>
                <a:gd name="connsiteX0" fmla="*/ 0 w 9121"/>
                <a:gd name="connsiteY0" fmla="*/ 0 h 380335"/>
                <a:gd name="connsiteX1" fmla="*/ 9122 w 9121"/>
                <a:gd name="connsiteY1" fmla="*/ 0 h 380335"/>
                <a:gd name="connsiteX2" fmla="*/ 9122 w 9121"/>
                <a:gd name="connsiteY2" fmla="*/ 380335 h 380335"/>
                <a:gd name="connsiteX3" fmla="*/ 0 w 9121"/>
                <a:gd name="connsiteY3" fmla="*/ 380335 h 380335"/>
              </a:gdLst>
              <a:ahLst/>
              <a:cxnLst>
                <a:cxn ang="0">
                  <a:pos x="connsiteX0" y="connsiteY0"/>
                </a:cxn>
                <a:cxn ang="0">
                  <a:pos x="connsiteX1" y="connsiteY1"/>
                </a:cxn>
                <a:cxn ang="0">
                  <a:pos x="connsiteX2" y="connsiteY2"/>
                </a:cxn>
                <a:cxn ang="0">
                  <a:pos x="connsiteX3" y="connsiteY3"/>
                </a:cxn>
              </a:cxnLst>
              <a:rect l="l" t="t" r="r" b="b"/>
              <a:pathLst>
                <a:path w="9121" h="380335">
                  <a:moveTo>
                    <a:pt x="0" y="0"/>
                  </a:moveTo>
                  <a:lnTo>
                    <a:pt x="9122" y="0"/>
                  </a:lnTo>
                  <a:lnTo>
                    <a:pt x="9122" y="380335"/>
                  </a:lnTo>
                  <a:lnTo>
                    <a:pt x="0" y="380335"/>
                  </a:lnTo>
                  <a:close/>
                </a:path>
              </a:pathLst>
            </a:custGeom>
            <a:gradFill>
              <a:gsLst>
                <a:gs pos="0">
                  <a:srgbClr val="FFFFFF">
                    <a:alpha val="0"/>
                  </a:srgbClr>
                </a:gs>
                <a:gs pos="99000">
                  <a:srgbClr val="A6E0FF"/>
                </a:gs>
                <a:gs pos="100000">
                  <a:srgbClr val="A7E0FF">
                    <a:alpha val="98824"/>
                  </a:srgbClr>
                </a:gs>
                <a:gs pos="100000">
                  <a:srgbClr val="ACE2FF">
                    <a:alpha val="96863"/>
                  </a:srgbClr>
                </a:gs>
                <a:gs pos="100000">
                  <a:srgbClr val="B4E4FF">
                    <a:alpha val="91765"/>
                  </a:srgbClr>
                </a:gs>
                <a:gs pos="100000">
                  <a:srgbClr val="C0E9FF">
                    <a:alpha val="84706"/>
                  </a:srgbClr>
                </a:gs>
                <a:gs pos="100000">
                  <a:srgbClr val="CFEEFF">
                    <a:alpha val="76863"/>
                  </a:srgbClr>
                </a:gs>
                <a:gs pos="100000">
                  <a:srgbClr val="E2F5FF">
                    <a:alpha val="65882"/>
                  </a:srgbClr>
                </a:gs>
                <a:gs pos="100000">
                  <a:srgbClr val="F8FCFF">
                    <a:alpha val="53725"/>
                  </a:srgbClr>
                </a:gs>
                <a:gs pos="100000">
                  <a:srgbClr val="FFFFFF">
                    <a:alpha val="49804"/>
                  </a:srgbClr>
                </a:gs>
              </a:gsLst>
              <a:lin ang="11286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74" name="Freeform: Shape 373">
              <a:extLst>
                <a:ext uri="{FF2B5EF4-FFF2-40B4-BE49-F238E27FC236}">
                  <a16:creationId xmlns:a16="http://schemas.microsoft.com/office/drawing/2014/main" id="{FEDA51F2-A7DF-99B2-12BC-AF6002BC600D}"/>
                </a:ext>
              </a:extLst>
            </p:cNvPr>
            <p:cNvSpPr/>
            <p:nvPr/>
          </p:nvSpPr>
          <p:spPr>
            <a:xfrm rot="17343600">
              <a:off x="2396246" y="1513253"/>
              <a:ext cx="36523" cy="870"/>
            </a:xfrm>
            <a:custGeom>
              <a:avLst/>
              <a:gdLst>
                <a:gd name="connsiteX0" fmla="*/ 0 w 382743"/>
                <a:gd name="connsiteY0" fmla="*/ 0 h 9121"/>
                <a:gd name="connsiteX1" fmla="*/ 382743 w 382743"/>
                <a:gd name="connsiteY1" fmla="*/ 0 h 9121"/>
                <a:gd name="connsiteX2" fmla="*/ 382743 w 382743"/>
                <a:gd name="connsiteY2" fmla="*/ 9122 h 9121"/>
                <a:gd name="connsiteX3" fmla="*/ 0 w 382743"/>
                <a:gd name="connsiteY3" fmla="*/ 9122 h 9121"/>
              </a:gdLst>
              <a:ahLst/>
              <a:cxnLst>
                <a:cxn ang="0">
                  <a:pos x="connsiteX0" y="connsiteY0"/>
                </a:cxn>
                <a:cxn ang="0">
                  <a:pos x="connsiteX1" y="connsiteY1"/>
                </a:cxn>
                <a:cxn ang="0">
                  <a:pos x="connsiteX2" y="connsiteY2"/>
                </a:cxn>
                <a:cxn ang="0">
                  <a:pos x="connsiteX3" y="connsiteY3"/>
                </a:cxn>
              </a:cxnLst>
              <a:rect l="l" t="t" r="r" b="b"/>
              <a:pathLst>
                <a:path w="382743" h="9121">
                  <a:moveTo>
                    <a:pt x="0" y="0"/>
                  </a:moveTo>
                  <a:lnTo>
                    <a:pt x="382743" y="0"/>
                  </a:lnTo>
                  <a:lnTo>
                    <a:pt x="382743" y="9122"/>
                  </a:lnTo>
                  <a:lnTo>
                    <a:pt x="0" y="9122"/>
                  </a:lnTo>
                  <a:close/>
                </a:path>
              </a:pathLst>
            </a:custGeom>
            <a:gradFill>
              <a:gsLst>
                <a:gs pos="0">
                  <a:srgbClr val="A6E0FF"/>
                </a:gs>
                <a:gs pos="67000">
                  <a:srgbClr val="E2F5FF">
                    <a:alpha val="31765"/>
                  </a:srgbClr>
                </a:gs>
                <a:gs pos="100000">
                  <a:srgbClr val="FFFFFF">
                    <a:alpha val="0"/>
                  </a:srgbClr>
                </a:gs>
              </a:gsLst>
              <a:lin ang="42564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75" name="Freeform: Shape 374">
              <a:extLst>
                <a:ext uri="{FF2B5EF4-FFF2-40B4-BE49-F238E27FC236}">
                  <a16:creationId xmlns:a16="http://schemas.microsoft.com/office/drawing/2014/main" id="{B1843643-2D01-BED3-14C1-6C13A7594236}"/>
                </a:ext>
              </a:extLst>
            </p:cNvPr>
            <p:cNvSpPr/>
            <p:nvPr/>
          </p:nvSpPr>
          <p:spPr>
            <a:xfrm rot="19550733">
              <a:off x="2163966" y="1574903"/>
              <a:ext cx="161233" cy="251601"/>
            </a:xfrm>
            <a:custGeom>
              <a:avLst/>
              <a:gdLst>
                <a:gd name="connsiteX0" fmla="*/ 82489 w 161233"/>
                <a:gd name="connsiteY0" fmla="*/ 0 h 251601"/>
                <a:gd name="connsiteX1" fmla="*/ 133195 w 161233"/>
                <a:gd name="connsiteY1" fmla="*/ 5112 h 251601"/>
                <a:gd name="connsiteX2" fmla="*/ 161233 w 161233"/>
                <a:gd name="connsiteY2" fmla="*/ 13815 h 251601"/>
                <a:gd name="connsiteX3" fmla="*/ 101228 w 161233"/>
                <a:gd name="connsiteY3" fmla="*/ 251601 h 251601"/>
                <a:gd name="connsiteX4" fmla="*/ 49542 w 161233"/>
                <a:gd name="connsiteY4" fmla="*/ 251601 h 251601"/>
                <a:gd name="connsiteX5" fmla="*/ 0 w 161233"/>
                <a:gd name="connsiteY5" fmla="*/ 14978 h 251601"/>
                <a:gd name="connsiteX6" fmla="*/ 31783 w 161233"/>
                <a:gd name="connsiteY6" fmla="*/ 5112 h 251601"/>
                <a:gd name="connsiteX7" fmla="*/ 82489 w 161233"/>
                <a:gd name="connsiteY7" fmla="*/ 0 h 25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233" h="251601">
                  <a:moveTo>
                    <a:pt x="82489" y="0"/>
                  </a:moveTo>
                  <a:cubicBezTo>
                    <a:pt x="99858" y="0"/>
                    <a:pt x="116817" y="1760"/>
                    <a:pt x="133195" y="5112"/>
                  </a:cubicBezTo>
                  <a:lnTo>
                    <a:pt x="161233" y="13815"/>
                  </a:lnTo>
                  <a:lnTo>
                    <a:pt x="101228" y="251601"/>
                  </a:lnTo>
                  <a:lnTo>
                    <a:pt x="49542" y="251601"/>
                  </a:lnTo>
                  <a:lnTo>
                    <a:pt x="0" y="14978"/>
                  </a:lnTo>
                  <a:lnTo>
                    <a:pt x="31783" y="5112"/>
                  </a:lnTo>
                  <a:cubicBezTo>
                    <a:pt x="48162" y="1760"/>
                    <a:pt x="65120" y="0"/>
                    <a:pt x="82489" y="0"/>
                  </a:cubicBezTo>
                  <a:close/>
                </a:path>
              </a:pathLst>
            </a:custGeom>
            <a:solidFill>
              <a:srgbClr val="0070F2">
                <a:alpha val="50000"/>
              </a:srgbClr>
            </a:solidFill>
            <a:ln w="729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grpSp>
      <p:grpSp>
        <p:nvGrpSpPr>
          <p:cNvPr id="376" name="Group 375">
            <a:extLst>
              <a:ext uri="{FF2B5EF4-FFF2-40B4-BE49-F238E27FC236}">
                <a16:creationId xmlns:a16="http://schemas.microsoft.com/office/drawing/2014/main" id="{CDD2C845-957F-B111-F02D-90A2F77423AB}"/>
              </a:ext>
            </a:extLst>
          </p:cNvPr>
          <p:cNvGrpSpPr/>
          <p:nvPr/>
        </p:nvGrpSpPr>
        <p:grpSpPr>
          <a:xfrm flipH="1">
            <a:off x="8513368" y="1791046"/>
            <a:ext cx="770908" cy="380654"/>
            <a:chOff x="1907766" y="1467196"/>
            <a:chExt cx="770908" cy="380654"/>
          </a:xfrm>
        </p:grpSpPr>
        <p:sp>
          <p:nvSpPr>
            <p:cNvPr id="377" name="Freeform: Shape 376">
              <a:extLst>
                <a:ext uri="{FF2B5EF4-FFF2-40B4-BE49-F238E27FC236}">
                  <a16:creationId xmlns:a16="http://schemas.microsoft.com/office/drawing/2014/main" id="{EF992B91-DFBF-925F-E6AF-832AD14EC3E8}"/>
                </a:ext>
              </a:extLst>
            </p:cNvPr>
            <p:cNvSpPr/>
            <p:nvPr/>
          </p:nvSpPr>
          <p:spPr>
            <a:xfrm>
              <a:off x="1965358" y="1467196"/>
              <a:ext cx="656332" cy="326703"/>
            </a:xfrm>
            <a:custGeom>
              <a:avLst/>
              <a:gdLst>
                <a:gd name="connsiteX0" fmla="*/ 7579920 w 7579919"/>
                <a:gd name="connsiteY0" fmla="*/ 3773067 h 3773066"/>
                <a:gd name="connsiteX1" fmla="*/ 3789996 w 7579919"/>
                <a:gd name="connsiteY1" fmla="*/ 0 h 3773066"/>
                <a:gd name="connsiteX2" fmla="*/ 0 w 7579919"/>
                <a:gd name="connsiteY2" fmla="*/ 3773067 h 3773066"/>
                <a:gd name="connsiteX3" fmla="*/ 7579920 w 7579919"/>
                <a:gd name="connsiteY3" fmla="*/ 3773067 h 3773066"/>
              </a:gdLst>
              <a:ahLst/>
              <a:cxnLst>
                <a:cxn ang="0">
                  <a:pos x="connsiteX0" y="connsiteY0"/>
                </a:cxn>
                <a:cxn ang="0">
                  <a:pos x="connsiteX1" y="connsiteY1"/>
                </a:cxn>
                <a:cxn ang="0">
                  <a:pos x="connsiteX2" y="connsiteY2"/>
                </a:cxn>
                <a:cxn ang="0">
                  <a:pos x="connsiteX3" y="connsiteY3"/>
                </a:cxn>
              </a:cxnLst>
              <a:rect l="l" t="t" r="r" b="b"/>
              <a:pathLst>
                <a:path w="7579919" h="3773066">
                  <a:moveTo>
                    <a:pt x="7579920" y="3773067"/>
                  </a:moveTo>
                  <a:cubicBezTo>
                    <a:pt x="7579920" y="1689251"/>
                    <a:pt x="5883079" y="0"/>
                    <a:pt x="3789996" y="0"/>
                  </a:cubicBezTo>
                  <a:cubicBezTo>
                    <a:pt x="1696913" y="0"/>
                    <a:pt x="0" y="1689251"/>
                    <a:pt x="0" y="3773067"/>
                  </a:cubicBezTo>
                  <a:lnTo>
                    <a:pt x="7579920" y="3773067"/>
                  </a:lnTo>
                  <a:close/>
                </a:path>
              </a:pathLst>
            </a:custGeom>
            <a:solidFill>
              <a:srgbClr val="7858FF"/>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78" name="Freeform: Shape 377">
              <a:extLst>
                <a:ext uri="{FF2B5EF4-FFF2-40B4-BE49-F238E27FC236}">
                  <a16:creationId xmlns:a16="http://schemas.microsoft.com/office/drawing/2014/main" id="{8A477FE6-0129-0EE8-7427-1478323365FD}"/>
                </a:ext>
              </a:extLst>
            </p:cNvPr>
            <p:cNvSpPr/>
            <p:nvPr/>
          </p:nvSpPr>
          <p:spPr>
            <a:xfrm>
              <a:off x="1998348" y="1498719"/>
              <a:ext cx="590359" cy="295179"/>
            </a:xfrm>
            <a:custGeom>
              <a:avLst/>
              <a:gdLst>
                <a:gd name="connsiteX0" fmla="*/ 6818009 w 6818008"/>
                <a:gd name="connsiteY0" fmla="*/ 3409005 h 3409004"/>
                <a:gd name="connsiteX1" fmla="*/ 3409005 w 6818008"/>
                <a:gd name="connsiteY1" fmla="*/ 0 h 3409004"/>
                <a:gd name="connsiteX2" fmla="*/ 0 w 6818008"/>
                <a:gd name="connsiteY2" fmla="*/ 3409005 h 3409004"/>
                <a:gd name="connsiteX3" fmla="*/ 6818009 w 6818008"/>
                <a:gd name="connsiteY3" fmla="*/ 3409005 h 3409004"/>
              </a:gdLst>
              <a:ahLst/>
              <a:cxnLst>
                <a:cxn ang="0">
                  <a:pos x="connsiteX0" y="connsiteY0"/>
                </a:cxn>
                <a:cxn ang="0">
                  <a:pos x="connsiteX1" y="connsiteY1"/>
                </a:cxn>
                <a:cxn ang="0">
                  <a:pos x="connsiteX2" y="connsiteY2"/>
                </a:cxn>
                <a:cxn ang="0">
                  <a:pos x="connsiteX3" y="connsiteY3"/>
                </a:cxn>
              </a:cxnLst>
              <a:rect l="l" t="t" r="r" b="b"/>
              <a:pathLst>
                <a:path w="6818008" h="3409004">
                  <a:moveTo>
                    <a:pt x="6818009" y="3409005"/>
                  </a:moveTo>
                  <a:cubicBezTo>
                    <a:pt x="6818009" y="1526230"/>
                    <a:pt x="5291707" y="0"/>
                    <a:pt x="3409005" y="0"/>
                  </a:cubicBezTo>
                  <a:cubicBezTo>
                    <a:pt x="1526302" y="0"/>
                    <a:pt x="0" y="1526302"/>
                    <a:pt x="0" y="3409005"/>
                  </a:cubicBezTo>
                  <a:lnTo>
                    <a:pt x="6818009" y="3409005"/>
                  </a:lnTo>
                  <a:close/>
                </a:path>
              </a:pathLst>
            </a:custGeom>
            <a:solidFill>
              <a:srgbClr val="9B76FF">
                <a:alpha val="50000"/>
              </a:srgbClr>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79" name="Freeform: Shape 378">
              <a:extLst>
                <a:ext uri="{FF2B5EF4-FFF2-40B4-BE49-F238E27FC236}">
                  <a16:creationId xmlns:a16="http://schemas.microsoft.com/office/drawing/2014/main" id="{C58FB7BB-2194-D6AF-28D6-ADBB4CE4430C}"/>
                </a:ext>
              </a:extLst>
            </p:cNvPr>
            <p:cNvSpPr/>
            <p:nvPr/>
          </p:nvSpPr>
          <p:spPr>
            <a:xfrm>
              <a:off x="2031166" y="1531835"/>
              <a:ext cx="524128" cy="262064"/>
            </a:xfrm>
            <a:custGeom>
              <a:avLst/>
              <a:gdLst>
                <a:gd name="connsiteX0" fmla="*/ 0 w 6053106"/>
                <a:gd name="connsiteY0" fmla="*/ 3026553 h 3026553"/>
                <a:gd name="connsiteX1" fmla="*/ 3026553 w 6053106"/>
                <a:gd name="connsiteY1" fmla="*/ 0 h 3026553"/>
                <a:gd name="connsiteX2" fmla="*/ 6053107 w 6053106"/>
                <a:gd name="connsiteY2" fmla="*/ 3026553 h 3026553"/>
              </a:gdLst>
              <a:ahLst/>
              <a:cxnLst>
                <a:cxn ang="0">
                  <a:pos x="connsiteX0" y="connsiteY0"/>
                </a:cxn>
                <a:cxn ang="0">
                  <a:pos x="connsiteX1" y="connsiteY1"/>
                </a:cxn>
                <a:cxn ang="0">
                  <a:pos x="connsiteX2" y="connsiteY2"/>
                </a:cxn>
              </a:cxnLst>
              <a:rect l="l" t="t" r="r" b="b"/>
              <a:pathLst>
                <a:path w="6053106" h="3026553">
                  <a:moveTo>
                    <a:pt x="0" y="3026553"/>
                  </a:moveTo>
                  <a:cubicBezTo>
                    <a:pt x="0" y="1355035"/>
                    <a:pt x="1355035" y="0"/>
                    <a:pt x="3026553" y="0"/>
                  </a:cubicBezTo>
                  <a:cubicBezTo>
                    <a:pt x="4698072" y="0"/>
                    <a:pt x="6053107" y="1355035"/>
                    <a:pt x="6053107" y="3026553"/>
                  </a:cubicBezTo>
                </a:path>
              </a:pathLst>
            </a:custGeom>
            <a:solidFill>
              <a:srgbClr val="4DB1FF"/>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80" name="Freeform: Shape 379">
              <a:extLst>
                <a:ext uri="{FF2B5EF4-FFF2-40B4-BE49-F238E27FC236}">
                  <a16:creationId xmlns:a16="http://schemas.microsoft.com/office/drawing/2014/main" id="{7E7877D5-C895-4714-BC8F-AF9856BFB905}"/>
                </a:ext>
              </a:extLst>
            </p:cNvPr>
            <p:cNvSpPr/>
            <p:nvPr/>
          </p:nvSpPr>
          <p:spPr>
            <a:xfrm>
              <a:off x="1907766" y="1782405"/>
              <a:ext cx="770908" cy="65445"/>
            </a:xfrm>
            <a:custGeom>
              <a:avLst/>
              <a:gdLst>
                <a:gd name="connsiteX0" fmla="*/ 8884943 w 8903148"/>
                <a:gd name="connsiteY0" fmla="*/ 682224 h 755813"/>
                <a:gd name="connsiteX1" fmla="*/ 8420471 w 8903148"/>
                <a:gd name="connsiteY1" fmla="*/ 45900 h 755813"/>
                <a:gd name="connsiteX2" fmla="*/ 8325095 w 8903148"/>
                <a:gd name="connsiteY2" fmla="*/ 0 h 755813"/>
                <a:gd name="connsiteX3" fmla="*/ 561867 w 8903148"/>
                <a:gd name="connsiteY3" fmla="*/ 0 h 755813"/>
                <a:gd name="connsiteX4" fmla="*/ 458392 w 8903148"/>
                <a:gd name="connsiteY4" fmla="*/ 59035 h 755813"/>
                <a:gd name="connsiteX5" fmla="*/ 8951 w 8903148"/>
                <a:gd name="connsiteY5" fmla="*/ 696673 h 755813"/>
                <a:gd name="connsiteX6" fmla="*/ 8951 w 8903148"/>
                <a:gd name="connsiteY6" fmla="*/ 743886 h 755813"/>
                <a:gd name="connsiteX7" fmla="*/ 52516 w 8903148"/>
                <a:gd name="connsiteY7" fmla="*/ 755708 h 755813"/>
                <a:gd name="connsiteX8" fmla="*/ 8860497 w 8903148"/>
                <a:gd name="connsiteY8" fmla="*/ 755708 h 755813"/>
                <a:gd name="connsiteX9" fmla="*/ 8899976 w 8903148"/>
                <a:gd name="connsiteY9" fmla="*/ 737319 h 755813"/>
                <a:gd name="connsiteX10" fmla="*/ 8885016 w 8903148"/>
                <a:gd name="connsiteY10" fmla="*/ 682224 h 75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3148" h="755813">
                  <a:moveTo>
                    <a:pt x="8884943" y="682224"/>
                  </a:moveTo>
                  <a:lnTo>
                    <a:pt x="8420471" y="45900"/>
                  </a:lnTo>
                  <a:cubicBezTo>
                    <a:pt x="8420471" y="45900"/>
                    <a:pt x="8402738" y="0"/>
                    <a:pt x="8325095" y="0"/>
                  </a:cubicBezTo>
                  <a:lnTo>
                    <a:pt x="561867" y="0"/>
                  </a:lnTo>
                  <a:cubicBezTo>
                    <a:pt x="561867" y="0"/>
                    <a:pt x="499184" y="1314"/>
                    <a:pt x="458392" y="59035"/>
                  </a:cubicBezTo>
                  <a:cubicBezTo>
                    <a:pt x="417527" y="116757"/>
                    <a:pt x="8951" y="696673"/>
                    <a:pt x="8951" y="696673"/>
                  </a:cubicBezTo>
                  <a:cubicBezTo>
                    <a:pt x="8951" y="696673"/>
                    <a:pt x="-11189" y="721484"/>
                    <a:pt x="8951" y="743886"/>
                  </a:cubicBezTo>
                  <a:cubicBezTo>
                    <a:pt x="21138" y="757387"/>
                    <a:pt x="52516" y="755708"/>
                    <a:pt x="52516" y="755708"/>
                  </a:cubicBezTo>
                  <a:lnTo>
                    <a:pt x="8860497" y="755708"/>
                  </a:lnTo>
                  <a:cubicBezTo>
                    <a:pt x="8860497" y="755708"/>
                    <a:pt x="8887716" y="758335"/>
                    <a:pt x="8899976" y="737319"/>
                  </a:cubicBezTo>
                  <a:cubicBezTo>
                    <a:pt x="8912235" y="716303"/>
                    <a:pt x="8885016" y="682224"/>
                    <a:pt x="8885016" y="682224"/>
                  </a:cubicBezTo>
                  <a:close/>
                </a:path>
              </a:pathLst>
            </a:custGeom>
            <a:gradFill>
              <a:gsLst>
                <a:gs pos="0">
                  <a:srgbClr val="0070F2"/>
                </a:gs>
                <a:gs pos="7000">
                  <a:srgbClr val="0070F2"/>
                </a:gs>
                <a:gs pos="14000">
                  <a:srgbClr val="0070F2"/>
                </a:gs>
                <a:gs pos="100000">
                  <a:srgbClr val="0070F2"/>
                </a:gs>
              </a:gsLst>
              <a:lin ang="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81" name="Freeform: Shape 380">
              <a:extLst>
                <a:ext uri="{FF2B5EF4-FFF2-40B4-BE49-F238E27FC236}">
                  <a16:creationId xmlns:a16="http://schemas.microsoft.com/office/drawing/2014/main" id="{0A9E4433-184F-66C1-5F86-235B012FA981}"/>
                </a:ext>
              </a:extLst>
            </p:cNvPr>
            <p:cNvSpPr/>
            <p:nvPr/>
          </p:nvSpPr>
          <p:spPr>
            <a:xfrm>
              <a:off x="2064598" y="1565596"/>
              <a:ext cx="456607" cy="228304"/>
            </a:xfrm>
            <a:custGeom>
              <a:avLst/>
              <a:gdLst>
                <a:gd name="connsiteX0" fmla="*/ 0 w 5273317"/>
                <a:gd name="connsiteY0" fmla="*/ 2636659 h 2636658"/>
                <a:gd name="connsiteX1" fmla="*/ 2636659 w 5273317"/>
                <a:gd name="connsiteY1" fmla="*/ 0 h 2636658"/>
                <a:gd name="connsiteX2" fmla="*/ 5273317 w 5273317"/>
                <a:gd name="connsiteY2" fmla="*/ 2636659 h 2636658"/>
              </a:gdLst>
              <a:ahLst/>
              <a:cxnLst>
                <a:cxn ang="0">
                  <a:pos x="connsiteX0" y="connsiteY0"/>
                </a:cxn>
                <a:cxn ang="0">
                  <a:pos x="connsiteX1" y="connsiteY1"/>
                </a:cxn>
                <a:cxn ang="0">
                  <a:pos x="connsiteX2" y="connsiteY2"/>
                </a:cxn>
              </a:cxnLst>
              <a:rect l="l" t="t" r="r" b="b"/>
              <a:pathLst>
                <a:path w="5273317" h="2636658">
                  <a:moveTo>
                    <a:pt x="0" y="2636659"/>
                  </a:moveTo>
                  <a:cubicBezTo>
                    <a:pt x="0" y="1180484"/>
                    <a:pt x="1180483" y="0"/>
                    <a:pt x="2636659" y="0"/>
                  </a:cubicBezTo>
                  <a:cubicBezTo>
                    <a:pt x="4092834" y="0"/>
                    <a:pt x="5273317" y="1180484"/>
                    <a:pt x="5273317" y="2636659"/>
                  </a:cubicBezTo>
                </a:path>
              </a:pathLst>
            </a:custGeom>
            <a:solidFill>
              <a:schemeClr val="bg1"/>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82" name="Freeform: Shape 381">
              <a:extLst>
                <a:ext uri="{FF2B5EF4-FFF2-40B4-BE49-F238E27FC236}">
                  <a16:creationId xmlns:a16="http://schemas.microsoft.com/office/drawing/2014/main" id="{192890D5-7B88-BDD5-5218-A3D07638D702}"/>
                </a:ext>
              </a:extLst>
            </p:cNvPr>
            <p:cNvSpPr/>
            <p:nvPr/>
          </p:nvSpPr>
          <p:spPr>
            <a:xfrm>
              <a:off x="2216711" y="1717343"/>
              <a:ext cx="153112" cy="76556"/>
            </a:xfrm>
            <a:custGeom>
              <a:avLst/>
              <a:gdLst>
                <a:gd name="connsiteX0" fmla="*/ 0 w 1768280"/>
                <a:gd name="connsiteY0" fmla="*/ 884140 h 884140"/>
                <a:gd name="connsiteX1" fmla="*/ 884140 w 1768280"/>
                <a:gd name="connsiteY1" fmla="*/ 0 h 884140"/>
                <a:gd name="connsiteX2" fmla="*/ 1768281 w 1768280"/>
                <a:gd name="connsiteY2" fmla="*/ 884140 h 884140"/>
              </a:gdLst>
              <a:ahLst/>
              <a:cxnLst>
                <a:cxn ang="0">
                  <a:pos x="connsiteX0" y="connsiteY0"/>
                </a:cxn>
                <a:cxn ang="0">
                  <a:pos x="connsiteX1" y="connsiteY1"/>
                </a:cxn>
                <a:cxn ang="0">
                  <a:pos x="connsiteX2" y="connsiteY2"/>
                </a:cxn>
              </a:cxnLst>
              <a:rect l="l" t="t" r="r" b="b"/>
              <a:pathLst>
                <a:path w="1768280" h="884140">
                  <a:moveTo>
                    <a:pt x="0" y="884140"/>
                  </a:moveTo>
                  <a:cubicBezTo>
                    <a:pt x="0" y="395878"/>
                    <a:pt x="395805" y="0"/>
                    <a:pt x="884140" y="0"/>
                  </a:cubicBezTo>
                  <a:cubicBezTo>
                    <a:pt x="1372475" y="0"/>
                    <a:pt x="1768281" y="395805"/>
                    <a:pt x="1768281" y="884140"/>
                  </a:cubicBezTo>
                </a:path>
              </a:pathLst>
            </a:custGeom>
            <a:solidFill>
              <a:srgbClr val="0070F2"/>
            </a:solidFill>
            <a:ln w="7292" cap="flat">
              <a:solidFill>
                <a:srgbClr val="0070F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83" name="Freeform: Shape 382">
              <a:extLst>
                <a:ext uri="{FF2B5EF4-FFF2-40B4-BE49-F238E27FC236}">
                  <a16:creationId xmlns:a16="http://schemas.microsoft.com/office/drawing/2014/main" id="{1DCA6CCF-7934-C748-2D5A-798E524E5105}"/>
                </a:ext>
              </a:extLst>
            </p:cNvPr>
            <p:cNvSpPr/>
            <p:nvPr/>
          </p:nvSpPr>
          <p:spPr>
            <a:xfrm rot="18304802">
              <a:off x="2154942" y="1634695"/>
              <a:ext cx="632" cy="113558"/>
            </a:xfrm>
            <a:custGeom>
              <a:avLst/>
              <a:gdLst>
                <a:gd name="connsiteX0" fmla="*/ 0 w 7297"/>
                <a:gd name="connsiteY0" fmla="*/ 0 h 1311469"/>
                <a:gd name="connsiteX1" fmla="*/ 7297 w 7297"/>
                <a:gd name="connsiteY1" fmla="*/ 0 h 1311469"/>
                <a:gd name="connsiteX2" fmla="*/ 7297 w 7297"/>
                <a:gd name="connsiteY2" fmla="*/ 1311470 h 1311469"/>
                <a:gd name="connsiteX3" fmla="*/ 0 w 7297"/>
                <a:gd name="connsiteY3" fmla="*/ 1311470 h 1311469"/>
              </a:gdLst>
              <a:ahLst/>
              <a:cxnLst>
                <a:cxn ang="0">
                  <a:pos x="connsiteX0" y="connsiteY0"/>
                </a:cxn>
                <a:cxn ang="0">
                  <a:pos x="connsiteX1" y="connsiteY1"/>
                </a:cxn>
                <a:cxn ang="0">
                  <a:pos x="connsiteX2" y="connsiteY2"/>
                </a:cxn>
                <a:cxn ang="0">
                  <a:pos x="connsiteX3" y="connsiteY3"/>
                </a:cxn>
              </a:cxnLst>
              <a:rect l="l" t="t" r="r" b="b"/>
              <a:pathLst>
                <a:path w="7297" h="1311469">
                  <a:moveTo>
                    <a:pt x="0" y="0"/>
                  </a:moveTo>
                  <a:lnTo>
                    <a:pt x="7297" y="0"/>
                  </a:lnTo>
                  <a:lnTo>
                    <a:pt x="7297" y="1311470"/>
                  </a:lnTo>
                  <a:lnTo>
                    <a:pt x="0" y="1311470"/>
                  </a:lnTo>
                  <a:close/>
                </a:path>
              </a:pathLst>
            </a:custGeom>
            <a:gradFill>
              <a:gsLst>
                <a:gs pos="0">
                  <a:srgbClr val="4DB1FF"/>
                </a:gs>
                <a:gs pos="50000">
                  <a:srgbClr val="79C8FF"/>
                </a:gs>
                <a:gs pos="100000">
                  <a:srgbClr val="A6E0FF"/>
                </a:gs>
              </a:gsLst>
              <a:lin ang="3295198"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84" name="Freeform: Shape 383">
              <a:extLst>
                <a:ext uri="{FF2B5EF4-FFF2-40B4-BE49-F238E27FC236}">
                  <a16:creationId xmlns:a16="http://schemas.microsoft.com/office/drawing/2014/main" id="{99F8A00B-276A-2607-A670-0A8C5077674D}"/>
                </a:ext>
              </a:extLst>
            </p:cNvPr>
            <p:cNvSpPr/>
            <p:nvPr/>
          </p:nvSpPr>
          <p:spPr>
            <a:xfrm rot="19472402">
              <a:off x="2374894" y="1691177"/>
              <a:ext cx="112547" cy="632"/>
            </a:xfrm>
            <a:custGeom>
              <a:avLst/>
              <a:gdLst>
                <a:gd name="connsiteX0" fmla="*/ 0 w 1299794"/>
                <a:gd name="connsiteY0" fmla="*/ 0 h 7297"/>
                <a:gd name="connsiteX1" fmla="*/ 1299794 w 1299794"/>
                <a:gd name="connsiteY1" fmla="*/ 0 h 7297"/>
                <a:gd name="connsiteX2" fmla="*/ 1299794 w 1299794"/>
                <a:gd name="connsiteY2" fmla="*/ 7297 h 7297"/>
                <a:gd name="connsiteX3" fmla="*/ 0 w 1299794"/>
                <a:gd name="connsiteY3" fmla="*/ 7297 h 7297"/>
              </a:gdLst>
              <a:ahLst/>
              <a:cxnLst>
                <a:cxn ang="0">
                  <a:pos x="connsiteX0" y="connsiteY0"/>
                </a:cxn>
                <a:cxn ang="0">
                  <a:pos x="connsiteX1" y="connsiteY1"/>
                </a:cxn>
                <a:cxn ang="0">
                  <a:pos x="connsiteX2" y="connsiteY2"/>
                </a:cxn>
                <a:cxn ang="0">
                  <a:pos x="connsiteX3" y="connsiteY3"/>
                </a:cxn>
              </a:cxnLst>
              <a:rect l="l" t="t" r="r" b="b"/>
              <a:pathLst>
                <a:path w="1299794" h="7297">
                  <a:moveTo>
                    <a:pt x="0" y="0"/>
                  </a:moveTo>
                  <a:lnTo>
                    <a:pt x="1299794" y="0"/>
                  </a:lnTo>
                  <a:lnTo>
                    <a:pt x="1299794" y="7297"/>
                  </a:lnTo>
                  <a:lnTo>
                    <a:pt x="0" y="7297"/>
                  </a:lnTo>
                  <a:close/>
                </a:path>
              </a:pathLst>
            </a:custGeom>
            <a:gradFill>
              <a:gsLst>
                <a:gs pos="0">
                  <a:srgbClr val="A6E0FF"/>
                </a:gs>
                <a:gs pos="77000">
                  <a:srgbClr val="4DB1FF"/>
                </a:gs>
              </a:gsLst>
              <a:lin ang="2127598"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85" name="Freeform: Shape 384">
              <a:extLst>
                <a:ext uri="{FF2B5EF4-FFF2-40B4-BE49-F238E27FC236}">
                  <a16:creationId xmlns:a16="http://schemas.microsoft.com/office/drawing/2014/main" id="{77E779CA-F24A-C10A-E32E-C113D80F1398}"/>
                </a:ext>
              </a:extLst>
            </p:cNvPr>
            <p:cNvSpPr/>
            <p:nvPr/>
          </p:nvSpPr>
          <p:spPr>
            <a:xfrm rot="17278800">
              <a:off x="2290104" y="1630135"/>
              <a:ext cx="112705" cy="632"/>
            </a:xfrm>
            <a:custGeom>
              <a:avLst/>
              <a:gdLst>
                <a:gd name="connsiteX0" fmla="*/ 0 w 1301618"/>
                <a:gd name="connsiteY0" fmla="*/ 0 h 7297"/>
                <a:gd name="connsiteX1" fmla="*/ 1301618 w 1301618"/>
                <a:gd name="connsiteY1" fmla="*/ 0 h 7297"/>
                <a:gd name="connsiteX2" fmla="*/ 1301618 w 1301618"/>
                <a:gd name="connsiteY2" fmla="*/ 7297 h 7297"/>
                <a:gd name="connsiteX3" fmla="*/ 0 w 1301618"/>
                <a:gd name="connsiteY3" fmla="*/ 7297 h 7297"/>
              </a:gdLst>
              <a:ahLst/>
              <a:cxnLst>
                <a:cxn ang="0">
                  <a:pos x="connsiteX0" y="connsiteY0"/>
                </a:cxn>
                <a:cxn ang="0">
                  <a:pos x="connsiteX1" y="connsiteY1"/>
                </a:cxn>
                <a:cxn ang="0">
                  <a:pos x="connsiteX2" y="connsiteY2"/>
                </a:cxn>
                <a:cxn ang="0">
                  <a:pos x="connsiteX3" y="connsiteY3"/>
                </a:cxn>
              </a:cxnLst>
              <a:rect l="l" t="t" r="r" b="b"/>
              <a:pathLst>
                <a:path w="1301618" h="7297">
                  <a:moveTo>
                    <a:pt x="0" y="0"/>
                  </a:moveTo>
                  <a:lnTo>
                    <a:pt x="1301618" y="0"/>
                  </a:lnTo>
                  <a:lnTo>
                    <a:pt x="1301618" y="7297"/>
                  </a:lnTo>
                  <a:lnTo>
                    <a:pt x="0" y="7297"/>
                  </a:lnTo>
                  <a:close/>
                </a:path>
              </a:pathLst>
            </a:custGeom>
            <a:gradFill>
              <a:gsLst>
                <a:gs pos="0">
                  <a:srgbClr val="A6E0FF"/>
                </a:gs>
                <a:gs pos="77000">
                  <a:srgbClr val="4DB1FF"/>
                </a:gs>
              </a:gsLst>
              <a:lin ang="43212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86" name="Freeform: Shape 385">
              <a:extLst>
                <a:ext uri="{FF2B5EF4-FFF2-40B4-BE49-F238E27FC236}">
                  <a16:creationId xmlns:a16="http://schemas.microsoft.com/office/drawing/2014/main" id="{A84DBCBB-DDE5-0EC6-0453-D10D865BFC02}"/>
                </a:ext>
              </a:extLst>
            </p:cNvPr>
            <p:cNvSpPr/>
            <p:nvPr/>
          </p:nvSpPr>
          <p:spPr>
            <a:xfrm rot="20515199">
              <a:off x="2240613" y="1574080"/>
              <a:ext cx="632" cy="112629"/>
            </a:xfrm>
            <a:custGeom>
              <a:avLst/>
              <a:gdLst>
                <a:gd name="connsiteX0" fmla="*/ 0 w 7297"/>
                <a:gd name="connsiteY0" fmla="*/ 0 h 1300742"/>
                <a:gd name="connsiteX1" fmla="*/ 7297 w 7297"/>
                <a:gd name="connsiteY1" fmla="*/ 0 h 1300742"/>
                <a:gd name="connsiteX2" fmla="*/ 7297 w 7297"/>
                <a:gd name="connsiteY2" fmla="*/ 1300743 h 1300742"/>
                <a:gd name="connsiteX3" fmla="*/ 0 w 7297"/>
                <a:gd name="connsiteY3" fmla="*/ 1300743 h 1300742"/>
              </a:gdLst>
              <a:ahLst/>
              <a:cxnLst>
                <a:cxn ang="0">
                  <a:pos x="connsiteX0" y="connsiteY0"/>
                </a:cxn>
                <a:cxn ang="0">
                  <a:pos x="connsiteX1" y="connsiteY1"/>
                </a:cxn>
                <a:cxn ang="0">
                  <a:pos x="connsiteX2" y="connsiteY2"/>
                </a:cxn>
                <a:cxn ang="0">
                  <a:pos x="connsiteX3" y="connsiteY3"/>
                </a:cxn>
              </a:cxnLst>
              <a:rect l="l" t="t" r="r" b="b"/>
              <a:pathLst>
                <a:path w="7297" h="1300742">
                  <a:moveTo>
                    <a:pt x="0" y="0"/>
                  </a:moveTo>
                  <a:lnTo>
                    <a:pt x="7297" y="0"/>
                  </a:lnTo>
                  <a:lnTo>
                    <a:pt x="7297" y="1300743"/>
                  </a:lnTo>
                  <a:lnTo>
                    <a:pt x="0" y="1300743"/>
                  </a:lnTo>
                  <a:close/>
                </a:path>
              </a:pathLst>
            </a:custGeom>
            <a:gradFill>
              <a:gsLst>
                <a:gs pos="0">
                  <a:srgbClr val="4DB1FF"/>
                </a:gs>
                <a:gs pos="50000">
                  <a:srgbClr val="79C8FF"/>
                </a:gs>
                <a:gs pos="100000">
                  <a:srgbClr val="A6E0FF"/>
                </a:gs>
              </a:gsLst>
              <a:lin ang="1084801"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87" name="Freeform: Shape 386">
              <a:extLst>
                <a:ext uri="{FF2B5EF4-FFF2-40B4-BE49-F238E27FC236}">
                  <a16:creationId xmlns:a16="http://schemas.microsoft.com/office/drawing/2014/main" id="{89BD4E8F-BD06-D4BE-330A-D6655E4DB9CD}"/>
                </a:ext>
              </a:extLst>
            </p:cNvPr>
            <p:cNvSpPr/>
            <p:nvPr/>
          </p:nvSpPr>
          <p:spPr>
            <a:xfrm>
              <a:off x="2178162" y="1678124"/>
              <a:ext cx="230730" cy="115365"/>
            </a:xfrm>
            <a:custGeom>
              <a:avLst/>
              <a:gdLst>
                <a:gd name="connsiteX0" fmla="*/ 2664680 w 2664680"/>
                <a:gd name="connsiteY0" fmla="*/ 1332340 h 1332340"/>
                <a:gd name="connsiteX1" fmla="*/ 2657383 w 2664680"/>
                <a:gd name="connsiteY1" fmla="*/ 1332340 h 1332340"/>
                <a:gd name="connsiteX2" fmla="*/ 1332340 w 2664680"/>
                <a:gd name="connsiteY2" fmla="*/ 7297 h 1332340"/>
                <a:gd name="connsiteX3" fmla="*/ 7297 w 2664680"/>
                <a:gd name="connsiteY3" fmla="*/ 1332340 h 1332340"/>
                <a:gd name="connsiteX4" fmla="*/ 0 w 2664680"/>
                <a:gd name="connsiteY4" fmla="*/ 1332340 h 1332340"/>
                <a:gd name="connsiteX5" fmla="*/ 1332340 w 2664680"/>
                <a:gd name="connsiteY5" fmla="*/ 0 h 1332340"/>
                <a:gd name="connsiteX6" fmla="*/ 2664680 w 2664680"/>
                <a:gd name="connsiteY6" fmla="*/ 1332340 h 1332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4680" h="1332340">
                  <a:moveTo>
                    <a:pt x="2664680" y="1332340"/>
                  </a:moveTo>
                  <a:lnTo>
                    <a:pt x="2657383" y="1332340"/>
                  </a:lnTo>
                  <a:cubicBezTo>
                    <a:pt x="2657383" y="601735"/>
                    <a:pt x="2062945" y="7297"/>
                    <a:pt x="1332340" y="7297"/>
                  </a:cubicBezTo>
                  <a:cubicBezTo>
                    <a:pt x="601735" y="7297"/>
                    <a:pt x="7297" y="601735"/>
                    <a:pt x="7297" y="1332340"/>
                  </a:cubicBezTo>
                  <a:lnTo>
                    <a:pt x="0" y="1332340"/>
                  </a:lnTo>
                  <a:cubicBezTo>
                    <a:pt x="0" y="597722"/>
                    <a:pt x="597721" y="0"/>
                    <a:pt x="1332340" y="0"/>
                  </a:cubicBezTo>
                  <a:cubicBezTo>
                    <a:pt x="2066959" y="0"/>
                    <a:pt x="2664680" y="597722"/>
                    <a:pt x="2664680" y="1332340"/>
                  </a:cubicBezTo>
                  <a:close/>
                </a:path>
              </a:pathLst>
            </a:custGeom>
            <a:gradFill>
              <a:gsLst>
                <a:gs pos="0">
                  <a:srgbClr val="A6E0FF"/>
                </a:gs>
                <a:gs pos="4000">
                  <a:srgbClr val="8CD2FF"/>
                </a:gs>
                <a:gs pos="8000">
                  <a:srgbClr val="76C6FF"/>
                </a:gs>
                <a:gs pos="14000">
                  <a:srgbClr val="65BDFF"/>
                </a:gs>
                <a:gs pos="20000">
                  <a:srgbClr val="59B7FF"/>
                </a:gs>
                <a:gs pos="29000">
                  <a:srgbClr val="52B3FF"/>
                </a:gs>
                <a:gs pos="54000">
                  <a:srgbClr val="51B3FF"/>
                </a:gs>
                <a:gs pos="54000">
                  <a:srgbClr val="4DB1FF"/>
                </a:gs>
                <a:gs pos="70000">
                  <a:srgbClr val="4FB2FF"/>
                </a:gs>
                <a:gs pos="78000">
                  <a:srgbClr val="57B6FF"/>
                </a:gs>
                <a:gs pos="85000">
                  <a:srgbClr val="65BDFF"/>
                </a:gs>
                <a:gs pos="91000">
                  <a:srgbClr val="78C8FF"/>
                </a:gs>
                <a:gs pos="97000">
                  <a:srgbClr val="91D5FF"/>
                </a:gs>
                <a:gs pos="100000">
                  <a:srgbClr val="A6E0FF"/>
                </a:gs>
                <a:gs pos="100000">
                  <a:srgbClr val="4DB1FF"/>
                </a:gs>
              </a:gsLst>
              <a:lin ang="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88" name="Freeform: Shape 387">
              <a:extLst>
                <a:ext uri="{FF2B5EF4-FFF2-40B4-BE49-F238E27FC236}">
                  <a16:creationId xmlns:a16="http://schemas.microsoft.com/office/drawing/2014/main" id="{043EA44C-0EA8-48A4-3E8A-E1112279C302}"/>
                </a:ext>
              </a:extLst>
            </p:cNvPr>
            <p:cNvSpPr/>
            <p:nvPr/>
          </p:nvSpPr>
          <p:spPr>
            <a:xfrm rot="18344400">
              <a:off x="2067813" y="1613304"/>
              <a:ext cx="789" cy="32901"/>
            </a:xfrm>
            <a:custGeom>
              <a:avLst/>
              <a:gdLst>
                <a:gd name="connsiteX0" fmla="*/ 0 w 9121"/>
                <a:gd name="connsiteY0" fmla="*/ 0 h 379970"/>
                <a:gd name="connsiteX1" fmla="*/ 9122 w 9121"/>
                <a:gd name="connsiteY1" fmla="*/ 0 h 379970"/>
                <a:gd name="connsiteX2" fmla="*/ 9122 w 9121"/>
                <a:gd name="connsiteY2" fmla="*/ 379970 h 379970"/>
                <a:gd name="connsiteX3" fmla="*/ 0 w 9121"/>
                <a:gd name="connsiteY3" fmla="*/ 379970 h 379970"/>
              </a:gdLst>
              <a:ahLst/>
              <a:cxnLst>
                <a:cxn ang="0">
                  <a:pos x="connsiteX0" y="connsiteY0"/>
                </a:cxn>
                <a:cxn ang="0">
                  <a:pos x="connsiteX1" y="connsiteY1"/>
                </a:cxn>
                <a:cxn ang="0">
                  <a:pos x="connsiteX2" y="connsiteY2"/>
                </a:cxn>
                <a:cxn ang="0">
                  <a:pos x="connsiteX3" y="connsiteY3"/>
                </a:cxn>
              </a:cxnLst>
              <a:rect l="l" t="t" r="r" b="b"/>
              <a:pathLst>
                <a:path w="9121" h="379970">
                  <a:moveTo>
                    <a:pt x="0" y="0"/>
                  </a:moveTo>
                  <a:lnTo>
                    <a:pt x="9122" y="0"/>
                  </a:lnTo>
                  <a:lnTo>
                    <a:pt x="9122" y="379970"/>
                  </a:lnTo>
                  <a:lnTo>
                    <a:pt x="0" y="379970"/>
                  </a:lnTo>
                  <a:close/>
                </a:path>
              </a:pathLst>
            </a:custGeom>
            <a:gradFill>
              <a:gsLst>
                <a:gs pos="0">
                  <a:srgbClr val="FFFFFF">
                    <a:alpha val="0"/>
                  </a:srgbClr>
                </a:gs>
                <a:gs pos="99000">
                  <a:srgbClr val="A6E0FF"/>
                </a:gs>
                <a:gs pos="100000">
                  <a:srgbClr val="A7E0FF">
                    <a:alpha val="98824"/>
                  </a:srgbClr>
                </a:gs>
                <a:gs pos="100000">
                  <a:srgbClr val="ACE2FF">
                    <a:alpha val="96863"/>
                  </a:srgbClr>
                </a:gs>
                <a:gs pos="100000">
                  <a:srgbClr val="B4E4FF">
                    <a:alpha val="91765"/>
                  </a:srgbClr>
                </a:gs>
                <a:gs pos="100000">
                  <a:srgbClr val="C0E9FF">
                    <a:alpha val="84706"/>
                  </a:srgbClr>
                </a:gs>
                <a:gs pos="100000">
                  <a:srgbClr val="CFEEFF">
                    <a:alpha val="76863"/>
                  </a:srgbClr>
                </a:gs>
                <a:gs pos="100000">
                  <a:srgbClr val="E2F5FF">
                    <a:alpha val="65882"/>
                  </a:srgbClr>
                </a:gs>
                <a:gs pos="100000">
                  <a:srgbClr val="F8FCFF">
                    <a:alpha val="53725"/>
                  </a:srgbClr>
                </a:gs>
                <a:gs pos="100000">
                  <a:srgbClr val="FFFFFF">
                    <a:alpha val="49804"/>
                  </a:srgbClr>
                </a:gs>
              </a:gsLst>
              <a:lin ang="32556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89" name="Freeform: Shape 388">
              <a:extLst>
                <a:ext uri="{FF2B5EF4-FFF2-40B4-BE49-F238E27FC236}">
                  <a16:creationId xmlns:a16="http://schemas.microsoft.com/office/drawing/2014/main" id="{40F01BD7-7B7A-CC5C-5EA3-73A8A2B23671}"/>
                </a:ext>
              </a:extLst>
            </p:cNvPr>
            <p:cNvSpPr/>
            <p:nvPr/>
          </p:nvSpPr>
          <p:spPr>
            <a:xfrm rot="19454999">
              <a:off x="2502027" y="1629074"/>
              <a:ext cx="32901" cy="789"/>
            </a:xfrm>
            <a:custGeom>
              <a:avLst/>
              <a:gdLst>
                <a:gd name="connsiteX0" fmla="*/ 0 w 379970"/>
                <a:gd name="connsiteY0" fmla="*/ 0 h 9121"/>
                <a:gd name="connsiteX1" fmla="*/ 379970 w 379970"/>
                <a:gd name="connsiteY1" fmla="*/ 0 h 9121"/>
                <a:gd name="connsiteX2" fmla="*/ 379970 w 379970"/>
                <a:gd name="connsiteY2" fmla="*/ 9122 h 9121"/>
                <a:gd name="connsiteX3" fmla="*/ 0 w 379970"/>
                <a:gd name="connsiteY3" fmla="*/ 9122 h 9121"/>
              </a:gdLst>
              <a:ahLst/>
              <a:cxnLst>
                <a:cxn ang="0">
                  <a:pos x="connsiteX0" y="connsiteY0"/>
                </a:cxn>
                <a:cxn ang="0">
                  <a:pos x="connsiteX1" y="connsiteY1"/>
                </a:cxn>
                <a:cxn ang="0">
                  <a:pos x="connsiteX2" y="connsiteY2"/>
                </a:cxn>
                <a:cxn ang="0">
                  <a:pos x="connsiteX3" y="connsiteY3"/>
                </a:cxn>
              </a:cxnLst>
              <a:rect l="l" t="t" r="r" b="b"/>
              <a:pathLst>
                <a:path w="379970" h="9121">
                  <a:moveTo>
                    <a:pt x="0" y="0"/>
                  </a:moveTo>
                  <a:lnTo>
                    <a:pt x="379970" y="0"/>
                  </a:lnTo>
                  <a:lnTo>
                    <a:pt x="379970" y="9122"/>
                  </a:lnTo>
                  <a:lnTo>
                    <a:pt x="0" y="9122"/>
                  </a:lnTo>
                  <a:close/>
                </a:path>
              </a:pathLst>
            </a:custGeom>
            <a:gradFill>
              <a:gsLst>
                <a:gs pos="0">
                  <a:srgbClr val="A6E0FF"/>
                </a:gs>
                <a:gs pos="67000">
                  <a:srgbClr val="E2F5FF">
                    <a:alpha val="31765"/>
                  </a:srgbClr>
                </a:gs>
                <a:gs pos="100000">
                  <a:srgbClr val="FFFFFF">
                    <a:alpha val="0"/>
                  </a:srgbClr>
                </a:gs>
              </a:gsLst>
              <a:lin ang="2145001"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90" name="Freeform: Shape 389">
              <a:extLst>
                <a:ext uri="{FF2B5EF4-FFF2-40B4-BE49-F238E27FC236}">
                  <a16:creationId xmlns:a16="http://schemas.microsoft.com/office/drawing/2014/main" id="{5FF2632E-1F8C-31D1-0427-A344454188FC}"/>
                </a:ext>
              </a:extLst>
            </p:cNvPr>
            <p:cNvSpPr/>
            <p:nvPr/>
          </p:nvSpPr>
          <p:spPr>
            <a:xfrm rot="20471400">
              <a:off x="2206818" y="1512318"/>
              <a:ext cx="789" cy="32932"/>
            </a:xfrm>
            <a:custGeom>
              <a:avLst/>
              <a:gdLst>
                <a:gd name="connsiteX0" fmla="*/ 0 w 9121"/>
                <a:gd name="connsiteY0" fmla="*/ 0 h 380335"/>
                <a:gd name="connsiteX1" fmla="*/ 9122 w 9121"/>
                <a:gd name="connsiteY1" fmla="*/ 0 h 380335"/>
                <a:gd name="connsiteX2" fmla="*/ 9122 w 9121"/>
                <a:gd name="connsiteY2" fmla="*/ 380335 h 380335"/>
                <a:gd name="connsiteX3" fmla="*/ 0 w 9121"/>
                <a:gd name="connsiteY3" fmla="*/ 380335 h 380335"/>
              </a:gdLst>
              <a:ahLst/>
              <a:cxnLst>
                <a:cxn ang="0">
                  <a:pos x="connsiteX0" y="connsiteY0"/>
                </a:cxn>
                <a:cxn ang="0">
                  <a:pos x="connsiteX1" y="connsiteY1"/>
                </a:cxn>
                <a:cxn ang="0">
                  <a:pos x="connsiteX2" y="connsiteY2"/>
                </a:cxn>
                <a:cxn ang="0">
                  <a:pos x="connsiteX3" y="connsiteY3"/>
                </a:cxn>
              </a:cxnLst>
              <a:rect l="l" t="t" r="r" b="b"/>
              <a:pathLst>
                <a:path w="9121" h="380335">
                  <a:moveTo>
                    <a:pt x="0" y="0"/>
                  </a:moveTo>
                  <a:lnTo>
                    <a:pt x="9122" y="0"/>
                  </a:lnTo>
                  <a:lnTo>
                    <a:pt x="9122" y="380335"/>
                  </a:lnTo>
                  <a:lnTo>
                    <a:pt x="0" y="380335"/>
                  </a:lnTo>
                  <a:close/>
                </a:path>
              </a:pathLst>
            </a:custGeom>
            <a:gradFill>
              <a:gsLst>
                <a:gs pos="0">
                  <a:srgbClr val="FFFFFF">
                    <a:alpha val="0"/>
                  </a:srgbClr>
                </a:gs>
                <a:gs pos="99000">
                  <a:srgbClr val="A6E0FF"/>
                </a:gs>
                <a:gs pos="100000">
                  <a:srgbClr val="A7E0FF">
                    <a:alpha val="98824"/>
                  </a:srgbClr>
                </a:gs>
                <a:gs pos="100000">
                  <a:srgbClr val="ACE2FF">
                    <a:alpha val="96863"/>
                  </a:srgbClr>
                </a:gs>
                <a:gs pos="100000">
                  <a:srgbClr val="B4E4FF">
                    <a:alpha val="91765"/>
                  </a:srgbClr>
                </a:gs>
                <a:gs pos="100000">
                  <a:srgbClr val="C0E9FF">
                    <a:alpha val="84706"/>
                  </a:srgbClr>
                </a:gs>
                <a:gs pos="100000">
                  <a:srgbClr val="CFEEFF">
                    <a:alpha val="76863"/>
                  </a:srgbClr>
                </a:gs>
                <a:gs pos="100000">
                  <a:srgbClr val="E2F5FF">
                    <a:alpha val="65882"/>
                  </a:srgbClr>
                </a:gs>
                <a:gs pos="100000">
                  <a:srgbClr val="F8FCFF">
                    <a:alpha val="53725"/>
                  </a:srgbClr>
                </a:gs>
                <a:gs pos="100000">
                  <a:srgbClr val="FFFFFF">
                    <a:alpha val="49804"/>
                  </a:srgbClr>
                </a:gs>
              </a:gsLst>
              <a:lin ang="11286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91" name="Freeform: Shape 390">
              <a:extLst>
                <a:ext uri="{FF2B5EF4-FFF2-40B4-BE49-F238E27FC236}">
                  <a16:creationId xmlns:a16="http://schemas.microsoft.com/office/drawing/2014/main" id="{3A5977A4-FD08-17BD-46CD-CE24C597447B}"/>
                </a:ext>
              </a:extLst>
            </p:cNvPr>
            <p:cNvSpPr/>
            <p:nvPr/>
          </p:nvSpPr>
          <p:spPr>
            <a:xfrm rot="17343600">
              <a:off x="2363847" y="1528705"/>
              <a:ext cx="33141" cy="789"/>
            </a:xfrm>
            <a:custGeom>
              <a:avLst/>
              <a:gdLst>
                <a:gd name="connsiteX0" fmla="*/ 0 w 382743"/>
                <a:gd name="connsiteY0" fmla="*/ 0 h 9121"/>
                <a:gd name="connsiteX1" fmla="*/ 382743 w 382743"/>
                <a:gd name="connsiteY1" fmla="*/ 0 h 9121"/>
                <a:gd name="connsiteX2" fmla="*/ 382743 w 382743"/>
                <a:gd name="connsiteY2" fmla="*/ 9122 h 9121"/>
                <a:gd name="connsiteX3" fmla="*/ 0 w 382743"/>
                <a:gd name="connsiteY3" fmla="*/ 9122 h 9121"/>
              </a:gdLst>
              <a:ahLst/>
              <a:cxnLst>
                <a:cxn ang="0">
                  <a:pos x="connsiteX0" y="connsiteY0"/>
                </a:cxn>
                <a:cxn ang="0">
                  <a:pos x="connsiteX1" y="connsiteY1"/>
                </a:cxn>
                <a:cxn ang="0">
                  <a:pos x="connsiteX2" y="connsiteY2"/>
                </a:cxn>
                <a:cxn ang="0">
                  <a:pos x="connsiteX3" y="connsiteY3"/>
                </a:cxn>
              </a:cxnLst>
              <a:rect l="l" t="t" r="r" b="b"/>
              <a:pathLst>
                <a:path w="382743" h="9121">
                  <a:moveTo>
                    <a:pt x="0" y="0"/>
                  </a:moveTo>
                  <a:lnTo>
                    <a:pt x="382743" y="0"/>
                  </a:lnTo>
                  <a:lnTo>
                    <a:pt x="382743" y="9122"/>
                  </a:lnTo>
                  <a:lnTo>
                    <a:pt x="0" y="9122"/>
                  </a:lnTo>
                  <a:close/>
                </a:path>
              </a:pathLst>
            </a:custGeom>
            <a:gradFill>
              <a:gsLst>
                <a:gs pos="0">
                  <a:srgbClr val="A6E0FF"/>
                </a:gs>
                <a:gs pos="67000">
                  <a:srgbClr val="E2F5FF">
                    <a:alpha val="31765"/>
                  </a:srgbClr>
                </a:gs>
                <a:gs pos="100000">
                  <a:srgbClr val="FFFFFF">
                    <a:alpha val="0"/>
                  </a:srgbClr>
                </a:gs>
              </a:gsLst>
              <a:lin ang="42564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92" name="Freeform: Shape 391">
              <a:extLst>
                <a:ext uri="{FF2B5EF4-FFF2-40B4-BE49-F238E27FC236}">
                  <a16:creationId xmlns:a16="http://schemas.microsoft.com/office/drawing/2014/main" id="{A8C0F8DC-34D2-8EAD-B5CC-CF3BFAC01232}"/>
                </a:ext>
              </a:extLst>
            </p:cNvPr>
            <p:cNvSpPr/>
            <p:nvPr/>
          </p:nvSpPr>
          <p:spPr>
            <a:xfrm rot="17310774">
              <a:off x="2110704" y="1645421"/>
              <a:ext cx="146303" cy="228304"/>
            </a:xfrm>
            <a:custGeom>
              <a:avLst/>
              <a:gdLst>
                <a:gd name="connsiteX0" fmla="*/ 82489 w 161233"/>
                <a:gd name="connsiteY0" fmla="*/ 0 h 251601"/>
                <a:gd name="connsiteX1" fmla="*/ 133195 w 161233"/>
                <a:gd name="connsiteY1" fmla="*/ 5112 h 251601"/>
                <a:gd name="connsiteX2" fmla="*/ 161233 w 161233"/>
                <a:gd name="connsiteY2" fmla="*/ 13815 h 251601"/>
                <a:gd name="connsiteX3" fmla="*/ 101228 w 161233"/>
                <a:gd name="connsiteY3" fmla="*/ 251601 h 251601"/>
                <a:gd name="connsiteX4" fmla="*/ 49542 w 161233"/>
                <a:gd name="connsiteY4" fmla="*/ 251601 h 251601"/>
                <a:gd name="connsiteX5" fmla="*/ 0 w 161233"/>
                <a:gd name="connsiteY5" fmla="*/ 14978 h 251601"/>
                <a:gd name="connsiteX6" fmla="*/ 31783 w 161233"/>
                <a:gd name="connsiteY6" fmla="*/ 5112 h 251601"/>
                <a:gd name="connsiteX7" fmla="*/ 82489 w 161233"/>
                <a:gd name="connsiteY7" fmla="*/ 0 h 25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233" h="251601">
                  <a:moveTo>
                    <a:pt x="82489" y="0"/>
                  </a:moveTo>
                  <a:cubicBezTo>
                    <a:pt x="99858" y="0"/>
                    <a:pt x="116817" y="1760"/>
                    <a:pt x="133195" y="5112"/>
                  </a:cubicBezTo>
                  <a:lnTo>
                    <a:pt x="161233" y="13815"/>
                  </a:lnTo>
                  <a:lnTo>
                    <a:pt x="101228" y="251601"/>
                  </a:lnTo>
                  <a:lnTo>
                    <a:pt x="49542" y="251601"/>
                  </a:lnTo>
                  <a:lnTo>
                    <a:pt x="0" y="14978"/>
                  </a:lnTo>
                  <a:lnTo>
                    <a:pt x="31783" y="5112"/>
                  </a:lnTo>
                  <a:cubicBezTo>
                    <a:pt x="48162" y="1760"/>
                    <a:pt x="65120" y="0"/>
                    <a:pt x="82489" y="0"/>
                  </a:cubicBezTo>
                  <a:close/>
                </a:path>
              </a:pathLst>
            </a:custGeom>
            <a:solidFill>
              <a:srgbClr val="0070F2">
                <a:alpha val="50000"/>
              </a:srgbClr>
            </a:solidFill>
            <a:ln w="729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grpSp>
      <p:grpSp>
        <p:nvGrpSpPr>
          <p:cNvPr id="393" name="Group 392">
            <a:extLst>
              <a:ext uri="{FF2B5EF4-FFF2-40B4-BE49-F238E27FC236}">
                <a16:creationId xmlns:a16="http://schemas.microsoft.com/office/drawing/2014/main" id="{726058CA-34D4-A051-49BD-2AD273A0848F}"/>
              </a:ext>
            </a:extLst>
          </p:cNvPr>
          <p:cNvGrpSpPr>
            <a:grpSpLocks noChangeAspect="1"/>
          </p:cNvGrpSpPr>
          <p:nvPr/>
        </p:nvGrpSpPr>
        <p:grpSpPr>
          <a:xfrm>
            <a:off x="10375305" y="1792434"/>
            <a:ext cx="768096" cy="379266"/>
            <a:chOff x="-9375677" y="1442064"/>
            <a:chExt cx="8903148" cy="4396141"/>
          </a:xfrm>
        </p:grpSpPr>
        <p:sp>
          <p:nvSpPr>
            <p:cNvPr id="394" name="Freeform: Shape 393">
              <a:extLst>
                <a:ext uri="{FF2B5EF4-FFF2-40B4-BE49-F238E27FC236}">
                  <a16:creationId xmlns:a16="http://schemas.microsoft.com/office/drawing/2014/main" id="{C689B563-5BAF-0302-B0B6-E0502DBD0284}"/>
                </a:ext>
              </a:extLst>
            </p:cNvPr>
            <p:cNvSpPr/>
            <p:nvPr/>
          </p:nvSpPr>
          <p:spPr>
            <a:xfrm>
              <a:off x="-8710553" y="1442064"/>
              <a:ext cx="7579919" cy="3773066"/>
            </a:xfrm>
            <a:custGeom>
              <a:avLst/>
              <a:gdLst>
                <a:gd name="connsiteX0" fmla="*/ 7579920 w 7579919"/>
                <a:gd name="connsiteY0" fmla="*/ 3773067 h 3773066"/>
                <a:gd name="connsiteX1" fmla="*/ 3789996 w 7579919"/>
                <a:gd name="connsiteY1" fmla="*/ 0 h 3773066"/>
                <a:gd name="connsiteX2" fmla="*/ 0 w 7579919"/>
                <a:gd name="connsiteY2" fmla="*/ 3773067 h 3773066"/>
                <a:gd name="connsiteX3" fmla="*/ 7579920 w 7579919"/>
                <a:gd name="connsiteY3" fmla="*/ 3773067 h 3773066"/>
              </a:gdLst>
              <a:ahLst/>
              <a:cxnLst>
                <a:cxn ang="0">
                  <a:pos x="connsiteX0" y="connsiteY0"/>
                </a:cxn>
                <a:cxn ang="0">
                  <a:pos x="connsiteX1" y="connsiteY1"/>
                </a:cxn>
                <a:cxn ang="0">
                  <a:pos x="connsiteX2" y="connsiteY2"/>
                </a:cxn>
                <a:cxn ang="0">
                  <a:pos x="connsiteX3" y="connsiteY3"/>
                </a:cxn>
              </a:cxnLst>
              <a:rect l="l" t="t" r="r" b="b"/>
              <a:pathLst>
                <a:path w="7579919" h="3773066">
                  <a:moveTo>
                    <a:pt x="7579920" y="3773067"/>
                  </a:moveTo>
                  <a:cubicBezTo>
                    <a:pt x="7579920" y="1689251"/>
                    <a:pt x="5883079" y="0"/>
                    <a:pt x="3789996" y="0"/>
                  </a:cubicBezTo>
                  <a:cubicBezTo>
                    <a:pt x="1696913" y="0"/>
                    <a:pt x="0" y="1689251"/>
                    <a:pt x="0" y="3773067"/>
                  </a:cubicBezTo>
                  <a:lnTo>
                    <a:pt x="7579920" y="3773067"/>
                  </a:lnTo>
                  <a:close/>
                </a:path>
              </a:pathLst>
            </a:custGeom>
            <a:solidFill>
              <a:srgbClr val="7858FF"/>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95" name="Freeform: Shape 394">
              <a:extLst>
                <a:ext uri="{FF2B5EF4-FFF2-40B4-BE49-F238E27FC236}">
                  <a16:creationId xmlns:a16="http://schemas.microsoft.com/office/drawing/2014/main" id="{38695070-87FF-2ADE-EB42-A2E8EC7022F8}"/>
                </a:ext>
              </a:extLst>
            </p:cNvPr>
            <p:cNvSpPr/>
            <p:nvPr/>
          </p:nvSpPr>
          <p:spPr>
            <a:xfrm>
              <a:off x="-8329561" y="1806126"/>
              <a:ext cx="6818008" cy="3409004"/>
            </a:xfrm>
            <a:custGeom>
              <a:avLst/>
              <a:gdLst>
                <a:gd name="connsiteX0" fmla="*/ 6818009 w 6818008"/>
                <a:gd name="connsiteY0" fmla="*/ 3409005 h 3409004"/>
                <a:gd name="connsiteX1" fmla="*/ 3409005 w 6818008"/>
                <a:gd name="connsiteY1" fmla="*/ 0 h 3409004"/>
                <a:gd name="connsiteX2" fmla="*/ 0 w 6818008"/>
                <a:gd name="connsiteY2" fmla="*/ 3409005 h 3409004"/>
                <a:gd name="connsiteX3" fmla="*/ 6818009 w 6818008"/>
                <a:gd name="connsiteY3" fmla="*/ 3409005 h 3409004"/>
              </a:gdLst>
              <a:ahLst/>
              <a:cxnLst>
                <a:cxn ang="0">
                  <a:pos x="connsiteX0" y="connsiteY0"/>
                </a:cxn>
                <a:cxn ang="0">
                  <a:pos x="connsiteX1" y="connsiteY1"/>
                </a:cxn>
                <a:cxn ang="0">
                  <a:pos x="connsiteX2" y="connsiteY2"/>
                </a:cxn>
                <a:cxn ang="0">
                  <a:pos x="connsiteX3" y="connsiteY3"/>
                </a:cxn>
              </a:cxnLst>
              <a:rect l="l" t="t" r="r" b="b"/>
              <a:pathLst>
                <a:path w="6818008" h="3409004">
                  <a:moveTo>
                    <a:pt x="6818009" y="3409005"/>
                  </a:moveTo>
                  <a:cubicBezTo>
                    <a:pt x="6818009" y="1526230"/>
                    <a:pt x="5291707" y="0"/>
                    <a:pt x="3409005" y="0"/>
                  </a:cubicBezTo>
                  <a:cubicBezTo>
                    <a:pt x="1526302" y="0"/>
                    <a:pt x="0" y="1526302"/>
                    <a:pt x="0" y="3409005"/>
                  </a:cubicBezTo>
                  <a:lnTo>
                    <a:pt x="6818009" y="3409005"/>
                  </a:lnTo>
                  <a:close/>
                </a:path>
              </a:pathLst>
            </a:custGeom>
            <a:solidFill>
              <a:srgbClr val="9B76FF">
                <a:alpha val="50000"/>
              </a:srgbClr>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96" name="Freeform: Shape 395">
              <a:extLst>
                <a:ext uri="{FF2B5EF4-FFF2-40B4-BE49-F238E27FC236}">
                  <a16:creationId xmlns:a16="http://schemas.microsoft.com/office/drawing/2014/main" id="{4FD89717-61D2-7319-14C3-D5D6A833878F}"/>
                </a:ext>
              </a:extLst>
            </p:cNvPr>
            <p:cNvSpPr/>
            <p:nvPr/>
          </p:nvSpPr>
          <p:spPr>
            <a:xfrm>
              <a:off x="-7950540" y="2188577"/>
              <a:ext cx="6053106" cy="3026553"/>
            </a:xfrm>
            <a:custGeom>
              <a:avLst/>
              <a:gdLst>
                <a:gd name="connsiteX0" fmla="*/ 0 w 6053106"/>
                <a:gd name="connsiteY0" fmla="*/ 3026553 h 3026553"/>
                <a:gd name="connsiteX1" fmla="*/ 3026553 w 6053106"/>
                <a:gd name="connsiteY1" fmla="*/ 0 h 3026553"/>
                <a:gd name="connsiteX2" fmla="*/ 6053107 w 6053106"/>
                <a:gd name="connsiteY2" fmla="*/ 3026553 h 3026553"/>
              </a:gdLst>
              <a:ahLst/>
              <a:cxnLst>
                <a:cxn ang="0">
                  <a:pos x="connsiteX0" y="connsiteY0"/>
                </a:cxn>
                <a:cxn ang="0">
                  <a:pos x="connsiteX1" y="connsiteY1"/>
                </a:cxn>
                <a:cxn ang="0">
                  <a:pos x="connsiteX2" y="connsiteY2"/>
                </a:cxn>
              </a:cxnLst>
              <a:rect l="l" t="t" r="r" b="b"/>
              <a:pathLst>
                <a:path w="6053106" h="3026553">
                  <a:moveTo>
                    <a:pt x="0" y="3026553"/>
                  </a:moveTo>
                  <a:cubicBezTo>
                    <a:pt x="0" y="1355035"/>
                    <a:pt x="1355035" y="0"/>
                    <a:pt x="3026553" y="0"/>
                  </a:cubicBezTo>
                  <a:cubicBezTo>
                    <a:pt x="4698072" y="0"/>
                    <a:pt x="6053107" y="1355035"/>
                    <a:pt x="6053107" y="3026553"/>
                  </a:cubicBezTo>
                </a:path>
              </a:pathLst>
            </a:custGeom>
            <a:solidFill>
              <a:srgbClr val="4DB1FF"/>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97" name="Freeform: Shape 396">
              <a:extLst>
                <a:ext uri="{FF2B5EF4-FFF2-40B4-BE49-F238E27FC236}">
                  <a16:creationId xmlns:a16="http://schemas.microsoft.com/office/drawing/2014/main" id="{24B013DF-98FD-8BD0-BBEB-BF72B1C775EC}"/>
                </a:ext>
              </a:extLst>
            </p:cNvPr>
            <p:cNvSpPr/>
            <p:nvPr/>
          </p:nvSpPr>
          <p:spPr>
            <a:xfrm>
              <a:off x="-9375677" y="5082392"/>
              <a:ext cx="8903148" cy="755813"/>
            </a:xfrm>
            <a:custGeom>
              <a:avLst/>
              <a:gdLst>
                <a:gd name="connsiteX0" fmla="*/ 8884943 w 8903148"/>
                <a:gd name="connsiteY0" fmla="*/ 682224 h 755813"/>
                <a:gd name="connsiteX1" fmla="*/ 8420471 w 8903148"/>
                <a:gd name="connsiteY1" fmla="*/ 45900 h 755813"/>
                <a:gd name="connsiteX2" fmla="*/ 8325095 w 8903148"/>
                <a:gd name="connsiteY2" fmla="*/ 0 h 755813"/>
                <a:gd name="connsiteX3" fmla="*/ 561867 w 8903148"/>
                <a:gd name="connsiteY3" fmla="*/ 0 h 755813"/>
                <a:gd name="connsiteX4" fmla="*/ 458392 w 8903148"/>
                <a:gd name="connsiteY4" fmla="*/ 59035 h 755813"/>
                <a:gd name="connsiteX5" fmla="*/ 8951 w 8903148"/>
                <a:gd name="connsiteY5" fmla="*/ 696673 h 755813"/>
                <a:gd name="connsiteX6" fmla="*/ 8951 w 8903148"/>
                <a:gd name="connsiteY6" fmla="*/ 743886 h 755813"/>
                <a:gd name="connsiteX7" fmla="*/ 52516 w 8903148"/>
                <a:gd name="connsiteY7" fmla="*/ 755708 h 755813"/>
                <a:gd name="connsiteX8" fmla="*/ 8860497 w 8903148"/>
                <a:gd name="connsiteY8" fmla="*/ 755708 h 755813"/>
                <a:gd name="connsiteX9" fmla="*/ 8899976 w 8903148"/>
                <a:gd name="connsiteY9" fmla="*/ 737319 h 755813"/>
                <a:gd name="connsiteX10" fmla="*/ 8885016 w 8903148"/>
                <a:gd name="connsiteY10" fmla="*/ 682224 h 75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03148" h="755813">
                  <a:moveTo>
                    <a:pt x="8884943" y="682224"/>
                  </a:moveTo>
                  <a:lnTo>
                    <a:pt x="8420471" y="45900"/>
                  </a:lnTo>
                  <a:cubicBezTo>
                    <a:pt x="8420471" y="45900"/>
                    <a:pt x="8402738" y="0"/>
                    <a:pt x="8325095" y="0"/>
                  </a:cubicBezTo>
                  <a:lnTo>
                    <a:pt x="561867" y="0"/>
                  </a:lnTo>
                  <a:cubicBezTo>
                    <a:pt x="561867" y="0"/>
                    <a:pt x="499184" y="1314"/>
                    <a:pt x="458392" y="59035"/>
                  </a:cubicBezTo>
                  <a:cubicBezTo>
                    <a:pt x="417527" y="116757"/>
                    <a:pt x="8951" y="696673"/>
                    <a:pt x="8951" y="696673"/>
                  </a:cubicBezTo>
                  <a:cubicBezTo>
                    <a:pt x="8951" y="696673"/>
                    <a:pt x="-11189" y="721484"/>
                    <a:pt x="8951" y="743886"/>
                  </a:cubicBezTo>
                  <a:cubicBezTo>
                    <a:pt x="21138" y="757387"/>
                    <a:pt x="52516" y="755708"/>
                    <a:pt x="52516" y="755708"/>
                  </a:cubicBezTo>
                  <a:lnTo>
                    <a:pt x="8860497" y="755708"/>
                  </a:lnTo>
                  <a:cubicBezTo>
                    <a:pt x="8860497" y="755708"/>
                    <a:pt x="8887716" y="758335"/>
                    <a:pt x="8899976" y="737319"/>
                  </a:cubicBezTo>
                  <a:cubicBezTo>
                    <a:pt x="8912235" y="716303"/>
                    <a:pt x="8885016" y="682224"/>
                    <a:pt x="8885016" y="682224"/>
                  </a:cubicBezTo>
                  <a:close/>
                </a:path>
              </a:pathLst>
            </a:custGeom>
            <a:gradFill>
              <a:gsLst>
                <a:gs pos="0">
                  <a:srgbClr val="0070F2"/>
                </a:gs>
                <a:gs pos="7000">
                  <a:srgbClr val="0070F2"/>
                </a:gs>
                <a:gs pos="14000">
                  <a:srgbClr val="0070F2"/>
                </a:gs>
                <a:gs pos="100000">
                  <a:srgbClr val="0070F2"/>
                </a:gs>
              </a:gsLst>
              <a:lin ang="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98" name="Freeform: Shape 397">
              <a:extLst>
                <a:ext uri="{FF2B5EF4-FFF2-40B4-BE49-F238E27FC236}">
                  <a16:creationId xmlns:a16="http://schemas.microsoft.com/office/drawing/2014/main" id="{E7113568-950A-4935-2764-133297A37AA2}"/>
                </a:ext>
              </a:extLst>
            </p:cNvPr>
            <p:cNvSpPr/>
            <p:nvPr/>
          </p:nvSpPr>
          <p:spPr>
            <a:xfrm>
              <a:off x="-7564440" y="2578471"/>
              <a:ext cx="5273317" cy="2636658"/>
            </a:xfrm>
            <a:custGeom>
              <a:avLst/>
              <a:gdLst>
                <a:gd name="connsiteX0" fmla="*/ 0 w 5273317"/>
                <a:gd name="connsiteY0" fmla="*/ 2636659 h 2636658"/>
                <a:gd name="connsiteX1" fmla="*/ 2636659 w 5273317"/>
                <a:gd name="connsiteY1" fmla="*/ 0 h 2636658"/>
                <a:gd name="connsiteX2" fmla="*/ 5273317 w 5273317"/>
                <a:gd name="connsiteY2" fmla="*/ 2636659 h 2636658"/>
              </a:gdLst>
              <a:ahLst/>
              <a:cxnLst>
                <a:cxn ang="0">
                  <a:pos x="connsiteX0" y="connsiteY0"/>
                </a:cxn>
                <a:cxn ang="0">
                  <a:pos x="connsiteX1" y="connsiteY1"/>
                </a:cxn>
                <a:cxn ang="0">
                  <a:pos x="connsiteX2" y="connsiteY2"/>
                </a:cxn>
              </a:cxnLst>
              <a:rect l="l" t="t" r="r" b="b"/>
              <a:pathLst>
                <a:path w="5273317" h="2636658">
                  <a:moveTo>
                    <a:pt x="0" y="2636659"/>
                  </a:moveTo>
                  <a:cubicBezTo>
                    <a:pt x="0" y="1180484"/>
                    <a:pt x="1180483" y="0"/>
                    <a:pt x="2636659" y="0"/>
                  </a:cubicBezTo>
                  <a:cubicBezTo>
                    <a:pt x="4092834" y="0"/>
                    <a:pt x="5273317" y="1180484"/>
                    <a:pt x="5273317" y="2636659"/>
                  </a:cubicBezTo>
                </a:path>
              </a:pathLst>
            </a:custGeom>
            <a:solidFill>
              <a:srgbClr val="A6E0FF"/>
            </a:soli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399" name="Freeform: Shape 398">
              <a:extLst>
                <a:ext uri="{FF2B5EF4-FFF2-40B4-BE49-F238E27FC236}">
                  <a16:creationId xmlns:a16="http://schemas.microsoft.com/office/drawing/2014/main" id="{1E89680E-43B6-6F81-E800-2643686E84DE}"/>
                </a:ext>
              </a:extLst>
            </p:cNvPr>
            <p:cNvSpPr/>
            <p:nvPr/>
          </p:nvSpPr>
          <p:spPr>
            <a:xfrm>
              <a:off x="-5807689" y="4330990"/>
              <a:ext cx="1768280" cy="884140"/>
            </a:xfrm>
            <a:custGeom>
              <a:avLst/>
              <a:gdLst>
                <a:gd name="connsiteX0" fmla="*/ 0 w 1768280"/>
                <a:gd name="connsiteY0" fmla="*/ 884140 h 884140"/>
                <a:gd name="connsiteX1" fmla="*/ 884140 w 1768280"/>
                <a:gd name="connsiteY1" fmla="*/ 0 h 884140"/>
                <a:gd name="connsiteX2" fmla="*/ 1768281 w 1768280"/>
                <a:gd name="connsiteY2" fmla="*/ 884140 h 884140"/>
              </a:gdLst>
              <a:ahLst/>
              <a:cxnLst>
                <a:cxn ang="0">
                  <a:pos x="connsiteX0" y="connsiteY0"/>
                </a:cxn>
                <a:cxn ang="0">
                  <a:pos x="connsiteX1" y="connsiteY1"/>
                </a:cxn>
                <a:cxn ang="0">
                  <a:pos x="connsiteX2" y="connsiteY2"/>
                </a:cxn>
              </a:cxnLst>
              <a:rect l="l" t="t" r="r" b="b"/>
              <a:pathLst>
                <a:path w="1768280" h="884140">
                  <a:moveTo>
                    <a:pt x="0" y="884140"/>
                  </a:moveTo>
                  <a:cubicBezTo>
                    <a:pt x="0" y="395878"/>
                    <a:pt x="395805" y="0"/>
                    <a:pt x="884140" y="0"/>
                  </a:cubicBezTo>
                  <a:cubicBezTo>
                    <a:pt x="1372475" y="0"/>
                    <a:pt x="1768281" y="395805"/>
                    <a:pt x="1768281" y="884140"/>
                  </a:cubicBezTo>
                </a:path>
              </a:pathLst>
            </a:custGeom>
            <a:solidFill>
              <a:srgbClr val="0070F2"/>
            </a:solidFill>
            <a:ln w="7292" cap="flat">
              <a:solidFill>
                <a:srgbClr val="0070F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400" name="Freeform: Shape 399">
              <a:extLst>
                <a:ext uri="{FF2B5EF4-FFF2-40B4-BE49-F238E27FC236}">
                  <a16:creationId xmlns:a16="http://schemas.microsoft.com/office/drawing/2014/main" id="{D1F0A54F-4E7D-2359-38A2-76C1DE80F1C2}"/>
                </a:ext>
              </a:extLst>
            </p:cNvPr>
            <p:cNvSpPr/>
            <p:nvPr/>
          </p:nvSpPr>
          <p:spPr>
            <a:xfrm rot="18304802">
              <a:off x="-6521062" y="3376491"/>
              <a:ext cx="7297" cy="1311469"/>
            </a:xfrm>
            <a:custGeom>
              <a:avLst/>
              <a:gdLst>
                <a:gd name="connsiteX0" fmla="*/ 0 w 7297"/>
                <a:gd name="connsiteY0" fmla="*/ 0 h 1311469"/>
                <a:gd name="connsiteX1" fmla="*/ 7297 w 7297"/>
                <a:gd name="connsiteY1" fmla="*/ 0 h 1311469"/>
                <a:gd name="connsiteX2" fmla="*/ 7297 w 7297"/>
                <a:gd name="connsiteY2" fmla="*/ 1311470 h 1311469"/>
                <a:gd name="connsiteX3" fmla="*/ 0 w 7297"/>
                <a:gd name="connsiteY3" fmla="*/ 1311470 h 1311469"/>
              </a:gdLst>
              <a:ahLst/>
              <a:cxnLst>
                <a:cxn ang="0">
                  <a:pos x="connsiteX0" y="connsiteY0"/>
                </a:cxn>
                <a:cxn ang="0">
                  <a:pos x="connsiteX1" y="connsiteY1"/>
                </a:cxn>
                <a:cxn ang="0">
                  <a:pos x="connsiteX2" y="connsiteY2"/>
                </a:cxn>
                <a:cxn ang="0">
                  <a:pos x="connsiteX3" y="connsiteY3"/>
                </a:cxn>
              </a:cxnLst>
              <a:rect l="l" t="t" r="r" b="b"/>
              <a:pathLst>
                <a:path w="7297" h="1311469">
                  <a:moveTo>
                    <a:pt x="0" y="0"/>
                  </a:moveTo>
                  <a:lnTo>
                    <a:pt x="7297" y="0"/>
                  </a:lnTo>
                  <a:lnTo>
                    <a:pt x="7297" y="1311470"/>
                  </a:lnTo>
                  <a:lnTo>
                    <a:pt x="0" y="1311470"/>
                  </a:lnTo>
                  <a:close/>
                </a:path>
              </a:pathLst>
            </a:custGeom>
            <a:gradFill>
              <a:gsLst>
                <a:gs pos="0">
                  <a:srgbClr val="4DB1FF"/>
                </a:gs>
                <a:gs pos="50000">
                  <a:srgbClr val="79C8FF"/>
                </a:gs>
                <a:gs pos="100000">
                  <a:srgbClr val="A6E0FF"/>
                </a:gs>
              </a:gsLst>
              <a:lin ang="3295198"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401" name="Freeform: Shape 400">
              <a:extLst>
                <a:ext uri="{FF2B5EF4-FFF2-40B4-BE49-F238E27FC236}">
                  <a16:creationId xmlns:a16="http://schemas.microsoft.com/office/drawing/2014/main" id="{8D5E9620-AAE9-BFA4-AC34-79C9004C0134}"/>
                </a:ext>
              </a:extLst>
            </p:cNvPr>
            <p:cNvSpPr/>
            <p:nvPr/>
          </p:nvSpPr>
          <p:spPr>
            <a:xfrm rot="19472402">
              <a:off x="-3980865" y="4028801"/>
              <a:ext cx="1299794" cy="7297"/>
            </a:xfrm>
            <a:custGeom>
              <a:avLst/>
              <a:gdLst>
                <a:gd name="connsiteX0" fmla="*/ 0 w 1299794"/>
                <a:gd name="connsiteY0" fmla="*/ 0 h 7297"/>
                <a:gd name="connsiteX1" fmla="*/ 1299794 w 1299794"/>
                <a:gd name="connsiteY1" fmla="*/ 0 h 7297"/>
                <a:gd name="connsiteX2" fmla="*/ 1299794 w 1299794"/>
                <a:gd name="connsiteY2" fmla="*/ 7297 h 7297"/>
                <a:gd name="connsiteX3" fmla="*/ 0 w 1299794"/>
                <a:gd name="connsiteY3" fmla="*/ 7297 h 7297"/>
              </a:gdLst>
              <a:ahLst/>
              <a:cxnLst>
                <a:cxn ang="0">
                  <a:pos x="connsiteX0" y="connsiteY0"/>
                </a:cxn>
                <a:cxn ang="0">
                  <a:pos x="connsiteX1" y="connsiteY1"/>
                </a:cxn>
                <a:cxn ang="0">
                  <a:pos x="connsiteX2" y="connsiteY2"/>
                </a:cxn>
                <a:cxn ang="0">
                  <a:pos x="connsiteX3" y="connsiteY3"/>
                </a:cxn>
              </a:cxnLst>
              <a:rect l="l" t="t" r="r" b="b"/>
              <a:pathLst>
                <a:path w="1299794" h="7297">
                  <a:moveTo>
                    <a:pt x="0" y="0"/>
                  </a:moveTo>
                  <a:lnTo>
                    <a:pt x="1299794" y="0"/>
                  </a:lnTo>
                  <a:lnTo>
                    <a:pt x="1299794" y="7297"/>
                  </a:lnTo>
                  <a:lnTo>
                    <a:pt x="0" y="7297"/>
                  </a:lnTo>
                  <a:close/>
                </a:path>
              </a:pathLst>
            </a:custGeom>
            <a:gradFill>
              <a:gsLst>
                <a:gs pos="0">
                  <a:srgbClr val="A6E0FF"/>
                </a:gs>
                <a:gs pos="77000">
                  <a:srgbClr val="4DB1FF"/>
                </a:gs>
              </a:gsLst>
              <a:lin ang="2127598"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402" name="Freeform: Shape 401">
              <a:extLst>
                <a:ext uri="{FF2B5EF4-FFF2-40B4-BE49-F238E27FC236}">
                  <a16:creationId xmlns:a16="http://schemas.microsoft.com/office/drawing/2014/main" id="{272038E4-F7FD-2FB9-952F-D84CB879528B}"/>
                </a:ext>
              </a:extLst>
            </p:cNvPr>
            <p:cNvSpPr/>
            <p:nvPr/>
          </p:nvSpPr>
          <p:spPr>
            <a:xfrm rot="17278800">
              <a:off x="-4960092" y="3323830"/>
              <a:ext cx="1301618" cy="7297"/>
            </a:xfrm>
            <a:custGeom>
              <a:avLst/>
              <a:gdLst>
                <a:gd name="connsiteX0" fmla="*/ 0 w 1301618"/>
                <a:gd name="connsiteY0" fmla="*/ 0 h 7297"/>
                <a:gd name="connsiteX1" fmla="*/ 1301618 w 1301618"/>
                <a:gd name="connsiteY1" fmla="*/ 0 h 7297"/>
                <a:gd name="connsiteX2" fmla="*/ 1301618 w 1301618"/>
                <a:gd name="connsiteY2" fmla="*/ 7297 h 7297"/>
                <a:gd name="connsiteX3" fmla="*/ 0 w 1301618"/>
                <a:gd name="connsiteY3" fmla="*/ 7297 h 7297"/>
              </a:gdLst>
              <a:ahLst/>
              <a:cxnLst>
                <a:cxn ang="0">
                  <a:pos x="connsiteX0" y="connsiteY0"/>
                </a:cxn>
                <a:cxn ang="0">
                  <a:pos x="connsiteX1" y="connsiteY1"/>
                </a:cxn>
                <a:cxn ang="0">
                  <a:pos x="connsiteX2" y="connsiteY2"/>
                </a:cxn>
                <a:cxn ang="0">
                  <a:pos x="connsiteX3" y="connsiteY3"/>
                </a:cxn>
              </a:cxnLst>
              <a:rect l="l" t="t" r="r" b="b"/>
              <a:pathLst>
                <a:path w="1301618" h="7297">
                  <a:moveTo>
                    <a:pt x="0" y="0"/>
                  </a:moveTo>
                  <a:lnTo>
                    <a:pt x="1301618" y="0"/>
                  </a:lnTo>
                  <a:lnTo>
                    <a:pt x="1301618" y="7297"/>
                  </a:lnTo>
                  <a:lnTo>
                    <a:pt x="0" y="7297"/>
                  </a:lnTo>
                  <a:close/>
                </a:path>
              </a:pathLst>
            </a:custGeom>
            <a:gradFill>
              <a:gsLst>
                <a:gs pos="0">
                  <a:srgbClr val="A6E0FF"/>
                </a:gs>
                <a:gs pos="77000">
                  <a:srgbClr val="4DB1FF"/>
                </a:gs>
              </a:gsLst>
              <a:lin ang="43212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403" name="Freeform: Shape 402">
              <a:extLst>
                <a:ext uri="{FF2B5EF4-FFF2-40B4-BE49-F238E27FC236}">
                  <a16:creationId xmlns:a16="http://schemas.microsoft.com/office/drawing/2014/main" id="{A96E2C7B-2E4C-D771-BE9D-D0416B05BAD2}"/>
                </a:ext>
              </a:extLst>
            </p:cNvPr>
            <p:cNvSpPr/>
            <p:nvPr/>
          </p:nvSpPr>
          <p:spPr>
            <a:xfrm rot="20515199">
              <a:off x="-5531658" y="2676456"/>
              <a:ext cx="7297" cy="1300742"/>
            </a:xfrm>
            <a:custGeom>
              <a:avLst/>
              <a:gdLst>
                <a:gd name="connsiteX0" fmla="*/ 0 w 7297"/>
                <a:gd name="connsiteY0" fmla="*/ 0 h 1300742"/>
                <a:gd name="connsiteX1" fmla="*/ 7297 w 7297"/>
                <a:gd name="connsiteY1" fmla="*/ 0 h 1300742"/>
                <a:gd name="connsiteX2" fmla="*/ 7297 w 7297"/>
                <a:gd name="connsiteY2" fmla="*/ 1300743 h 1300742"/>
                <a:gd name="connsiteX3" fmla="*/ 0 w 7297"/>
                <a:gd name="connsiteY3" fmla="*/ 1300743 h 1300742"/>
              </a:gdLst>
              <a:ahLst/>
              <a:cxnLst>
                <a:cxn ang="0">
                  <a:pos x="connsiteX0" y="connsiteY0"/>
                </a:cxn>
                <a:cxn ang="0">
                  <a:pos x="connsiteX1" y="connsiteY1"/>
                </a:cxn>
                <a:cxn ang="0">
                  <a:pos x="connsiteX2" y="connsiteY2"/>
                </a:cxn>
                <a:cxn ang="0">
                  <a:pos x="connsiteX3" y="connsiteY3"/>
                </a:cxn>
              </a:cxnLst>
              <a:rect l="l" t="t" r="r" b="b"/>
              <a:pathLst>
                <a:path w="7297" h="1300742">
                  <a:moveTo>
                    <a:pt x="0" y="0"/>
                  </a:moveTo>
                  <a:lnTo>
                    <a:pt x="7297" y="0"/>
                  </a:lnTo>
                  <a:lnTo>
                    <a:pt x="7297" y="1300743"/>
                  </a:lnTo>
                  <a:lnTo>
                    <a:pt x="0" y="1300743"/>
                  </a:lnTo>
                  <a:close/>
                </a:path>
              </a:pathLst>
            </a:custGeom>
            <a:gradFill>
              <a:gsLst>
                <a:gs pos="0">
                  <a:srgbClr val="4DB1FF"/>
                </a:gs>
                <a:gs pos="50000">
                  <a:srgbClr val="79C8FF"/>
                </a:gs>
                <a:gs pos="100000">
                  <a:srgbClr val="A6E0FF"/>
                </a:gs>
              </a:gsLst>
              <a:lin ang="1084801"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404" name="Freeform: Shape 403">
              <a:extLst>
                <a:ext uri="{FF2B5EF4-FFF2-40B4-BE49-F238E27FC236}">
                  <a16:creationId xmlns:a16="http://schemas.microsoft.com/office/drawing/2014/main" id="{027D187A-3CC8-F728-1046-064F493A9EEA}"/>
                </a:ext>
              </a:extLst>
            </p:cNvPr>
            <p:cNvSpPr/>
            <p:nvPr/>
          </p:nvSpPr>
          <p:spPr>
            <a:xfrm>
              <a:off x="-6252897" y="3878047"/>
              <a:ext cx="2664680" cy="1332340"/>
            </a:xfrm>
            <a:custGeom>
              <a:avLst/>
              <a:gdLst>
                <a:gd name="connsiteX0" fmla="*/ 2664680 w 2664680"/>
                <a:gd name="connsiteY0" fmla="*/ 1332340 h 1332340"/>
                <a:gd name="connsiteX1" fmla="*/ 2657383 w 2664680"/>
                <a:gd name="connsiteY1" fmla="*/ 1332340 h 1332340"/>
                <a:gd name="connsiteX2" fmla="*/ 1332340 w 2664680"/>
                <a:gd name="connsiteY2" fmla="*/ 7297 h 1332340"/>
                <a:gd name="connsiteX3" fmla="*/ 7297 w 2664680"/>
                <a:gd name="connsiteY3" fmla="*/ 1332340 h 1332340"/>
                <a:gd name="connsiteX4" fmla="*/ 0 w 2664680"/>
                <a:gd name="connsiteY4" fmla="*/ 1332340 h 1332340"/>
                <a:gd name="connsiteX5" fmla="*/ 1332340 w 2664680"/>
                <a:gd name="connsiteY5" fmla="*/ 0 h 1332340"/>
                <a:gd name="connsiteX6" fmla="*/ 2664680 w 2664680"/>
                <a:gd name="connsiteY6" fmla="*/ 1332340 h 1332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4680" h="1332340">
                  <a:moveTo>
                    <a:pt x="2664680" y="1332340"/>
                  </a:moveTo>
                  <a:lnTo>
                    <a:pt x="2657383" y="1332340"/>
                  </a:lnTo>
                  <a:cubicBezTo>
                    <a:pt x="2657383" y="601735"/>
                    <a:pt x="2062945" y="7297"/>
                    <a:pt x="1332340" y="7297"/>
                  </a:cubicBezTo>
                  <a:cubicBezTo>
                    <a:pt x="601735" y="7297"/>
                    <a:pt x="7297" y="601735"/>
                    <a:pt x="7297" y="1332340"/>
                  </a:cubicBezTo>
                  <a:lnTo>
                    <a:pt x="0" y="1332340"/>
                  </a:lnTo>
                  <a:cubicBezTo>
                    <a:pt x="0" y="597722"/>
                    <a:pt x="597721" y="0"/>
                    <a:pt x="1332340" y="0"/>
                  </a:cubicBezTo>
                  <a:cubicBezTo>
                    <a:pt x="2066959" y="0"/>
                    <a:pt x="2664680" y="597722"/>
                    <a:pt x="2664680" y="1332340"/>
                  </a:cubicBezTo>
                  <a:close/>
                </a:path>
              </a:pathLst>
            </a:custGeom>
            <a:gradFill>
              <a:gsLst>
                <a:gs pos="0">
                  <a:srgbClr val="A6E0FF"/>
                </a:gs>
                <a:gs pos="4000">
                  <a:srgbClr val="8CD2FF"/>
                </a:gs>
                <a:gs pos="8000">
                  <a:srgbClr val="76C6FF"/>
                </a:gs>
                <a:gs pos="14000">
                  <a:srgbClr val="65BDFF"/>
                </a:gs>
                <a:gs pos="20000">
                  <a:srgbClr val="59B7FF"/>
                </a:gs>
                <a:gs pos="29000">
                  <a:srgbClr val="52B3FF"/>
                </a:gs>
                <a:gs pos="54000">
                  <a:srgbClr val="51B3FF"/>
                </a:gs>
                <a:gs pos="54000">
                  <a:srgbClr val="4DB1FF"/>
                </a:gs>
                <a:gs pos="70000">
                  <a:srgbClr val="4FB2FF"/>
                </a:gs>
                <a:gs pos="78000">
                  <a:srgbClr val="57B6FF"/>
                </a:gs>
                <a:gs pos="85000">
                  <a:srgbClr val="65BDFF"/>
                </a:gs>
                <a:gs pos="91000">
                  <a:srgbClr val="78C8FF"/>
                </a:gs>
                <a:gs pos="97000">
                  <a:srgbClr val="91D5FF"/>
                </a:gs>
                <a:gs pos="100000">
                  <a:srgbClr val="A6E0FF"/>
                </a:gs>
                <a:gs pos="100000">
                  <a:srgbClr val="4DB1FF"/>
                </a:gs>
              </a:gsLst>
              <a:lin ang="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405" name="Freeform: Shape 404">
              <a:extLst>
                <a:ext uri="{FF2B5EF4-FFF2-40B4-BE49-F238E27FC236}">
                  <a16:creationId xmlns:a16="http://schemas.microsoft.com/office/drawing/2014/main" id="{2C2E0FAA-5840-A763-017C-B0355A00D499}"/>
                </a:ext>
              </a:extLst>
            </p:cNvPr>
            <p:cNvSpPr/>
            <p:nvPr/>
          </p:nvSpPr>
          <p:spPr>
            <a:xfrm rot="18344400">
              <a:off x="-7527309" y="3129462"/>
              <a:ext cx="9121" cy="379970"/>
            </a:xfrm>
            <a:custGeom>
              <a:avLst/>
              <a:gdLst>
                <a:gd name="connsiteX0" fmla="*/ 0 w 9121"/>
                <a:gd name="connsiteY0" fmla="*/ 0 h 379970"/>
                <a:gd name="connsiteX1" fmla="*/ 9122 w 9121"/>
                <a:gd name="connsiteY1" fmla="*/ 0 h 379970"/>
                <a:gd name="connsiteX2" fmla="*/ 9122 w 9121"/>
                <a:gd name="connsiteY2" fmla="*/ 379970 h 379970"/>
                <a:gd name="connsiteX3" fmla="*/ 0 w 9121"/>
                <a:gd name="connsiteY3" fmla="*/ 379970 h 379970"/>
              </a:gdLst>
              <a:ahLst/>
              <a:cxnLst>
                <a:cxn ang="0">
                  <a:pos x="connsiteX0" y="connsiteY0"/>
                </a:cxn>
                <a:cxn ang="0">
                  <a:pos x="connsiteX1" y="connsiteY1"/>
                </a:cxn>
                <a:cxn ang="0">
                  <a:pos x="connsiteX2" y="connsiteY2"/>
                </a:cxn>
                <a:cxn ang="0">
                  <a:pos x="connsiteX3" y="connsiteY3"/>
                </a:cxn>
              </a:cxnLst>
              <a:rect l="l" t="t" r="r" b="b"/>
              <a:pathLst>
                <a:path w="9121" h="379970">
                  <a:moveTo>
                    <a:pt x="0" y="0"/>
                  </a:moveTo>
                  <a:lnTo>
                    <a:pt x="9122" y="0"/>
                  </a:lnTo>
                  <a:lnTo>
                    <a:pt x="9122" y="379970"/>
                  </a:lnTo>
                  <a:lnTo>
                    <a:pt x="0" y="379970"/>
                  </a:lnTo>
                  <a:close/>
                </a:path>
              </a:pathLst>
            </a:custGeom>
            <a:gradFill>
              <a:gsLst>
                <a:gs pos="0">
                  <a:srgbClr val="FFFFFF">
                    <a:alpha val="0"/>
                  </a:srgbClr>
                </a:gs>
                <a:gs pos="99000">
                  <a:srgbClr val="A6E0FF"/>
                </a:gs>
                <a:gs pos="100000">
                  <a:srgbClr val="A7E0FF">
                    <a:alpha val="98824"/>
                  </a:srgbClr>
                </a:gs>
                <a:gs pos="100000">
                  <a:srgbClr val="ACE2FF">
                    <a:alpha val="96863"/>
                  </a:srgbClr>
                </a:gs>
                <a:gs pos="100000">
                  <a:srgbClr val="B4E4FF">
                    <a:alpha val="91765"/>
                  </a:srgbClr>
                </a:gs>
                <a:gs pos="100000">
                  <a:srgbClr val="C0E9FF">
                    <a:alpha val="84706"/>
                  </a:srgbClr>
                </a:gs>
                <a:gs pos="100000">
                  <a:srgbClr val="CFEEFF">
                    <a:alpha val="76863"/>
                  </a:srgbClr>
                </a:gs>
                <a:gs pos="100000">
                  <a:srgbClr val="E2F5FF">
                    <a:alpha val="65882"/>
                  </a:srgbClr>
                </a:gs>
                <a:gs pos="100000">
                  <a:srgbClr val="F8FCFF">
                    <a:alpha val="53725"/>
                  </a:srgbClr>
                </a:gs>
                <a:gs pos="100000">
                  <a:srgbClr val="FFFFFF">
                    <a:alpha val="49804"/>
                  </a:srgbClr>
                </a:gs>
              </a:gsLst>
              <a:lin ang="32556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406" name="Freeform: Shape 405">
              <a:extLst>
                <a:ext uri="{FF2B5EF4-FFF2-40B4-BE49-F238E27FC236}">
                  <a16:creationId xmlns:a16="http://schemas.microsoft.com/office/drawing/2014/main" id="{35DF699F-E91D-A43A-60A9-ACF6A8458AC3}"/>
                </a:ext>
              </a:extLst>
            </p:cNvPr>
            <p:cNvSpPr/>
            <p:nvPr/>
          </p:nvSpPr>
          <p:spPr>
            <a:xfrm rot="19454999">
              <a:off x="-2512610" y="3311581"/>
              <a:ext cx="379970" cy="9121"/>
            </a:xfrm>
            <a:custGeom>
              <a:avLst/>
              <a:gdLst>
                <a:gd name="connsiteX0" fmla="*/ 0 w 379970"/>
                <a:gd name="connsiteY0" fmla="*/ 0 h 9121"/>
                <a:gd name="connsiteX1" fmla="*/ 379970 w 379970"/>
                <a:gd name="connsiteY1" fmla="*/ 0 h 9121"/>
                <a:gd name="connsiteX2" fmla="*/ 379970 w 379970"/>
                <a:gd name="connsiteY2" fmla="*/ 9122 h 9121"/>
                <a:gd name="connsiteX3" fmla="*/ 0 w 379970"/>
                <a:gd name="connsiteY3" fmla="*/ 9122 h 9121"/>
              </a:gdLst>
              <a:ahLst/>
              <a:cxnLst>
                <a:cxn ang="0">
                  <a:pos x="connsiteX0" y="connsiteY0"/>
                </a:cxn>
                <a:cxn ang="0">
                  <a:pos x="connsiteX1" y="connsiteY1"/>
                </a:cxn>
                <a:cxn ang="0">
                  <a:pos x="connsiteX2" y="connsiteY2"/>
                </a:cxn>
                <a:cxn ang="0">
                  <a:pos x="connsiteX3" y="connsiteY3"/>
                </a:cxn>
              </a:cxnLst>
              <a:rect l="l" t="t" r="r" b="b"/>
              <a:pathLst>
                <a:path w="379970" h="9121">
                  <a:moveTo>
                    <a:pt x="0" y="0"/>
                  </a:moveTo>
                  <a:lnTo>
                    <a:pt x="379970" y="0"/>
                  </a:lnTo>
                  <a:lnTo>
                    <a:pt x="379970" y="9122"/>
                  </a:lnTo>
                  <a:lnTo>
                    <a:pt x="0" y="9122"/>
                  </a:lnTo>
                  <a:close/>
                </a:path>
              </a:pathLst>
            </a:custGeom>
            <a:gradFill>
              <a:gsLst>
                <a:gs pos="0">
                  <a:srgbClr val="A6E0FF"/>
                </a:gs>
                <a:gs pos="67000">
                  <a:srgbClr val="E2F5FF">
                    <a:alpha val="31765"/>
                  </a:srgbClr>
                </a:gs>
                <a:gs pos="100000">
                  <a:srgbClr val="FFFFFF">
                    <a:alpha val="0"/>
                  </a:srgbClr>
                </a:gs>
              </a:gsLst>
              <a:lin ang="2145001"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407" name="Freeform: Shape 406">
              <a:extLst>
                <a:ext uri="{FF2B5EF4-FFF2-40B4-BE49-F238E27FC236}">
                  <a16:creationId xmlns:a16="http://schemas.microsoft.com/office/drawing/2014/main" id="{B328C276-A275-CF44-2310-BD8872DB1ACA}"/>
                </a:ext>
              </a:extLst>
            </p:cNvPr>
            <p:cNvSpPr/>
            <p:nvPr/>
          </p:nvSpPr>
          <p:spPr>
            <a:xfrm rot="20471400">
              <a:off x="-5921948" y="1963178"/>
              <a:ext cx="9121" cy="380335"/>
            </a:xfrm>
            <a:custGeom>
              <a:avLst/>
              <a:gdLst>
                <a:gd name="connsiteX0" fmla="*/ 0 w 9121"/>
                <a:gd name="connsiteY0" fmla="*/ 0 h 380335"/>
                <a:gd name="connsiteX1" fmla="*/ 9122 w 9121"/>
                <a:gd name="connsiteY1" fmla="*/ 0 h 380335"/>
                <a:gd name="connsiteX2" fmla="*/ 9122 w 9121"/>
                <a:gd name="connsiteY2" fmla="*/ 380335 h 380335"/>
                <a:gd name="connsiteX3" fmla="*/ 0 w 9121"/>
                <a:gd name="connsiteY3" fmla="*/ 380335 h 380335"/>
              </a:gdLst>
              <a:ahLst/>
              <a:cxnLst>
                <a:cxn ang="0">
                  <a:pos x="connsiteX0" y="connsiteY0"/>
                </a:cxn>
                <a:cxn ang="0">
                  <a:pos x="connsiteX1" y="connsiteY1"/>
                </a:cxn>
                <a:cxn ang="0">
                  <a:pos x="connsiteX2" y="connsiteY2"/>
                </a:cxn>
                <a:cxn ang="0">
                  <a:pos x="connsiteX3" y="connsiteY3"/>
                </a:cxn>
              </a:cxnLst>
              <a:rect l="l" t="t" r="r" b="b"/>
              <a:pathLst>
                <a:path w="9121" h="380335">
                  <a:moveTo>
                    <a:pt x="0" y="0"/>
                  </a:moveTo>
                  <a:lnTo>
                    <a:pt x="9122" y="0"/>
                  </a:lnTo>
                  <a:lnTo>
                    <a:pt x="9122" y="380335"/>
                  </a:lnTo>
                  <a:lnTo>
                    <a:pt x="0" y="380335"/>
                  </a:lnTo>
                  <a:close/>
                </a:path>
              </a:pathLst>
            </a:custGeom>
            <a:gradFill>
              <a:gsLst>
                <a:gs pos="0">
                  <a:srgbClr val="FFFFFF">
                    <a:alpha val="0"/>
                  </a:srgbClr>
                </a:gs>
                <a:gs pos="99000">
                  <a:srgbClr val="A6E0FF"/>
                </a:gs>
                <a:gs pos="100000">
                  <a:srgbClr val="A7E0FF">
                    <a:alpha val="98824"/>
                  </a:srgbClr>
                </a:gs>
                <a:gs pos="100000">
                  <a:srgbClr val="ACE2FF">
                    <a:alpha val="96863"/>
                  </a:srgbClr>
                </a:gs>
                <a:gs pos="100000">
                  <a:srgbClr val="B4E4FF">
                    <a:alpha val="91765"/>
                  </a:srgbClr>
                </a:gs>
                <a:gs pos="100000">
                  <a:srgbClr val="C0E9FF">
                    <a:alpha val="84706"/>
                  </a:srgbClr>
                </a:gs>
                <a:gs pos="100000">
                  <a:srgbClr val="CFEEFF">
                    <a:alpha val="76863"/>
                  </a:srgbClr>
                </a:gs>
                <a:gs pos="100000">
                  <a:srgbClr val="E2F5FF">
                    <a:alpha val="65882"/>
                  </a:srgbClr>
                </a:gs>
                <a:gs pos="100000">
                  <a:srgbClr val="F8FCFF">
                    <a:alpha val="53725"/>
                  </a:srgbClr>
                </a:gs>
                <a:gs pos="100000">
                  <a:srgbClr val="FFFFFF">
                    <a:alpha val="49804"/>
                  </a:srgbClr>
                </a:gs>
              </a:gsLst>
              <a:lin ang="11286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sp>
          <p:nvSpPr>
            <p:cNvPr id="408" name="Freeform: Shape 407">
              <a:extLst>
                <a:ext uri="{FF2B5EF4-FFF2-40B4-BE49-F238E27FC236}">
                  <a16:creationId xmlns:a16="http://schemas.microsoft.com/office/drawing/2014/main" id="{1CBDAE7A-D500-FC1B-CF7D-36B6AAC91203}"/>
                </a:ext>
              </a:extLst>
            </p:cNvPr>
            <p:cNvSpPr/>
            <p:nvPr/>
          </p:nvSpPr>
          <p:spPr>
            <a:xfrm rot="17343600">
              <a:off x="-4108440" y="2152429"/>
              <a:ext cx="382743" cy="9121"/>
            </a:xfrm>
            <a:custGeom>
              <a:avLst/>
              <a:gdLst>
                <a:gd name="connsiteX0" fmla="*/ 0 w 382743"/>
                <a:gd name="connsiteY0" fmla="*/ 0 h 9121"/>
                <a:gd name="connsiteX1" fmla="*/ 382743 w 382743"/>
                <a:gd name="connsiteY1" fmla="*/ 0 h 9121"/>
                <a:gd name="connsiteX2" fmla="*/ 382743 w 382743"/>
                <a:gd name="connsiteY2" fmla="*/ 9122 h 9121"/>
                <a:gd name="connsiteX3" fmla="*/ 0 w 382743"/>
                <a:gd name="connsiteY3" fmla="*/ 9122 h 9121"/>
              </a:gdLst>
              <a:ahLst/>
              <a:cxnLst>
                <a:cxn ang="0">
                  <a:pos x="connsiteX0" y="connsiteY0"/>
                </a:cxn>
                <a:cxn ang="0">
                  <a:pos x="connsiteX1" y="connsiteY1"/>
                </a:cxn>
                <a:cxn ang="0">
                  <a:pos x="connsiteX2" y="connsiteY2"/>
                </a:cxn>
                <a:cxn ang="0">
                  <a:pos x="connsiteX3" y="connsiteY3"/>
                </a:cxn>
              </a:cxnLst>
              <a:rect l="l" t="t" r="r" b="b"/>
              <a:pathLst>
                <a:path w="382743" h="9121">
                  <a:moveTo>
                    <a:pt x="0" y="0"/>
                  </a:moveTo>
                  <a:lnTo>
                    <a:pt x="382743" y="0"/>
                  </a:lnTo>
                  <a:lnTo>
                    <a:pt x="382743" y="9122"/>
                  </a:lnTo>
                  <a:lnTo>
                    <a:pt x="0" y="9122"/>
                  </a:lnTo>
                  <a:close/>
                </a:path>
              </a:pathLst>
            </a:custGeom>
            <a:gradFill>
              <a:gsLst>
                <a:gs pos="0">
                  <a:srgbClr val="A6E0FF"/>
                </a:gs>
                <a:gs pos="67000">
                  <a:srgbClr val="E2F5FF">
                    <a:alpha val="31765"/>
                  </a:srgbClr>
                </a:gs>
                <a:gs pos="100000">
                  <a:srgbClr val="FFFFFF">
                    <a:alpha val="0"/>
                  </a:srgbClr>
                </a:gs>
              </a:gsLst>
              <a:lin ang="4256400" scaled="1"/>
            </a:gradFill>
            <a:ln w="72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72 Brand"/>
                <a:ea typeface="+mn-ea"/>
                <a:cs typeface="+mn-cs"/>
              </a:endParaRPr>
            </a:p>
          </p:txBody>
        </p:sp>
      </p:grpSp>
    </p:spTree>
    <p:extLst>
      <p:ext uri="{BB962C8B-B14F-4D97-AF65-F5344CB8AC3E}">
        <p14:creationId xmlns:p14="http://schemas.microsoft.com/office/powerpoint/2010/main" val="41558048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FADA82-1085-DD79-D8CE-E297EF9AB8ED}"/>
            </a:ext>
          </a:extLst>
        </p:cNvPr>
        <p:cNvGrpSpPr/>
        <p:nvPr/>
      </p:nvGrpSpPr>
      <p:grpSpPr>
        <a:xfrm>
          <a:off x="0" y="0"/>
          <a:ext cx="0" cy="0"/>
          <a:chOff x="0" y="0"/>
          <a:chExt cx="0" cy="0"/>
        </a:xfrm>
      </p:grpSpPr>
      <p:pic>
        <p:nvPicPr>
          <p:cNvPr id="7" name="Picture 6" descr="title image of presentation. Showing a bridge over water with three anvils, symbolizing AI+Data+Applications">
            <a:extLst>
              <a:ext uri="{FF2B5EF4-FFF2-40B4-BE49-F238E27FC236}">
                <a16:creationId xmlns:a16="http://schemas.microsoft.com/office/drawing/2014/main" id="{CFE01DA9-2C8D-0172-5255-06358C0BBF7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6510"/>
            <a:ext cx="12188825" cy="6852788"/>
          </a:xfrm>
          <a:prstGeom prst="rect">
            <a:avLst/>
          </a:prstGeom>
        </p:spPr>
      </p:pic>
      <p:sp>
        <p:nvSpPr>
          <p:cNvPr id="2" name="TextBox 1">
            <a:extLst>
              <a:ext uri="{FF2B5EF4-FFF2-40B4-BE49-F238E27FC236}">
                <a16:creationId xmlns:a16="http://schemas.microsoft.com/office/drawing/2014/main" id="{5236CF53-2E30-7044-A6B3-FF637190AE26}"/>
              </a:ext>
            </a:extLst>
          </p:cNvPr>
          <p:cNvSpPr txBox="1"/>
          <p:nvPr/>
        </p:nvSpPr>
        <p:spPr>
          <a:xfrm>
            <a:off x="573088" y="1896225"/>
            <a:ext cx="3892091" cy="923330"/>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en-US" sz="6000" kern="0">
                <a:gradFill>
                  <a:gsLst>
                    <a:gs pos="0">
                      <a:schemeClr val="bg1"/>
                    </a:gs>
                    <a:gs pos="100000">
                      <a:schemeClr val="bg1"/>
                    </a:gs>
                  </a:gsLst>
                  <a:lin ang="5400000" scaled="1"/>
                </a:gradFill>
                <a:latin typeface="+mj-lt"/>
                <a:ea typeface="72 Brand" pitchFamily="34" charset="-128"/>
                <a:cs typeface="72 Brand" pitchFamily="34" charset="-128"/>
              </a:rPr>
              <a:t>Thank you!</a:t>
            </a:r>
          </a:p>
        </p:txBody>
      </p:sp>
      <p:sp>
        <p:nvSpPr>
          <p:cNvPr id="3" name="Copyright - Dynamic" descr="{&quot;templafy&quot;:{&quot;id&quot;:&quot;bf89d0af-2162-41a5-b35b-15f567ec930b&quot;}}">
            <a:extLst>
              <a:ext uri="{FF2B5EF4-FFF2-40B4-BE49-F238E27FC236}">
                <a16:creationId xmlns:a16="http://schemas.microsoft.com/office/drawing/2014/main" id="{69F7DB6A-26F3-901B-26A7-1A2CCB8F8E95}"/>
              </a:ext>
            </a:extLst>
          </p:cNvPr>
          <p:cNvSpPr txBox="1">
            <a:spLocks/>
          </p:cNvSpPr>
          <p:nvPr/>
        </p:nvSpPr>
        <p:spPr>
          <a:xfrm>
            <a:off x="503739" y="6536751"/>
            <a:ext cx="10150312"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a:solidFill>
                  <a:schemeClr val="bg1"/>
                </a:solidFill>
                <a:latin typeface="+mn-lt"/>
              </a:rPr>
              <a:t>© 2025 SAP SE or an SAP affiliate company. All rights reserved. See Legal Notice on </a:t>
            </a:r>
            <a:r>
              <a:rPr lang="en-US" sz="600" b="0" i="0" err="1">
                <a:solidFill>
                  <a:schemeClr val="bg1"/>
                </a:solidFill>
                <a:latin typeface="+mn-lt"/>
              </a:rPr>
              <a:t>www.sap.com</a:t>
            </a:r>
            <a:r>
              <a:rPr lang="en-US" sz="600" b="0" i="0">
                <a:solidFill>
                  <a:schemeClr val="bg1"/>
                </a:solidFill>
                <a:latin typeface="+mn-lt"/>
              </a:rPr>
              <a:t>/legal-notice for use terms, disclaimers, disclosures, or restrictions related to this material.</a:t>
            </a:r>
          </a:p>
        </p:txBody>
      </p:sp>
      <p:pic>
        <p:nvPicPr>
          <p:cNvPr id="4" name="Picture 3">
            <a:extLst>
              <a:ext uri="{FF2B5EF4-FFF2-40B4-BE49-F238E27FC236}">
                <a16:creationId xmlns:a16="http://schemas.microsoft.com/office/drawing/2014/main" id="{725F4FE8-5EEF-03B5-2BBA-FA80A64EE502}"/>
              </a:ext>
            </a:extLst>
          </p:cNvPr>
          <p:cNvPicPr>
            <a:picLocks noChangeAspect="1"/>
          </p:cNvPicPr>
          <p:nvPr/>
        </p:nvPicPr>
        <p:blipFill>
          <a:blip r:embed="rId4"/>
          <a:stretch>
            <a:fillRect/>
          </a:stretch>
        </p:blipFill>
        <p:spPr>
          <a:xfrm>
            <a:off x="8179686" y="5990000"/>
            <a:ext cx="3504577" cy="360000"/>
          </a:xfrm>
          <a:prstGeom prst="rect">
            <a:avLst/>
          </a:prstGeom>
        </p:spPr>
      </p:pic>
    </p:spTree>
    <p:extLst>
      <p:ext uri="{BB962C8B-B14F-4D97-AF65-F5344CB8AC3E}">
        <p14:creationId xmlns:p14="http://schemas.microsoft.com/office/powerpoint/2010/main" val="395515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19FB16-5C81-77E8-372B-20B0299F389F}"/>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372A5F1-BA0A-A56B-EF4B-11299EFF89E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439186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1" name="think-cell data - do not delete" hidden="1">
                        <a:extLst>
                          <a:ext uri="{FF2B5EF4-FFF2-40B4-BE49-F238E27FC236}">
                            <a16:creationId xmlns:a16="http://schemas.microsoft.com/office/drawing/2014/main" id="{7372A5F1-BA0A-A56B-EF4B-11299EFF89EC}"/>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6" name="Oval 55" hidden="1">
            <a:extLst>
              <a:ext uri="{FF2B5EF4-FFF2-40B4-BE49-F238E27FC236}">
                <a16:creationId xmlns:a16="http://schemas.microsoft.com/office/drawing/2014/main" id="{91D361EB-260B-2911-B387-ED8BB31FA10B}"/>
              </a:ext>
            </a:extLst>
          </p:cNvPr>
          <p:cNvSpPr>
            <a:spLocks noChangeAspect="1"/>
          </p:cNvSpPr>
          <p:nvPr/>
        </p:nvSpPr>
        <p:spPr bwMode="auto">
          <a:xfrm>
            <a:off x="1937668" y="667830"/>
            <a:ext cx="6379674" cy="6379656"/>
          </a:xfrm>
          <a:prstGeom prst="ellipse">
            <a:avLst/>
          </a:prstGeom>
          <a:solidFill>
            <a:srgbClr val="4DB1FF">
              <a:alpha val="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689" tIns="146152" rIns="182689" bIns="146152" numCol="1" spcCol="0" rtlCol="0" fromWordArt="0" anchor="t" anchorCtr="0" forceAA="0" compatLnSpc="1">
            <a:prstTxWarp prst="textNoShape">
              <a:avLst/>
            </a:prstTxWarp>
            <a:noAutofit/>
          </a:bodyPr>
          <a:lstStyle/>
          <a:p>
            <a:pPr defTabSz="931446" fontAlgn="base">
              <a:spcBef>
                <a:spcPct val="0"/>
              </a:spcBef>
              <a:spcAft>
                <a:spcPct val="0"/>
              </a:spcAft>
            </a:pPr>
            <a:r>
              <a:rPr lang="en-US" sz="1997">
                <a:noFill/>
                <a:latin typeface="72 Brand" panose="020B0504030603020204" pitchFamily="34" charset="0"/>
                <a:ea typeface="Segoe UI" pitchFamily="34" charset="0"/>
                <a:cs typeface="72" panose="020B0503030000000003" pitchFamily="34" charset="0"/>
              </a:rPr>
              <a:t>7</a:t>
            </a:r>
          </a:p>
        </p:txBody>
      </p:sp>
      <p:sp>
        <p:nvSpPr>
          <p:cNvPr id="448" name="Title 447">
            <a:extLst>
              <a:ext uri="{FF2B5EF4-FFF2-40B4-BE49-F238E27FC236}">
                <a16:creationId xmlns:a16="http://schemas.microsoft.com/office/drawing/2014/main" id="{C986307A-872E-8420-86FE-8DCF1D92F108}"/>
              </a:ext>
            </a:extLst>
          </p:cNvPr>
          <p:cNvSpPr>
            <a:spLocks noGrp="1"/>
          </p:cNvSpPr>
          <p:nvPr>
            <p:ph type="title"/>
          </p:nvPr>
        </p:nvSpPr>
        <p:spPr/>
        <p:txBody>
          <a:bodyPr/>
          <a:lstStyle/>
          <a:p>
            <a:r>
              <a:rPr lang="en-GB" sz="2400" b="1" dirty="0">
                <a:gradFill>
                  <a:gsLst>
                    <a:gs pos="0">
                      <a:srgbClr val="000000"/>
                    </a:gs>
                    <a:gs pos="100000">
                      <a:srgbClr val="000000"/>
                    </a:gs>
                  </a:gsLst>
                  <a:lin ang="18900000" scaled="1"/>
                </a:gradFill>
                <a:latin typeface="+mj-lt"/>
              </a:rPr>
              <a:t>Meeting your challenges requires a new era of enterprise management</a:t>
            </a:r>
            <a:endParaRPr lang="en-DE" sz="2400" b="1">
              <a:gradFill>
                <a:gsLst>
                  <a:gs pos="0">
                    <a:srgbClr val="000000"/>
                  </a:gs>
                  <a:gs pos="100000">
                    <a:srgbClr val="000000"/>
                  </a:gs>
                </a:gsLst>
                <a:lin ang="18900000" scaled="1"/>
              </a:gradFill>
              <a:latin typeface="+mj-lt"/>
            </a:endParaRPr>
          </a:p>
        </p:txBody>
      </p:sp>
      <p:sp>
        <p:nvSpPr>
          <p:cNvPr id="320" name="Anvil" descr="preencoded.png">
            <a:extLst>
              <a:ext uri="{FF2B5EF4-FFF2-40B4-BE49-F238E27FC236}">
                <a16:creationId xmlns:a16="http://schemas.microsoft.com/office/drawing/2014/main" id="{D5EF0247-2D8E-A464-8130-0C50F1EE6855}"/>
              </a:ext>
            </a:extLst>
          </p:cNvPr>
          <p:cNvSpPr/>
          <p:nvPr/>
        </p:nvSpPr>
        <p:spPr>
          <a:xfrm>
            <a:off x="5331436" y="1444663"/>
            <a:ext cx="3781457" cy="1864458"/>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7858FF"/>
          </a:solidFill>
          <a:ln w="15238" cap="flat">
            <a:noFill/>
            <a:prstDash val="solid"/>
            <a:miter/>
          </a:ln>
        </p:spPr>
        <p:txBody>
          <a:bodyPr rtlCol="0" anchor="ctr"/>
          <a:lstStyle/>
          <a:p>
            <a:pPr defTabSz="1087796">
              <a:defRPr/>
            </a:pPr>
            <a:endParaRPr lang="en-US" sz="2097">
              <a:solidFill>
                <a:srgbClr val="000000"/>
              </a:solidFill>
              <a:latin typeface="72 Brand" panose="020B0504030603020204" pitchFamily="34" charset="0"/>
            </a:endParaRPr>
          </a:p>
        </p:txBody>
      </p:sp>
      <p:grpSp>
        <p:nvGrpSpPr>
          <p:cNvPr id="321" name="Group 320">
            <a:extLst>
              <a:ext uri="{FF2B5EF4-FFF2-40B4-BE49-F238E27FC236}">
                <a16:creationId xmlns:a16="http://schemas.microsoft.com/office/drawing/2014/main" id="{8BC28315-4976-32B1-F351-80684FC1D3BC}"/>
              </a:ext>
            </a:extLst>
          </p:cNvPr>
          <p:cNvGrpSpPr/>
          <p:nvPr/>
        </p:nvGrpSpPr>
        <p:grpSpPr>
          <a:xfrm>
            <a:off x="5611923" y="2597263"/>
            <a:ext cx="1365623" cy="491231"/>
            <a:chOff x="5610334" y="2689355"/>
            <a:chExt cx="1365623" cy="491231"/>
          </a:xfrm>
          <a:gradFill>
            <a:gsLst>
              <a:gs pos="0">
                <a:srgbClr val="B894FF"/>
              </a:gs>
              <a:gs pos="100000">
                <a:srgbClr val="B894FF">
                  <a:alpha val="0"/>
                </a:srgbClr>
              </a:gs>
            </a:gsLst>
            <a:lin ang="0" scaled="1"/>
          </a:gradFill>
        </p:grpSpPr>
        <p:sp>
          <p:nvSpPr>
            <p:cNvPr id="322" name="Freeform: Shape 321">
              <a:extLst>
                <a:ext uri="{FF2B5EF4-FFF2-40B4-BE49-F238E27FC236}">
                  <a16:creationId xmlns:a16="http://schemas.microsoft.com/office/drawing/2014/main" id="{62B05661-714E-D2F6-87F0-C5970C8E0CBC}"/>
                </a:ext>
              </a:extLst>
            </p:cNvPr>
            <p:cNvSpPr/>
            <p:nvPr/>
          </p:nvSpPr>
          <p:spPr>
            <a:xfrm>
              <a:off x="5610334" y="2691221"/>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23" name="Freeform: Shape 322">
              <a:extLst>
                <a:ext uri="{FF2B5EF4-FFF2-40B4-BE49-F238E27FC236}">
                  <a16:creationId xmlns:a16="http://schemas.microsoft.com/office/drawing/2014/main" id="{EF5D229F-6A51-4E82-AB6A-8638302C5439}"/>
                </a:ext>
              </a:extLst>
            </p:cNvPr>
            <p:cNvSpPr/>
            <p:nvPr/>
          </p:nvSpPr>
          <p:spPr>
            <a:xfrm>
              <a:off x="5782158" y="2689355"/>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24" name="Freeform: Shape 323">
              <a:extLst>
                <a:ext uri="{FF2B5EF4-FFF2-40B4-BE49-F238E27FC236}">
                  <a16:creationId xmlns:a16="http://schemas.microsoft.com/office/drawing/2014/main" id="{91F80DC8-1724-E133-F57C-15F0D49686F8}"/>
                </a:ext>
              </a:extLst>
            </p:cNvPr>
            <p:cNvSpPr/>
            <p:nvPr/>
          </p:nvSpPr>
          <p:spPr>
            <a:xfrm>
              <a:off x="5978507" y="2691221"/>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25" name="Freeform: Shape 324">
              <a:extLst>
                <a:ext uri="{FF2B5EF4-FFF2-40B4-BE49-F238E27FC236}">
                  <a16:creationId xmlns:a16="http://schemas.microsoft.com/office/drawing/2014/main" id="{A214CE5C-27D4-0BD6-EF4E-F59B3EEE68DA}"/>
                </a:ext>
              </a:extLst>
            </p:cNvPr>
            <p:cNvSpPr/>
            <p:nvPr/>
          </p:nvSpPr>
          <p:spPr>
            <a:xfrm>
              <a:off x="6162594" y="2691221"/>
              <a:ext cx="38880" cy="103950"/>
            </a:xfrm>
            <a:custGeom>
              <a:avLst/>
              <a:gdLst>
                <a:gd name="connsiteX0" fmla="*/ 26371 w 43395"/>
                <a:gd name="connsiteY0" fmla="*/ 16357 h 130188"/>
                <a:gd name="connsiteX1" fmla="*/ 26038 w 43395"/>
                <a:gd name="connsiteY1" fmla="*/ 16357 h 130188"/>
                <a:gd name="connsiteX2" fmla="*/ 3338 w 43395"/>
                <a:gd name="connsiteY2" fmla="*/ 28541 h 130188"/>
                <a:gd name="connsiteX3" fmla="*/ 0 w 43395"/>
                <a:gd name="connsiteY3" fmla="*/ 15189 h 130188"/>
                <a:gd name="connsiteX4" fmla="*/ 28374 w 43395"/>
                <a:gd name="connsiteY4" fmla="*/ 0 h 130188"/>
                <a:gd name="connsiteX5" fmla="*/ 43396 w 43395"/>
                <a:gd name="connsiteY5" fmla="*/ 0 h 130188"/>
                <a:gd name="connsiteX6" fmla="*/ 43396 w 43395"/>
                <a:gd name="connsiteY6" fmla="*/ 130188 h 130188"/>
                <a:gd name="connsiteX7" fmla="*/ 26371 w 43395"/>
                <a:gd name="connsiteY7" fmla="*/ 130188 h 130188"/>
                <a:gd name="connsiteX8" fmla="*/ 26371 w 43395"/>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5" h="130188">
                  <a:moveTo>
                    <a:pt x="26371" y="16357"/>
                  </a:moveTo>
                  <a:lnTo>
                    <a:pt x="26038" y="16357"/>
                  </a:lnTo>
                  <a:lnTo>
                    <a:pt x="3338" y="28541"/>
                  </a:lnTo>
                  <a:lnTo>
                    <a:pt x="0" y="15189"/>
                  </a:lnTo>
                  <a:lnTo>
                    <a:pt x="28374" y="0"/>
                  </a:lnTo>
                  <a:lnTo>
                    <a:pt x="43396" y="0"/>
                  </a:lnTo>
                  <a:lnTo>
                    <a:pt x="43396" y="130188"/>
                  </a:lnTo>
                  <a:lnTo>
                    <a:pt x="26371" y="130188"/>
                  </a:lnTo>
                  <a:lnTo>
                    <a:pt x="26371"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26" name="Freeform: Shape 325">
              <a:extLst>
                <a:ext uri="{FF2B5EF4-FFF2-40B4-BE49-F238E27FC236}">
                  <a16:creationId xmlns:a16="http://schemas.microsoft.com/office/drawing/2014/main" id="{23E7FA32-2B41-27C3-E8E5-B6D37586C492}"/>
                </a:ext>
              </a:extLst>
            </p:cNvPr>
            <p:cNvSpPr/>
            <p:nvPr/>
          </p:nvSpPr>
          <p:spPr>
            <a:xfrm>
              <a:off x="6372552" y="2689355"/>
              <a:ext cx="79108" cy="107415"/>
            </a:xfrm>
            <a:custGeom>
              <a:avLst/>
              <a:gdLst>
                <a:gd name="connsiteX0" fmla="*/ 88295 w 88294"/>
                <a:gd name="connsiteY0" fmla="*/ 65929 h 134527"/>
                <a:gd name="connsiteX1" fmla="*/ 43063 w 88294"/>
                <a:gd name="connsiteY1" fmla="*/ 134528 h 134527"/>
                <a:gd name="connsiteX2" fmla="*/ 0 w 88294"/>
                <a:gd name="connsiteY2" fmla="*/ 67598 h 134527"/>
                <a:gd name="connsiteX3" fmla="*/ 45232 w 88294"/>
                <a:gd name="connsiteY3" fmla="*/ 0 h 134527"/>
                <a:gd name="connsiteX4" fmla="*/ 88295 w 88294"/>
                <a:gd name="connsiteY4" fmla="*/ 65929 h 134527"/>
                <a:gd name="connsiteX5" fmla="*/ 17526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693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5" y="65929"/>
                  </a:moveTo>
                  <a:cubicBezTo>
                    <a:pt x="88295" y="110159"/>
                    <a:pt x="71938" y="134528"/>
                    <a:pt x="43063" y="134528"/>
                  </a:cubicBezTo>
                  <a:cubicBezTo>
                    <a:pt x="17693" y="134528"/>
                    <a:pt x="501" y="110660"/>
                    <a:pt x="0" y="67598"/>
                  </a:cubicBezTo>
                  <a:cubicBezTo>
                    <a:pt x="0" y="24035"/>
                    <a:pt x="18861" y="0"/>
                    <a:pt x="45232" y="0"/>
                  </a:cubicBezTo>
                  <a:cubicBezTo>
                    <a:pt x="71604" y="0"/>
                    <a:pt x="88295" y="24369"/>
                    <a:pt x="88295" y="65929"/>
                  </a:cubicBezTo>
                  <a:close/>
                  <a:moveTo>
                    <a:pt x="17526" y="67932"/>
                  </a:moveTo>
                  <a:cubicBezTo>
                    <a:pt x="17526" y="101814"/>
                    <a:pt x="27874" y="121008"/>
                    <a:pt x="43897" y="121008"/>
                  </a:cubicBezTo>
                  <a:cubicBezTo>
                    <a:pt x="61923" y="121008"/>
                    <a:pt x="70602" y="99978"/>
                    <a:pt x="70602" y="66763"/>
                  </a:cubicBezTo>
                  <a:cubicBezTo>
                    <a:pt x="70602" y="33549"/>
                    <a:pt x="62424" y="13686"/>
                    <a:pt x="44231" y="13686"/>
                  </a:cubicBezTo>
                  <a:cubicBezTo>
                    <a:pt x="28875" y="13686"/>
                    <a:pt x="17693" y="32547"/>
                    <a:pt x="17693"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27" name="Freeform: Shape 326">
              <a:extLst>
                <a:ext uri="{FF2B5EF4-FFF2-40B4-BE49-F238E27FC236}">
                  <a16:creationId xmlns:a16="http://schemas.microsoft.com/office/drawing/2014/main" id="{F5BEF237-DCD5-1951-B466-DF195CA759C5}"/>
                </a:ext>
              </a:extLst>
            </p:cNvPr>
            <p:cNvSpPr/>
            <p:nvPr/>
          </p:nvSpPr>
          <p:spPr>
            <a:xfrm>
              <a:off x="6556640" y="2689355"/>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28" name="Freeform: Shape 327">
              <a:extLst>
                <a:ext uri="{FF2B5EF4-FFF2-40B4-BE49-F238E27FC236}">
                  <a16:creationId xmlns:a16="http://schemas.microsoft.com/office/drawing/2014/main" id="{E3062330-61BD-C34D-883F-A99D0F0439E6}"/>
                </a:ext>
              </a:extLst>
            </p:cNvPr>
            <p:cNvSpPr/>
            <p:nvPr/>
          </p:nvSpPr>
          <p:spPr>
            <a:xfrm>
              <a:off x="6740727" y="2689355"/>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8" y="13686"/>
                  </a:cubicBezTo>
                  <a:cubicBezTo>
                    <a:pt x="29042" y="13686"/>
                    <a:pt x="17692" y="32547"/>
                    <a:pt x="17692"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29" name="Freeform: Shape 328">
              <a:extLst>
                <a:ext uri="{FF2B5EF4-FFF2-40B4-BE49-F238E27FC236}">
                  <a16:creationId xmlns:a16="http://schemas.microsoft.com/office/drawing/2014/main" id="{122323D6-C1D5-FDCC-D127-FFA94696C3B1}"/>
                </a:ext>
              </a:extLst>
            </p:cNvPr>
            <p:cNvSpPr/>
            <p:nvPr/>
          </p:nvSpPr>
          <p:spPr>
            <a:xfrm>
              <a:off x="6937076" y="2691221"/>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30" name="Freeform: Shape 329">
              <a:extLst>
                <a:ext uri="{FF2B5EF4-FFF2-40B4-BE49-F238E27FC236}">
                  <a16:creationId xmlns:a16="http://schemas.microsoft.com/office/drawing/2014/main" id="{D88DDDD6-E633-3D5D-A8CA-E96CB43CA7CD}"/>
                </a:ext>
              </a:extLst>
            </p:cNvPr>
            <p:cNvSpPr/>
            <p:nvPr/>
          </p:nvSpPr>
          <p:spPr>
            <a:xfrm>
              <a:off x="5610334" y="2883128"/>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31" name="Freeform: Shape 330">
              <a:extLst>
                <a:ext uri="{FF2B5EF4-FFF2-40B4-BE49-F238E27FC236}">
                  <a16:creationId xmlns:a16="http://schemas.microsoft.com/office/drawing/2014/main" id="{1BC99FEA-E097-043F-3D40-9C364EA55CFD}"/>
                </a:ext>
              </a:extLst>
            </p:cNvPr>
            <p:cNvSpPr/>
            <p:nvPr/>
          </p:nvSpPr>
          <p:spPr>
            <a:xfrm>
              <a:off x="5782158" y="2881263"/>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32" name="Freeform: Shape 331">
              <a:extLst>
                <a:ext uri="{FF2B5EF4-FFF2-40B4-BE49-F238E27FC236}">
                  <a16:creationId xmlns:a16="http://schemas.microsoft.com/office/drawing/2014/main" id="{89854D06-4D7C-D46B-4D9C-650E09181710}"/>
                </a:ext>
              </a:extLst>
            </p:cNvPr>
            <p:cNvSpPr/>
            <p:nvPr/>
          </p:nvSpPr>
          <p:spPr>
            <a:xfrm>
              <a:off x="5978507" y="2883128"/>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33" name="Freeform: Shape 332">
              <a:extLst>
                <a:ext uri="{FF2B5EF4-FFF2-40B4-BE49-F238E27FC236}">
                  <a16:creationId xmlns:a16="http://schemas.microsoft.com/office/drawing/2014/main" id="{CC70A006-1AC8-4736-D327-D911B76CF874}"/>
                </a:ext>
              </a:extLst>
            </p:cNvPr>
            <p:cNvSpPr/>
            <p:nvPr/>
          </p:nvSpPr>
          <p:spPr>
            <a:xfrm>
              <a:off x="6162594" y="2883128"/>
              <a:ext cx="38880" cy="103950"/>
            </a:xfrm>
            <a:custGeom>
              <a:avLst/>
              <a:gdLst>
                <a:gd name="connsiteX0" fmla="*/ 26371 w 43395"/>
                <a:gd name="connsiteY0" fmla="*/ 16357 h 130188"/>
                <a:gd name="connsiteX1" fmla="*/ 26038 w 43395"/>
                <a:gd name="connsiteY1" fmla="*/ 16357 h 130188"/>
                <a:gd name="connsiteX2" fmla="*/ 3338 w 43395"/>
                <a:gd name="connsiteY2" fmla="*/ 28541 h 130188"/>
                <a:gd name="connsiteX3" fmla="*/ 0 w 43395"/>
                <a:gd name="connsiteY3" fmla="*/ 15189 h 130188"/>
                <a:gd name="connsiteX4" fmla="*/ 28374 w 43395"/>
                <a:gd name="connsiteY4" fmla="*/ 0 h 130188"/>
                <a:gd name="connsiteX5" fmla="*/ 43396 w 43395"/>
                <a:gd name="connsiteY5" fmla="*/ 0 h 130188"/>
                <a:gd name="connsiteX6" fmla="*/ 43396 w 43395"/>
                <a:gd name="connsiteY6" fmla="*/ 130188 h 130188"/>
                <a:gd name="connsiteX7" fmla="*/ 26371 w 43395"/>
                <a:gd name="connsiteY7" fmla="*/ 130188 h 130188"/>
                <a:gd name="connsiteX8" fmla="*/ 26371 w 43395"/>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5" h="130188">
                  <a:moveTo>
                    <a:pt x="26371" y="16357"/>
                  </a:moveTo>
                  <a:lnTo>
                    <a:pt x="26038" y="16357"/>
                  </a:lnTo>
                  <a:lnTo>
                    <a:pt x="3338" y="28541"/>
                  </a:lnTo>
                  <a:lnTo>
                    <a:pt x="0" y="15189"/>
                  </a:lnTo>
                  <a:lnTo>
                    <a:pt x="28374" y="0"/>
                  </a:lnTo>
                  <a:lnTo>
                    <a:pt x="43396" y="0"/>
                  </a:lnTo>
                  <a:lnTo>
                    <a:pt x="43396" y="130188"/>
                  </a:lnTo>
                  <a:lnTo>
                    <a:pt x="26371" y="130188"/>
                  </a:lnTo>
                  <a:lnTo>
                    <a:pt x="26371"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34" name="Freeform: Shape 333">
              <a:extLst>
                <a:ext uri="{FF2B5EF4-FFF2-40B4-BE49-F238E27FC236}">
                  <a16:creationId xmlns:a16="http://schemas.microsoft.com/office/drawing/2014/main" id="{6DACFCD9-0660-BFCB-FDB1-F0C56E4C47D3}"/>
                </a:ext>
              </a:extLst>
            </p:cNvPr>
            <p:cNvSpPr/>
            <p:nvPr/>
          </p:nvSpPr>
          <p:spPr>
            <a:xfrm>
              <a:off x="6372552" y="2881263"/>
              <a:ext cx="79108" cy="107415"/>
            </a:xfrm>
            <a:custGeom>
              <a:avLst/>
              <a:gdLst>
                <a:gd name="connsiteX0" fmla="*/ 88295 w 88294"/>
                <a:gd name="connsiteY0" fmla="*/ 65929 h 134527"/>
                <a:gd name="connsiteX1" fmla="*/ 43063 w 88294"/>
                <a:gd name="connsiteY1" fmla="*/ 134528 h 134527"/>
                <a:gd name="connsiteX2" fmla="*/ 0 w 88294"/>
                <a:gd name="connsiteY2" fmla="*/ 67598 h 134527"/>
                <a:gd name="connsiteX3" fmla="*/ 45232 w 88294"/>
                <a:gd name="connsiteY3" fmla="*/ 0 h 134527"/>
                <a:gd name="connsiteX4" fmla="*/ 88295 w 88294"/>
                <a:gd name="connsiteY4" fmla="*/ 65929 h 134527"/>
                <a:gd name="connsiteX5" fmla="*/ 17526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693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5" y="65929"/>
                  </a:moveTo>
                  <a:cubicBezTo>
                    <a:pt x="88295" y="110159"/>
                    <a:pt x="71938" y="134528"/>
                    <a:pt x="43063" y="134528"/>
                  </a:cubicBezTo>
                  <a:cubicBezTo>
                    <a:pt x="17693" y="134528"/>
                    <a:pt x="501" y="110660"/>
                    <a:pt x="0" y="67598"/>
                  </a:cubicBezTo>
                  <a:cubicBezTo>
                    <a:pt x="0" y="24035"/>
                    <a:pt x="18861" y="0"/>
                    <a:pt x="45232" y="0"/>
                  </a:cubicBezTo>
                  <a:cubicBezTo>
                    <a:pt x="71604" y="0"/>
                    <a:pt x="88295" y="24369"/>
                    <a:pt x="88295" y="65929"/>
                  </a:cubicBezTo>
                  <a:close/>
                  <a:moveTo>
                    <a:pt x="17526" y="67932"/>
                  </a:moveTo>
                  <a:cubicBezTo>
                    <a:pt x="17526" y="101814"/>
                    <a:pt x="27874" y="121008"/>
                    <a:pt x="43897" y="121008"/>
                  </a:cubicBezTo>
                  <a:cubicBezTo>
                    <a:pt x="61923" y="121008"/>
                    <a:pt x="70602" y="99978"/>
                    <a:pt x="70602" y="66763"/>
                  </a:cubicBezTo>
                  <a:cubicBezTo>
                    <a:pt x="70602" y="33549"/>
                    <a:pt x="62424" y="13686"/>
                    <a:pt x="44231" y="13686"/>
                  </a:cubicBezTo>
                  <a:cubicBezTo>
                    <a:pt x="28875" y="13686"/>
                    <a:pt x="17693" y="32547"/>
                    <a:pt x="17693"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35" name="Freeform: Shape 334">
              <a:extLst>
                <a:ext uri="{FF2B5EF4-FFF2-40B4-BE49-F238E27FC236}">
                  <a16:creationId xmlns:a16="http://schemas.microsoft.com/office/drawing/2014/main" id="{01F72AAC-362B-E7E5-E57E-0E2F1AB47123}"/>
                </a:ext>
              </a:extLst>
            </p:cNvPr>
            <p:cNvSpPr/>
            <p:nvPr/>
          </p:nvSpPr>
          <p:spPr>
            <a:xfrm>
              <a:off x="6556640" y="2881263"/>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36" name="Freeform: Shape 335">
              <a:extLst>
                <a:ext uri="{FF2B5EF4-FFF2-40B4-BE49-F238E27FC236}">
                  <a16:creationId xmlns:a16="http://schemas.microsoft.com/office/drawing/2014/main" id="{1F69F7E0-0484-3FEC-3FCF-908E3ED6176D}"/>
                </a:ext>
              </a:extLst>
            </p:cNvPr>
            <p:cNvSpPr/>
            <p:nvPr/>
          </p:nvSpPr>
          <p:spPr>
            <a:xfrm>
              <a:off x="6740727" y="2881263"/>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8" y="13686"/>
                  </a:cubicBezTo>
                  <a:cubicBezTo>
                    <a:pt x="29042" y="13686"/>
                    <a:pt x="17692" y="32547"/>
                    <a:pt x="17692"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37" name="Freeform: Shape 336">
              <a:extLst>
                <a:ext uri="{FF2B5EF4-FFF2-40B4-BE49-F238E27FC236}">
                  <a16:creationId xmlns:a16="http://schemas.microsoft.com/office/drawing/2014/main" id="{8CFBE64C-3D8C-1BD6-5C8B-320958CD1F84}"/>
                </a:ext>
              </a:extLst>
            </p:cNvPr>
            <p:cNvSpPr/>
            <p:nvPr/>
          </p:nvSpPr>
          <p:spPr>
            <a:xfrm>
              <a:off x="6937076" y="2883128"/>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38" name="Freeform: Shape 337">
              <a:extLst>
                <a:ext uri="{FF2B5EF4-FFF2-40B4-BE49-F238E27FC236}">
                  <a16:creationId xmlns:a16="http://schemas.microsoft.com/office/drawing/2014/main" id="{DC0E5B34-25B0-E588-D147-852ABCB29737}"/>
                </a:ext>
              </a:extLst>
            </p:cNvPr>
            <p:cNvSpPr/>
            <p:nvPr/>
          </p:nvSpPr>
          <p:spPr>
            <a:xfrm>
              <a:off x="5610334" y="307503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39" name="Freeform: Shape 338">
              <a:extLst>
                <a:ext uri="{FF2B5EF4-FFF2-40B4-BE49-F238E27FC236}">
                  <a16:creationId xmlns:a16="http://schemas.microsoft.com/office/drawing/2014/main" id="{063B5627-B596-2EAA-A61E-A037F8B10B8E}"/>
                </a:ext>
              </a:extLst>
            </p:cNvPr>
            <p:cNvSpPr/>
            <p:nvPr/>
          </p:nvSpPr>
          <p:spPr>
            <a:xfrm>
              <a:off x="5782158" y="3073171"/>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8"/>
                    <a:pt x="62423" y="13686"/>
                    <a:pt x="44231" y="13686"/>
                  </a:cubicBezTo>
                  <a:cubicBezTo>
                    <a:pt x="28875" y="13686"/>
                    <a:pt x="17525" y="32547"/>
                    <a:pt x="17525"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40" name="Freeform: Shape 339">
              <a:extLst>
                <a:ext uri="{FF2B5EF4-FFF2-40B4-BE49-F238E27FC236}">
                  <a16:creationId xmlns:a16="http://schemas.microsoft.com/office/drawing/2014/main" id="{EB4EDF9A-442A-B832-E52D-B6BE0C47B8A3}"/>
                </a:ext>
              </a:extLst>
            </p:cNvPr>
            <p:cNvSpPr/>
            <p:nvPr/>
          </p:nvSpPr>
          <p:spPr>
            <a:xfrm>
              <a:off x="5978507" y="307503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41" name="Freeform: Shape 340">
              <a:extLst>
                <a:ext uri="{FF2B5EF4-FFF2-40B4-BE49-F238E27FC236}">
                  <a16:creationId xmlns:a16="http://schemas.microsoft.com/office/drawing/2014/main" id="{1E4F0BDC-55A7-C5B5-4615-B479A8F21C00}"/>
                </a:ext>
              </a:extLst>
            </p:cNvPr>
            <p:cNvSpPr/>
            <p:nvPr/>
          </p:nvSpPr>
          <p:spPr>
            <a:xfrm>
              <a:off x="6162594" y="3075037"/>
              <a:ext cx="38880" cy="103950"/>
            </a:xfrm>
            <a:custGeom>
              <a:avLst/>
              <a:gdLst>
                <a:gd name="connsiteX0" fmla="*/ 26371 w 43395"/>
                <a:gd name="connsiteY0" fmla="*/ 16357 h 130188"/>
                <a:gd name="connsiteX1" fmla="*/ 26038 w 43395"/>
                <a:gd name="connsiteY1" fmla="*/ 16357 h 130188"/>
                <a:gd name="connsiteX2" fmla="*/ 3338 w 43395"/>
                <a:gd name="connsiteY2" fmla="*/ 28541 h 130188"/>
                <a:gd name="connsiteX3" fmla="*/ 0 w 43395"/>
                <a:gd name="connsiteY3" fmla="*/ 15189 h 130188"/>
                <a:gd name="connsiteX4" fmla="*/ 28374 w 43395"/>
                <a:gd name="connsiteY4" fmla="*/ 0 h 130188"/>
                <a:gd name="connsiteX5" fmla="*/ 43396 w 43395"/>
                <a:gd name="connsiteY5" fmla="*/ 0 h 130188"/>
                <a:gd name="connsiteX6" fmla="*/ 43396 w 43395"/>
                <a:gd name="connsiteY6" fmla="*/ 130188 h 130188"/>
                <a:gd name="connsiteX7" fmla="*/ 26371 w 43395"/>
                <a:gd name="connsiteY7" fmla="*/ 130188 h 130188"/>
                <a:gd name="connsiteX8" fmla="*/ 26371 w 43395"/>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5" h="130188">
                  <a:moveTo>
                    <a:pt x="26371" y="16357"/>
                  </a:moveTo>
                  <a:lnTo>
                    <a:pt x="26038" y="16357"/>
                  </a:lnTo>
                  <a:lnTo>
                    <a:pt x="3338" y="28541"/>
                  </a:lnTo>
                  <a:lnTo>
                    <a:pt x="0" y="15189"/>
                  </a:lnTo>
                  <a:lnTo>
                    <a:pt x="28374" y="0"/>
                  </a:lnTo>
                  <a:lnTo>
                    <a:pt x="43396" y="0"/>
                  </a:lnTo>
                  <a:lnTo>
                    <a:pt x="43396" y="130188"/>
                  </a:lnTo>
                  <a:lnTo>
                    <a:pt x="26371" y="130188"/>
                  </a:lnTo>
                  <a:lnTo>
                    <a:pt x="26371"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42" name="Freeform: Shape 341">
              <a:extLst>
                <a:ext uri="{FF2B5EF4-FFF2-40B4-BE49-F238E27FC236}">
                  <a16:creationId xmlns:a16="http://schemas.microsoft.com/office/drawing/2014/main" id="{D8B4ABE6-D222-5A50-272C-83FB69586EF4}"/>
                </a:ext>
              </a:extLst>
            </p:cNvPr>
            <p:cNvSpPr/>
            <p:nvPr/>
          </p:nvSpPr>
          <p:spPr>
            <a:xfrm>
              <a:off x="6372552" y="3073171"/>
              <a:ext cx="79108" cy="107415"/>
            </a:xfrm>
            <a:custGeom>
              <a:avLst/>
              <a:gdLst>
                <a:gd name="connsiteX0" fmla="*/ 88295 w 88294"/>
                <a:gd name="connsiteY0" fmla="*/ 65929 h 134527"/>
                <a:gd name="connsiteX1" fmla="*/ 43063 w 88294"/>
                <a:gd name="connsiteY1" fmla="*/ 134528 h 134527"/>
                <a:gd name="connsiteX2" fmla="*/ 0 w 88294"/>
                <a:gd name="connsiteY2" fmla="*/ 67598 h 134527"/>
                <a:gd name="connsiteX3" fmla="*/ 45232 w 88294"/>
                <a:gd name="connsiteY3" fmla="*/ 0 h 134527"/>
                <a:gd name="connsiteX4" fmla="*/ 88295 w 88294"/>
                <a:gd name="connsiteY4" fmla="*/ 65929 h 134527"/>
                <a:gd name="connsiteX5" fmla="*/ 17526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693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5" y="65929"/>
                  </a:moveTo>
                  <a:cubicBezTo>
                    <a:pt x="88295" y="110159"/>
                    <a:pt x="71938" y="134528"/>
                    <a:pt x="43063" y="134528"/>
                  </a:cubicBezTo>
                  <a:cubicBezTo>
                    <a:pt x="17693" y="134528"/>
                    <a:pt x="501" y="110660"/>
                    <a:pt x="0" y="67598"/>
                  </a:cubicBezTo>
                  <a:cubicBezTo>
                    <a:pt x="0" y="24035"/>
                    <a:pt x="18861" y="0"/>
                    <a:pt x="45232" y="0"/>
                  </a:cubicBezTo>
                  <a:cubicBezTo>
                    <a:pt x="71604" y="0"/>
                    <a:pt x="88295" y="24369"/>
                    <a:pt x="88295" y="65929"/>
                  </a:cubicBezTo>
                  <a:close/>
                  <a:moveTo>
                    <a:pt x="17526" y="67932"/>
                  </a:moveTo>
                  <a:cubicBezTo>
                    <a:pt x="17526" y="101814"/>
                    <a:pt x="27874" y="121008"/>
                    <a:pt x="43897" y="121008"/>
                  </a:cubicBezTo>
                  <a:cubicBezTo>
                    <a:pt x="61923" y="121008"/>
                    <a:pt x="70602" y="99978"/>
                    <a:pt x="70602" y="66763"/>
                  </a:cubicBezTo>
                  <a:cubicBezTo>
                    <a:pt x="70602" y="33548"/>
                    <a:pt x="62424" y="13686"/>
                    <a:pt x="44231" y="13686"/>
                  </a:cubicBezTo>
                  <a:cubicBezTo>
                    <a:pt x="28875" y="13686"/>
                    <a:pt x="17693" y="32547"/>
                    <a:pt x="17693"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43" name="Freeform: Shape 342">
              <a:extLst>
                <a:ext uri="{FF2B5EF4-FFF2-40B4-BE49-F238E27FC236}">
                  <a16:creationId xmlns:a16="http://schemas.microsoft.com/office/drawing/2014/main" id="{77403A9C-7377-A3D4-473A-80F84E9E6C88}"/>
                </a:ext>
              </a:extLst>
            </p:cNvPr>
            <p:cNvSpPr/>
            <p:nvPr/>
          </p:nvSpPr>
          <p:spPr>
            <a:xfrm>
              <a:off x="6556640" y="3073171"/>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8"/>
                    <a:pt x="62591" y="13686"/>
                    <a:pt x="44397" y="13686"/>
                  </a:cubicBezTo>
                  <a:cubicBezTo>
                    <a:pt x="29042" y="13686"/>
                    <a:pt x="17859" y="32547"/>
                    <a:pt x="17859"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44" name="Freeform: Shape 343">
              <a:extLst>
                <a:ext uri="{FF2B5EF4-FFF2-40B4-BE49-F238E27FC236}">
                  <a16:creationId xmlns:a16="http://schemas.microsoft.com/office/drawing/2014/main" id="{37E7D7F4-BE82-06FB-7B63-97A8A54F89C7}"/>
                </a:ext>
              </a:extLst>
            </p:cNvPr>
            <p:cNvSpPr/>
            <p:nvPr/>
          </p:nvSpPr>
          <p:spPr>
            <a:xfrm>
              <a:off x="6740727" y="3073171"/>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8"/>
                    <a:pt x="62591" y="13686"/>
                    <a:pt x="44398" y="13686"/>
                  </a:cubicBezTo>
                  <a:cubicBezTo>
                    <a:pt x="29042" y="13686"/>
                    <a:pt x="17692" y="32547"/>
                    <a:pt x="17692"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45" name="Freeform: Shape 344">
              <a:extLst>
                <a:ext uri="{FF2B5EF4-FFF2-40B4-BE49-F238E27FC236}">
                  <a16:creationId xmlns:a16="http://schemas.microsoft.com/office/drawing/2014/main" id="{0D30C8CD-A104-76AD-9C7A-83DE49456D92}"/>
                </a:ext>
              </a:extLst>
            </p:cNvPr>
            <p:cNvSpPr/>
            <p:nvPr/>
          </p:nvSpPr>
          <p:spPr>
            <a:xfrm>
              <a:off x="6937076" y="307503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grpSp>
      <p:sp>
        <p:nvSpPr>
          <p:cNvPr id="346" name="Anvil" descr="preencoded.png">
            <a:extLst>
              <a:ext uri="{FF2B5EF4-FFF2-40B4-BE49-F238E27FC236}">
                <a16:creationId xmlns:a16="http://schemas.microsoft.com/office/drawing/2014/main" id="{B89B4EA6-36C8-D4B7-2F8A-65E787F87A4E}"/>
              </a:ext>
            </a:extLst>
          </p:cNvPr>
          <p:cNvSpPr/>
          <p:nvPr/>
        </p:nvSpPr>
        <p:spPr>
          <a:xfrm>
            <a:off x="2825818" y="2932608"/>
            <a:ext cx="3781458" cy="1864458"/>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0070F2"/>
          </a:solidFill>
          <a:ln w="15238" cap="flat">
            <a:noFill/>
            <a:prstDash val="solid"/>
            <a:miter/>
          </a:ln>
        </p:spPr>
        <p:txBody>
          <a:bodyPr rtlCol="0" anchor="ctr"/>
          <a:lstStyle/>
          <a:p>
            <a:pPr defTabSz="1087796">
              <a:defRPr/>
            </a:pPr>
            <a:endParaRPr lang="en-US" sz="2097">
              <a:solidFill>
                <a:srgbClr val="000000"/>
              </a:solidFill>
              <a:latin typeface="72 Brand" panose="020B0504030603020204" pitchFamily="34" charset="0"/>
            </a:endParaRPr>
          </a:p>
        </p:txBody>
      </p:sp>
      <p:grpSp>
        <p:nvGrpSpPr>
          <p:cNvPr id="347" name="Group 346">
            <a:extLst>
              <a:ext uri="{FF2B5EF4-FFF2-40B4-BE49-F238E27FC236}">
                <a16:creationId xmlns:a16="http://schemas.microsoft.com/office/drawing/2014/main" id="{55CED882-84F4-ED28-EAAB-DEE6245113BE}"/>
              </a:ext>
            </a:extLst>
          </p:cNvPr>
          <p:cNvGrpSpPr/>
          <p:nvPr/>
        </p:nvGrpSpPr>
        <p:grpSpPr>
          <a:xfrm>
            <a:off x="3066076" y="3273701"/>
            <a:ext cx="1365623" cy="683139"/>
            <a:chOff x="-1082359" y="4902842"/>
            <a:chExt cx="1365623" cy="683139"/>
          </a:xfrm>
          <a:gradFill>
            <a:gsLst>
              <a:gs pos="0">
                <a:srgbClr val="89D1FF"/>
              </a:gs>
              <a:gs pos="100000">
                <a:srgbClr val="89D1FF">
                  <a:alpha val="0"/>
                </a:srgbClr>
              </a:gs>
            </a:gsLst>
            <a:lin ang="0" scaled="1"/>
          </a:gradFill>
        </p:grpSpPr>
        <p:sp>
          <p:nvSpPr>
            <p:cNvPr id="348" name="Freeform: Shape 347">
              <a:extLst>
                <a:ext uri="{FF2B5EF4-FFF2-40B4-BE49-F238E27FC236}">
                  <a16:creationId xmlns:a16="http://schemas.microsoft.com/office/drawing/2014/main" id="{498FCC80-5058-CF88-3C00-EA813C30DC0A}"/>
                </a:ext>
              </a:extLst>
            </p:cNvPr>
            <p:cNvSpPr/>
            <p:nvPr/>
          </p:nvSpPr>
          <p:spPr>
            <a:xfrm>
              <a:off x="-1082359" y="490470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357"/>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49" name="Freeform: Shape 348">
              <a:extLst>
                <a:ext uri="{FF2B5EF4-FFF2-40B4-BE49-F238E27FC236}">
                  <a16:creationId xmlns:a16="http://schemas.microsoft.com/office/drawing/2014/main" id="{45103B2D-801C-50EA-D68B-147BD6FED085}"/>
                </a:ext>
              </a:extLst>
            </p:cNvPr>
            <p:cNvSpPr/>
            <p:nvPr/>
          </p:nvSpPr>
          <p:spPr>
            <a:xfrm>
              <a:off x="-910535" y="4902842"/>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50" name="Freeform: Shape 349">
              <a:extLst>
                <a:ext uri="{FF2B5EF4-FFF2-40B4-BE49-F238E27FC236}">
                  <a16:creationId xmlns:a16="http://schemas.microsoft.com/office/drawing/2014/main" id="{87C04A49-E6EF-2731-E01D-969EB1550D8D}"/>
                </a:ext>
              </a:extLst>
            </p:cNvPr>
            <p:cNvSpPr/>
            <p:nvPr/>
          </p:nvSpPr>
          <p:spPr>
            <a:xfrm>
              <a:off x="-714186" y="490470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357"/>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51" name="Freeform: Shape 350">
              <a:extLst>
                <a:ext uri="{FF2B5EF4-FFF2-40B4-BE49-F238E27FC236}">
                  <a16:creationId xmlns:a16="http://schemas.microsoft.com/office/drawing/2014/main" id="{02626859-2B31-4E54-BD24-4DF23F6AE567}"/>
                </a:ext>
              </a:extLst>
            </p:cNvPr>
            <p:cNvSpPr/>
            <p:nvPr/>
          </p:nvSpPr>
          <p:spPr>
            <a:xfrm>
              <a:off x="-530099" y="4904707"/>
              <a:ext cx="38880" cy="103950"/>
            </a:xfrm>
            <a:custGeom>
              <a:avLst/>
              <a:gdLst>
                <a:gd name="connsiteX0" fmla="*/ 26371 w 43395"/>
                <a:gd name="connsiteY0" fmla="*/ 16357 h 130188"/>
                <a:gd name="connsiteX1" fmla="*/ 26038 w 43395"/>
                <a:gd name="connsiteY1" fmla="*/ 16357 h 130188"/>
                <a:gd name="connsiteX2" fmla="*/ 3338 w 43395"/>
                <a:gd name="connsiteY2" fmla="*/ 28541 h 130188"/>
                <a:gd name="connsiteX3" fmla="*/ 0 w 43395"/>
                <a:gd name="connsiteY3" fmla="*/ 15189 h 130188"/>
                <a:gd name="connsiteX4" fmla="*/ 28374 w 43395"/>
                <a:gd name="connsiteY4" fmla="*/ 0 h 130188"/>
                <a:gd name="connsiteX5" fmla="*/ 43396 w 43395"/>
                <a:gd name="connsiteY5" fmla="*/ 0 h 130188"/>
                <a:gd name="connsiteX6" fmla="*/ 43396 w 43395"/>
                <a:gd name="connsiteY6" fmla="*/ 130188 h 130188"/>
                <a:gd name="connsiteX7" fmla="*/ 26371 w 43395"/>
                <a:gd name="connsiteY7" fmla="*/ 130188 h 130188"/>
                <a:gd name="connsiteX8" fmla="*/ 26371 w 43395"/>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5" h="130188">
                  <a:moveTo>
                    <a:pt x="26371" y="16357"/>
                  </a:moveTo>
                  <a:lnTo>
                    <a:pt x="26038" y="16357"/>
                  </a:lnTo>
                  <a:lnTo>
                    <a:pt x="3338" y="28541"/>
                  </a:lnTo>
                  <a:lnTo>
                    <a:pt x="0" y="15189"/>
                  </a:lnTo>
                  <a:lnTo>
                    <a:pt x="28374" y="0"/>
                  </a:lnTo>
                  <a:lnTo>
                    <a:pt x="43396" y="0"/>
                  </a:lnTo>
                  <a:lnTo>
                    <a:pt x="43396" y="130188"/>
                  </a:lnTo>
                  <a:lnTo>
                    <a:pt x="26371" y="130188"/>
                  </a:lnTo>
                  <a:lnTo>
                    <a:pt x="26371" y="16357"/>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52" name="Freeform: Shape 351">
              <a:extLst>
                <a:ext uri="{FF2B5EF4-FFF2-40B4-BE49-F238E27FC236}">
                  <a16:creationId xmlns:a16="http://schemas.microsoft.com/office/drawing/2014/main" id="{D1945751-9A2D-B906-925D-9B31351B3D03}"/>
                </a:ext>
              </a:extLst>
            </p:cNvPr>
            <p:cNvSpPr/>
            <p:nvPr/>
          </p:nvSpPr>
          <p:spPr>
            <a:xfrm>
              <a:off x="-320141" y="4902842"/>
              <a:ext cx="79108" cy="107415"/>
            </a:xfrm>
            <a:custGeom>
              <a:avLst/>
              <a:gdLst>
                <a:gd name="connsiteX0" fmla="*/ 88295 w 88294"/>
                <a:gd name="connsiteY0" fmla="*/ 65929 h 134527"/>
                <a:gd name="connsiteX1" fmla="*/ 43063 w 88294"/>
                <a:gd name="connsiteY1" fmla="*/ 134528 h 134527"/>
                <a:gd name="connsiteX2" fmla="*/ 0 w 88294"/>
                <a:gd name="connsiteY2" fmla="*/ 67598 h 134527"/>
                <a:gd name="connsiteX3" fmla="*/ 45232 w 88294"/>
                <a:gd name="connsiteY3" fmla="*/ 0 h 134527"/>
                <a:gd name="connsiteX4" fmla="*/ 88295 w 88294"/>
                <a:gd name="connsiteY4" fmla="*/ 65929 h 134527"/>
                <a:gd name="connsiteX5" fmla="*/ 17526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693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5" y="65929"/>
                  </a:moveTo>
                  <a:cubicBezTo>
                    <a:pt x="88295" y="110159"/>
                    <a:pt x="71938" y="134528"/>
                    <a:pt x="43063" y="134528"/>
                  </a:cubicBezTo>
                  <a:cubicBezTo>
                    <a:pt x="17693" y="134528"/>
                    <a:pt x="501" y="110660"/>
                    <a:pt x="0" y="67598"/>
                  </a:cubicBezTo>
                  <a:cubicBezTo>
                    <a:pt x="0" y="24035"/>
                    <a:pt x="18861" y="0"/>
                    <a:pt x="45232" y="0"/>
                  </a:cubicBezTo>
                  <a:cubicBezTo>
                    <a:pt x="71604" y="0"/>
                    <a:pt x="88295" y="24369"/>
                    <a:pt x="88295" y="65929"/>
                  </a:cubicBezTo>
                  <a:close/>
                  <a:moveTo>
                    <a:pt x="17526" y="67932"/>
                  </a:moveTo>
                  <a:cubicBezTo>
                    <a:pt x="17526" y="101814"/>
                    <a:pt x="27874" y="121008"/>
                    <a:pt x="43897" y="121008"/>
                  </a:cubicBezTo>
                  <a:cubicBezTo>
                    <a:pt x="61923" y="121008"/>
                    <a:pt x="70602" y="99978"/>
                    <a:pt x="70602" y="66763"/>
                  </a:cubicBezTo>
                  <a:cubicBezTo>
                    <a:pt x="70602" y="33549"/>
                    <a:pt x="62424" y="13686"/>
                    <a:pt x="44231" y="13686"/>
                  </a:cubicBezTo>
                  <a:cubicBezTo>
                    <a:pt x="28875" y="13686"/>
                    <a:pt x="17693" y="32547"/>
                    <a:pt x="17693"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53" name="Freeform: Shape 352">
              <a:extLst>
                <a:ext uri="{FF2B5EF4-FFF2-40B4-BE49-F238E27FC236}">
                  <a16:creationId xmlns:a16="http://schemas.microsoft.com/office/drawing/2014/main" id="{81BF0228-CD7D-850E-2780-7781026E10AB}"/>
                </a:ext>
              </a:extLst>
            </p:cNvPr>
            <p:cNvSpPr/>
            <p:nvPr/>
          </p:nvSpPr>
          <p:spPr>
            <a:xfrm>
              <a:off x="-136053" y="4902842"/>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59" name="Freeform: Shape 358">
              <a:extLst>
                <a:ext uri="{FF2B5EF4-FFF2-40B4-BE49-F238E27FC236}">
                  <a16:creationId xmlns:a16="http://schemas.microsoft.com/office/drawing/2014/main" id="{831144EF-EBE1-BD1F-051E-CB52B174090B}"/>
                </a:ext>
              </a:extLst>
            </p:cNvPr>
            <p:cNvSpPr/>
            <p:nvPr/>
          </p:nvSpPr>
          <p:spPr>
            <a:xfrm>
              <a:off x="48034" y="4902842"/>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8" y="13686"/>
                  </a:cubicBezTo>
                  <a:cubicBezTo>
                    <a:pt x="29042" y="13686"/>
                    <a:pt x="17692" y="32547"/>
                    <a:pt x="17692"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60" name="Freeform: Shape 359">
              <a:extLst>
                <a:ext uri="{FF2B5EF4-FFF2-40B4-BE49-F238E27FC236}">
                  <a16:creationId xmlns:a16="http://schemas.microsoft.com/office/drawing/2014/main" id="{1C0C6242-57EA-5555-FA76-FAE2EDC6462E}"/>
                </a:ext>
              </a:extLst>
            </p:cNvPr>
            <p:cNvSpPr/>
            <p:nvPr/>
          </p:nvSpPr>
          <p:spPr>
            <a:xfrm>
              <a:off x="244383" y="490470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357"/>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61" name="Freeform: Shape 360">
              <a:extLst>
                <a:ext uri="{FF2B5EF4-FFF2-40B4-BE49-F238E27FC236}">
                  <a16:creationId xmlns:a16="http://schemas.microsoft.com/office/drawing/2014/main" id="{CC253998-CA6A-2E45-B3F8-D5DA8FAF9942}"/>
                </a:ext>
              </a:extLst>
            </p:cNvPr>
            <p:cNvSpPr/>
            <p:nvPr/>
          </p:nvSpPr>
          <p:spPr>
            <a:xfrm>
              <a:off x="-1082359" y="5096616"/>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65" name="Freeform: Shape 364">
              <a:extLst>
                <a:ext uri="{FF2B5EF4-FFF2-40B4-BE49-F238E27FC236}">
                  <a16:creationId xmlns:a16="http://schemas.microsoft.com/office/drawing/2014/main" id="{68E7969F-A10A-E8F4-7314-59F1BACAB803}"/>
                </a:ext>
              </a:extLst>
            </p:cNvPr>
            <p:cNvSpPr/>
            <p:nvPr/>
          </p:nvSpPr>
          <p:spPr>
            <a:xfrm>
              <a:off x="-910535" y="5094750"/>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66" name="Freeform: Shape 365">
              <a:extLst>
                <a:ext uri="{FF2B5EF4-FFF2-40B4-BE49-F238E27FC236}">
                  <a16:creationId xmlns:a16="http://schemas.microsoft.com/office/drawing/2014/main" id="{0643205C-2BF3-A422-47F6-5779E98FAEA9}"/>
                </a:ext>
              </a:extLst>
            </p:cNvPr>
            <p:cNvSpPr/>
            <p:nvPr/>
          </p:nvSpPr>
          <p:spPr>
            <a:xfrm>
              <a:off x="-714186" y="5096616"/>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83" name="Freeform: Shape 382">
              <a:extLst>
                <a:ext uri="{FF2B5EF4-FFF2-40B4-BE49-F238E27FC236}">
                  <a16:creationId xmlns:a16="http://schemas.microsoft.com/office/drawing/2014/main" id="{97CF9C1C-6A2F-D13D-5615-C5B0B23A7008}"/>
                </a:ext>
              </a:extLst>
            </p:cNvPr>
            <p:cNvSpPr/>
            <p:nvPr/>
          </p:nvSpPr>
          <p:spPr>
            <a:xfrm>
              <a:off x="-530099" y="5096616"/>
              <a:ext cx="38880" cy="103950"/>
            </a:xfrm>
            <a:custGeom>
              <a:avLst/>
              <a:gdLst>
                <a:gd name="connsiteX0" fmla="*/ 26371 w 43395"/>
                <a:gd name="connsiteY0" fmla="*/ 16357 h 130188"/>
                <a:gd name="connsiteX1" fmla="*/ 26038 w 43395"/>
                <a:gd name="connsiteY1" fmla="*/ 16357 h 130188"/>
                <a:gd name="connsiteX2" fmla="*/ 3338 w 43395"/>
                <a:gd name="connsiteY2" fmla="*/ 28541 h 130188"/>
                <a:gd name="connsiteX3" fmla="*/ 0 w 43395"/>
                <a:gd name="connsiteY3" fmla="*/ 15189 h 130188"/>
                <a:gd name="connsiteX4" fmla="*/ 28374 w 43395"/>
                <a:gd name="connsiteY4" fmla="*/ 0 h 130188"/>
                <a:gd name="connsiteX5" fmla="*/ 43396 w 43395"/>
                <a:gd name="connsiteY5" fmla="*/ 0 h 130188"/>
                <a:gd name="connsiteX6" fmla="*/ 43396 w 43395"/>
                <a:gd name="connsiteY6" fmla="*/ 130188 h 130188"/>
                <a:gd name="connsiteX7" fmla="*/ 26371 w 43395"/>
                <a:gd name="connsiteY7" fmla="*/ 130188 h 130188"/>
                <a:gd name="connsiteX8" fmla="*/ 26371 w 43395"/>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5" h="130188">
                  <a:moveTo>
                    <a:pt x="26371" y="16357"/>
                  </a:moveTo>
                  <a:lnTo>
                    <a:pt x="26038" y="16357"/>
                  </a:lnTo>
                  <a:lnTo>
                    <a:pt x="3338" y="28541"/>
                  </a:lnTo>
                  <a:lnTo>
                    <a:pt x="0" y="15189"/>
                  </a:lnTo>
                  <a:lnTo>
                    <a:pt x="28374" y="0"/>
                  </a:lnTo>
                  <a:lnTo>
                    <a:pt x="43396" y="0"/>
                  </a:lnTo>
                  <a:lnTo>
                    <a:pt x="43396" y="130188"/>
                  </a:lnTo>
                  <a:lnTo>
                    <a:pt x="26371" y="130188"/>
                  </a:lnTo>
                  <a:lnTo>
                    <a:pt x="26371"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88" name="Freeform: Shape 387">
              <a:extLst>
                <a:ext uri="{FF2B5EF4-FFF2-40B4-BE49-F238E27FC236}">
                  <a16:creationId xmlns:a16="http://schemas.microsoft.com/office/drawing/2014/main" id="{050B6F18-09FE-5236-958A-056990163F46}"/>
                </a:ext>
              </a:extLst>
            </p:cNvPr>
            <p:cNvSpPr/>
            <p:nvPr/>
          </p:nvSpPr>
          <p:spPr>
            <a:xfrm>
              <a:off x="-320141" y="5094750"/>
              <a:ext cx="79108" cy="107415"/>
            </a:xfrm>
            <a:custGeom>
              <a:avLst/>
              <a:gdLst>
                <a:gd name="connsiteX0" fmla="*/ 88295 w 88294"/>
                <a:gd name="connsiteY0" fmla="*/ 65929 h 134527"/>
                <a:gd name="connsiteX1" fmla="*/ 43063 w 88294"/>
                <a:gd name="connsiteY1" fmla="*/ 134528 h 134527"/>
                <a:gd name="connsiteX2" fmla="*/ 0 w 88294"/>
                <a:gd name="connsiteY2" fmla="*/ 67598 h 134527"/>
                <a:gd name="connsiteX3" fmla="*/ 45232 w 88294"/>
                <a:gd name="connsiteY3" fmla="*/ 0 h 134527"/>
                <a:gd name="connsiteX4" fmla="*/ 88295 w 88294"/>
                <a:gd name="connsiteY4" fmla="*/ 65929 h 134527"/>
                <a:gd name="connsiteX5" fmla="*/ 17526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693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5" y="65929"/>
                  </a:moveTo>
                  <a:cubicBezTo>
                    <a:pt x="88295" y="110159"/>
                    <a:pt x="71938" y="134528"/>
                    <a:pt x="43063" y="134528"/>
                  </a:cubicBezTo>
                  <a:cubicBezTo>
                    <a:pt x="17693" y="134528"/>
                    <a:pt x="501" y="110660"/>
                    <a:pt x="0" y="67598"/>
                  </a:cubicBezTo>
                  <a:cubicBezTo>
                    <a:pt x="0" y="24035"/>
                    <a:pt x="18861" y="0"/>
                    <a:pt x="45232" y="0"/>
                  </a:cubicBezTo>
                  <a:cubicBezTo>
                    <a:pt x="71604" y="0"/>
                    <a:pt x="88295" y="24369"/>
                    <a:pt x="88295" y="65929"/>
                  </a:cubicBezTo>
                  <a:close/>
                  <a:moveTo>
                    <a:pt x="17526" y="67932"/>
                  </a:moveTo>
                  <a:cubicBezTo>
                    <a:pt x="17526" y="101814"/>
                    <a:pt x="27874" y="121008"/>
                    <a:pt x="43897" y="121008"/>
                  </a:cubicBezTo>
                  <a:cubicBezTo>
                    <a:pt x="61923" y="121008"/>
                    <a:pt x="70602" y="99978"/>
                    <a:pt x="70602" y="66763"/>
                  </a:cubicBezTo>
                  <a:cubicBezTo>
                    <a:pt x="70602" y="33549"/>
                    <a:pt x="62424" y="13686"/>
                    <a:pt x="44231" y="13686"/>
                  </a:cubicBezTo>
                  <a:cubicBezTo>
                    <a:pt x="28875" y="13686"/>
                    <a:pt x="17693" y="32547"/>
                    <a:pt x="17693"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89" name="Freeform: Shape 388">
              <a:extLst>
                <a:ext uri="{FF2B5EF4-FFF2-40B4-BE49-F238E27FC236}">
                  <a16:creationId xmlns:a16="http://schemas.microsoft.com/office/drawing/2014/main" id="{68B06045-D671-A9ED-9A93-4ECB4C2FF7CB}"/>
                </a:ext>
              </a:extLst>
            </p:cNvPr>
            <p:cNvSpPr/>
            <p:nvPr/>
          </p:nvSpPr>
          <p:spPr>
            <a:xfrm>
              <a:off x="-136053" y="5094750"/>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90" name="Freeform: Shape 389">
              <a:extLst>
                <a:ext uri="{FF2B5EF4-FFF2-40B4-BE49-F238E27FC236}">
                  <a16:creationId xmlns:a16="http://schemas.microsoft.com/office/drawing/2014/main" id="{222D5066-5C7D-1C94-2837-567F606F0384}"/>
                </a:ext>
              </a:extLst>
            </p:cNvPr>
            <p:cNvSpPr/>
            <p:nvPr/>
          </p:nvSpPr>
          <p:spPr>
            <a:xfrm>
              <a:off x="48034" y="5094750"/>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8" y="13686"/>
                  </a:cubicBezTo>
                  <a:cubicBezTo>
                    <a:pt x="29042" y="13686"/>
                    <a:pt x="17692" y="32547"/>
                    <a:pt x="17692"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91" name="Freeform: Shape 390">
              <a:extLst>
                <a:ext uri="{FF2B5EF4-FFF2-40B4-BE49-F238E27FC236}">
                  <a16:creationId xmlns:a16="http://schemas.microsoft.com/office/drawing/2014/main" id="{2995A91D-108F-4E7C-3761-E3B026B7E873}"/>
                </a:ext>
              </a:extLst>
            </p:cNvPr>
            <p:cNvSpPr/>
            <p:nvPr/>
          </p:nvSpPr>
          <p:spPr>
            <a:xfrm>
              <a:off x="244383" y="5096616"/>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92" name="Freeform: Shape 391">
              <a:extLst>
                <a:ext uri="{FF2B5EF4-FFF2-40B4-BE49-F238E27FC236}">
                  <a16:creationId xmlns:a16="http://schemas.microsoft.com/office/drawing/2014/main" id="{4B937E18-DA0F-169F-31CF-5883FF561991}"/>
                </a:ext>
              </a:extLst>
            </p:cNvPr>
            <p:cNvSpPr/>
            <p:nvPr/>
          </p:nvSpPr>
          <p:spPr>
            <a:xfrm>
              <a:off x="-1082359" y="5288523"/>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93" name="Freeform: Shape 392">
              <a:extLst>
                <a:ext uri="{FF2B5EF4-FFF2-40B4-BE49-F238E27FC236}">
                  <a16:creationId xmlns:a16="http://schemas.microsoft.com/office/drawing/2014/main" id="{AE2CB198-1B20-38D0-1F8D-B492AABD780F}"/>
                </a:ext>
              </a:extLst>
            </p:cNvPr>
            <p:cNvSpPr/>
            <p:nvPr/>
          </p:nvSpPr>
          <p:spPr>
            <a:xfrm>
              <a:off x="-910535" y="5286658"/>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94" name="Freeform: Shape 393">
              <a:extLst>
                <a:ext uri="{FF2B5EF4-FFF2-40B4-BE49-F238E27FC236}">
                  <a16:creationId xmlns:a16="http://schemas.microsoft.com/office/drawing/2014/main" id="{75DDB49F-7812-CF35-6739-2C4F073D6763}"/>
                </a:ext>
              </a:extLst>
            </p:cNvPr>
            <p:cNvSpPr/>
            <p:nvPr/>
          </p:nvSpPr>
          <p:spPr>
            <a:xfrm>
              <a:off x="-714186" y="5288523"/>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95" name="Freeform: Shape 394">
              <a:extLst>
                <a:ext uri="{FF2B5EF4-FFF2-40B4-BE49-F238E27FC236}">
                  <a16:creationId xmlns:a16="http://schemas.microsoft.com/office/drawing/2014/main" id="{3D20B499-7A85-3BD6-9C6B-CDDB31D0F2DD}"/>
                </a:ext>
              </a:extLst>
            </p:cNvPr>
            <p:cNvSpPr/>
            <p:nvPr/>
          </p:nvSpPr>
          <p:spPr>
            <a:xfrm>
              <a:off x="-530099" y="5288523"/>
              <a:ext cx="38880" cy="103950"/>
            </a:xfrm>
            <a:custGeom>
              <a:avLst/>
              <a:gdLst>
                <a:gd name="connsiteX0" fmla="*/ 26371 w 43395"/>
                <a:gd name="connsiteY0" fmla="*/ 16357 h 130188"/>
                <a:gd name="connsiteX1" fmla="*/ 26038 w 43395"/>
                <a:gd name="connsiteY1" fmla="*/ 16357 h 130188"/>
                <a:gd name="connsiteX2" fmla="*/ 3338 w 43395"/>
                <a:gd name="connsiteY2" fmla="*/ 28541 h 130188"/>
                <a:gd name="connsiteX3" fmla="*/ 0 w 43395"/>
                <a:gd name="connsiteY3" fmla="*/ 15189 h 130188"/>
                <a:gd name="connsiteX4" fmla="*/ 28374 w 43395"/>
                <a:gd name="connsiteY4" fmla="*/ 0 h 130188"/>
                <a:gd name="connsiteX5" fmla="*/ 43396 w 43395"/>
                <a:gd name="connsiteY5" fmla="*/ 0 h 130188"/>
                <a:gd name="connsiteX6" fmla="*/ 43396 w 43395"/>
                <a:gd name="connsiteY6" fmla="*/ 130188 h 130188"/>
                <a:gd name="connsiteX7" fmla="*/ 26371 w 43395"/>
                <a:gd name="connsiteY7" fmla="*/ 130188 h 130188"/>
                <a:gd name="connsiteX8" fmla="*/ 26371 w 43395"/>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5" h="130188">
                  <a:moveTo>
                    <a:pt x="26371" y="16357"/>
                  </a:moveTo>
                  <a:lnTo>
                    <a:pt x="26038" y="16357"/>
                  </a:lnTo>
                  <a:lnTo>
                    <a:pt x="3338" y="28541"/>
                  </a:lnTo>
                  <a:lnTo>
                    <a:pt x="0" y="15189"/>
                  </a:lnTo>
                  <a:lnTo>
                    <a:pt x="28374" y="0"/>
                  </a:lnTo>
                  <a:lnTo>
                    <a:pt x="43396" y="0"/>
                  </a:lnTo>
                  <a:lnTo>
                    <a:pt x="43396" y="130188"/>
                  </a:lnTo>
                  <a:lnTo>
                    <a:pt x="26371" y="130188"/>
                  </a:lnTo>
                  <a:lnTo>
                    <a:pt x="26371"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96" name="Freeform: Shape 395">
              <a:extLst>
                <a:ext uri="{FF2B5EF4-FFF2-40B4-BE49-F238E27FC236}">
                  <a16:creationId xmlns:a16="http://schemas.microsoft.com/office/drawing/2014/main" id="{5C476C22-AA4B-41AF-93C6-66D7C2D0550F}"/>
                </a:ext>
              </a:extLst>
            </p:cNvPr>
            <p:cNvSpPr/>
            <p:nvPr/>
          </p:nvSpPr>
          <p:spPr>
            <a:xfrm>
              <a:off x="-320141" y="5286658"/>
              <a:ext cx="79108" cy="107415"/>
            </a:xfrm>
            <a:custGeom>
              <a:avLst/>
              <a:gdLst>
                <a:gd name="connsiteX0" fmla="*/ 88295 w 88294"/>
                <a:gd name="connsiteY0" fmla="*/ 65929 h 134527"/>
                <a:gd name="connsiteX1" fmla="*/ 43063 w 88294"/>
                <a:gd name="connsiteY1" fmla="*/ 134528 h 134527"/>
                <a:gd name="connsiteX2" fmla="*/ 0 w 88294"/>
                <a:gd name="connsiteY2" fmla="*/ 67598 h 134527"/>
                <a:gd name="connsiteX3" fmla="*/ 45232 w 88294"/>
                <a:gd name="connsiteY3" fmla="*/ 0 h 134527"/>
                <a:gd name="connsiteX4" fmla="*/ 88295 w 88294"/>
                <a:gd name="connsiteY4" fmla="*/ 65929 h 134527"/>
                <a:gd name="connsiteX5" fmla="*/ 17526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693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5" y="65929"/>
                  </a:moveTo>
                  <a:cubicBezTo>
                    <a:pt x="88295" y="110159"/>
                    <a:pt x="71938" y="134528"/>
                    <a:pt x="43063" y="134528"/>
                  </a:cubicBezTo>
                  <a:cubicBezTo>
                    <a:pt x="17693" y="134528"/>
                    <a:pt x="501" y="110660"/>
                    <a:pt x="0" y="67598"/>
                  </a:cubicBezTo>
                  <a:cubicBezTo>
                    <a:pt x="0" y="24035"/>
                    <a:pt x="18861" y="0"/>
                    <a:pt x="45232" y="0"/>
                  </a:cubicBezTo>
                  <a:cubicBezTo>
                    <a:pt x="71604" y="0"/>
                    <a:pt x="88295" y="24369"/>
                    <a:pt x="88295" y="65929"/>
                  </a:cubicBezTo>
                  <a:close/>
                  <a:moveTo>
                    <a:pt x="17526" y="67932"/>
                  </a:moveTo>
                  <a:cubicBezTo>
                    <a:pt x="17526" y="101814"/>
                    <a:pt x="27874" y="121008"/>
                    <a:pt x="43897" y="121008"/>
                  </a:cubicBezTo>
                  <a:cubicBezTo>
                    <a:pt x="61923" y="121008"/>
                    <a:pt x="70602" y="99978"/>
                    <a:pt x="70602" y="66763"/>
                  </a:cubicBezTo>
                  <a:cubicBezTo>
                    <a:pt x="70602" y="33549"/>
                    <a:pt x="62424" y="13686"/>
                    <a:pt x="44231" y="13686"/>
                  </a:cubicBezTo>
                  <a:cubicBezTo>
                    <a:pt x="28875" y="13686"/>
                    <a:pt x="17693" y="32547"/>
                    <a:pt x="17693"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97" name="Freeform: Shape 396">
              <a:extLst>
                <a:ext uri="{FF2B5EF4-FFF2-40B4-BE49-F238E27FC236}">
                  <a16:creationId xmlns:a16="http://schemas.microsoft.com/office/drawing/2014/main" id="{9FB64652-DB95-EE0D-5E57-865546AE3D28}"/>
                </a:ext>
              </a:extLst>
            </p:cNvPr>
            <p:cNvSpPr/>
            <p:nvPr/>
          </p:nvSpPr>
          <p:spPr>
            <a:xfrm>
              <a:off x="-136053" y="5286658"/>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98" name="Freeform: Shape 397">
              <a:extLst>
                <a:ext uri="{FF2B5EF4-FFF2-40B4-BE49-F238E27FC236}">
                  <a16:creationId xmlns:a16="http://schemas.microsoft.com/office/drawing/2014/main" id="{735215BD-CBD1-39D4-E371-031616437373}"/>
                </a:ext>
              </a:extLst>
            </p:cNvPr>
            <p:cNvSpPr/>
            <p:nvPr/>
          </p:nvSpPr>
          <p:spPr>
            <a:xfrm>
              <a:off x="48034" y="5286658"/>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8" y="13686"/>
                  </a:cubicBezTo>
                  <a:cubicBezTo>
                    <a:pt x="29042" y="13686"/>
                    <a:pt x="17692" y="32547"/>
                    <a:pt x="17692"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399" name="Freeform: Shape 398">
              <a:extLst>
                <a:ext uri="{FF2B5EF4-FFF2-40B4-BE49-F238E27FC236}">
                  <a16:creationId xmlns:a16="http://schemas.microsoft.com/office/drawing/2014/main" id="{80AF0911-26E3-7391-4B90-AA1ED2ABDBA9}"/>
                </a:ext>
              </a:extLst>
            </p:cNvPr>
            <p:cNvSpPr/>
            <p:nvPr/>
          </p:nvSpPr>
          <p:spPr>
            <a:xfrm>
              <a:off x="244383" y="5288523"/>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400" name="Freeform: Shape 399">
              <a:extLst>
                <a:ext uri="{FF2B5EF4-FFF2-40B4-BE49-F238E27FC236}">
                  <a16:creationId xmlns:a16="http://schemas.microsoft.com/office/drawing/2014/main" id="{32FAA63F-755C-AA7A-CBC9-BBD485219EC1}"/>
                </a:ext>
              </a:extLst>
            </p:cNvPr>
            <p:cNvSpPr/>
            <p:nvPr/>
          </p:nvSpPr>
          <p:spPr>
            <a:xfrm>
              <a:off x="-1082359" y="5480432"/>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401" name="Freeform: Shape 400">
              <a:extLst>
                <a:ext uri="{FF2B5EF4-FFF2-40B4-BE49-F238E27FC236}">
                  <a16:creationId xmlns:a16="http://schemas.microsoft.com/office/drawing/2014/main" id="{05F1FD46-544F-85BE-F139-624938ADDCD4}"/>
                </a:ext>
              </a:extLst>
            </p:cNvPr>
            <p:cNvSpPr/>
            <p:nvPr/>
          </p:nvSpPr>
          <p:spPr>
            <a:xfrm>
              <a:off x="-910535" y="5478566"/>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8"/>
                    <a:pt x="62423" y="13686"/>
                    <a:pt x="44231" y="13686"/>
                  </a:cubicBezTo>
                  <a:cubicBezTo>
                    <a:pt x="28875" y="13686"/>
                    <a:pt x="17525" y="32547"/>
                    <a:pt x="17525"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402" name="Freeform: Shape 401">
              <a:extLst>
                <a:ext uri="{FF2B5EF4-FFF2-40B4-BE49-F238E27FC236}">
                  <a16:creationId xmlns:a16="http://schemas.microsoft.com/office/drawing/2014/main" id="{1D39D667-B8A4-7F89-6A56-A1A38C8137F8}"/>
                </a:ext>
              </a:extLst>
            </p:cNvPr>
            <p:cNvSpPr/>
            <p:nvPr/>
          </p:nvSpPr>
          <p:spPr>
            <a:xfrm>
              <a:off x="-714186" y="5480432"/>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403" name="Freeform: Shape 402">
              <a:extLst>
                <a:ext uri="{FF2B5EF4-FFF2-40B4-BE49-F238E27FC236}">
                  <a16:creationId xmlns:a16="http://schemas.microsoft.com/office/drawing/2014/main" id="{D5DCCCBD-E711-0D43-EC4B-CF00046CECF3}"/>
                </a:ext>
              </a:extLst>
            </p:cNvPr>
            <p:cNvSpPr/>
            <p:nvPr/>
          </p:nvSpPr>
          <p:spPr>
            <a:xfrm>
              <a:off x="-530099" y="5480432"/>
              <a:ext cx="38880" cy="103950"/>
            </a:xfrm>
            <a:custGeom>
              <a:avLst/>
              <a:gdLst>
                <a:gd name="connsiteX0" fmla="*/ 26371 w 43395"/>
                <a:gd name="connsiteY0" fmla="*/ 16357 h 130188"/>
                <a:gd name="connsiteX1" fmla="*/ 26038 w 43395"/>
                <a:gd name="connsiteY1" fmla="*/ 16357 h 130188"/>
                <a:gd name="connsiteX2" fmla="*/ 3338 w 43395"/>
                <a:gd name="connsiteY2" fmla="*/ 28541 h 130188"/>
                <a:gd name="connsiteX3" fmla="*/ 0 w 43395"/>
                <a:gd name="connsiteY3" fmla="*/ 15189 h 130188"/>
                <a:gd name="connsiteX4" fmla="*/ 28374 w 43395"/>
                <a:gd name="connsiteY4" fmla="*/ 0 h 130188"/>
                <a:gd name="connsiteX5" fmla="*/ 43396 w 43395"/>
                <a:gd name="connsiteY5" fmla="*/ 0 h 130188"/>
                <a:gd name="connsiteX6" fmla="*/ 43396 w 43395"/>
                <a:gd name="connsiteY6" fmla="*/ 130188 h 130188"/>
                <a:gd name="connsiteX7" fmla="*/ 26371 w 43395"/>
                <a:gd name="connsiteY7" fmla="*/ 130188 h 130188"/>
                <a:gd name="connsiteX8" fmla="*/ 26371 w 43395"/>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5" h="130188">
                  <a:moveTo>
                    <a:pt x="26371" y="16357"/>
                  </a:moveTo>
                  <a:lnTo>
                    <a:pt x="26038" y="16357"/>
                  </a:lnTo>
                  <a:lnTo>
                    <a:pt x="3338" y="28541"/>
                  </a:lnTo>
                  <a:lnTo>
                    <a:pt x="0" y="15189"/>
                  </a:lnTo>
                  <a:lnTo>
                    <a:pt x="28374" y="0"/>
                  </a:lnTo>
                  <a:lnTo>
                    <a:pt x="43396" y="0"/>
                  </a:lnTo>
                  <a:lnTo>
                    <a:pt x="43396" y="130188"/>
                  </a:lnTo>
                  <a:lnTo>
                    <a:pt x="26371" y="130188"/>
                  </a:lnTo>
                  <a:lnTo>
                    <a:pt x="26371"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404" name="Freeform: Shape 403">
              <a:extLst>
                <a:ext uri="{FF2B5EF4-FFF2-40B4-BE49-F238E27FC236}">
                  <a16:creationId xmlns:a16="http://schemas.microsoft.com/office/drawing/2014/main" id="{E7467C70-4C0D-CAE7-FBD0-A0350DEFF681}"/>
                </a:ext>
              </a:extLst>
            </p:cNvPr>
            <p:cNvSpPr/>
            <p:nvPr/>
          </p:nvSpPr>
          <p:spPr>
            <a:xfrm>
              <a:off x="-320141" y="5478566"/>
              <a:ext cx="79108" cy="107415"/>
            </a:xfrm>
            <a:custGeom>
              <a:avLst/>
              <a:gdLst>
                <a:gd name="connsiteX0" fmla="*/ 88295 w 88294"/>
                <a:gd name="connsiteY0" fmla="*/ 65929 h 134527"/>
                <a:gd name="connsiteX1" fmla="*/ 43063 w 88294"/>
                <a:gd name="connsiteY1" fmla="*/ 134528 h 134527"/>
                <a:gd name="connsiteX2" fmla="*/ 0 w 88294"/>
                <a:gd name="connsiteY2" fmla="*/ 67598 h 134527"/>
                <a:gd name="connsiteX3" fmla="*/ 45232 w 88294"/>
                <a:gd name="connsiteY3" fmla="*/ 0 h 134527"/>
                <a:gd name="connsiteX4" fmla="*/ 88295 w 88294"/>
                <a:gd name="connsiteY4" fmla="*/ 65929 h 134527"/>
                <a:gd name="connsiteX5" fmla="*/ 17526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693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5" y="65929"/>
                  </a:moveTo>
                  <a:cubicBezTo>
                    <a:pt x="88295" y="110159"/>
                    <a:pt x="71938" y="134528"/>
                    <a:pt x="43063" y="134528"/>
                  </a:cubicBezTo>
                  <a:cubicBezTo>
                    <a:pt x="17693" y="134528"/>
                    <a:pt x="501" y="110660"/>
                    <a:pt x="0" y="67598"/>
                  </a:cubicBezTo>
                  <a:cubicBezTo>
                    <a:pt x="0" y="24035"/>
                    <a:pt x="18861" y="0"/>
                    <a:pt x="45232" y="0"/>
                  </a:cubicBezTo>
                  <a:cubicBezTo>
                    <a:pt x="71604" y="0"/>
                    <a:pt x="88295" y="24369"/>
                    <a:pt x="88295" y="65929"/>
                  </a:cubicBezTo>
                  <a:close/>
                  <a:moveTo>
                    <a:pt x="17526" y="67932"/>
                  </a:moveTo>
                  <a:cubicBezTo>
                    <a:pt x="17526" y="101814"/>
                    <a:pt x="27874" y="121008"/>
                    <a:pt x="43897" y="121008"/>
                  </a:cubicBezTo>
                  <a:cubicBezTo>
                    <a:pt x="61923" y="121008"/>
                    <a:pt x="70602" y="99978"/>
                    <a:pt x="70602" y="66763"/>
                  </a:cubicBezTo>
                  <a:cubicBezTo>
                    <a:pt x="70602" y="33548"/>
                    <a:pt x="62424" y="13686"/>
                    <a:pt x="44231" y="13686"/>
                  </a:cubicBezTo>
                  <a:cubicBezTo>
                    <a:pt x="28875" y="13686"/>
                    <a:pt x="17693" y="32547"/>
                    <a:pt x="17693"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405" name="Freeform: Shape 404">
              <a:extLst>
                <a:ext uri="{FF2B5EF4-FFF2-40B4-BE49-F238E27FC236}">
                  <a16:creationId xmlns:a16="http://schemas.microsoft.com/office/drawing/2014/main" id="{3E8F1703-A036-6054-0275-2143DB898801}"/>
                </a:ext>
              </a:extLst>
            </p:cNvPr>
            <p:cNvSpPr/>
            <p:nvPr/>
          </p:nvSpPr>
          <p:spPr>
            <a:xfrm>
              <a:off x="-136053" y="5478566"/>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8"/>
                    <a:pt x="62591" y="13686"/>
                    <a:pt x="44397" y="13686"/>
                  </a:cubicBezTo>
                  <a:cubicBezTo>
                    <a:pt x="29042" y="13686"/>
                    <a:pt x="17859" y="32547"/>
                    <a:pt x="17859"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406" name="Freeform: Shape 405">
              <a:extLst>
                <a:ext uri="{FF2B5EF4-FFF2-40B4-BE49-F238E27FC236}">
                  <a16:creationId xmlns:a16="http://schemas.microsoft.com/office/drawing/2014/main" id="{99FDE902-62CA-9770-8F2C-CB6804BEE5B8}"/>
                </a:ext>
              </a:extLst>
            </p:cNvPr>
            <p:cNvSpPr/>
            <p:nvPr/>
          </p:nvSpPr>
          <p:spPr>
            <a:xfrm>
              <a:off x="48034" y="5478566"/>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8"/>
                    <a:pt x="62591" y="13686"/>
                    <a:pt x="44398" y="13686"/>
                  </a:cubicBezTo>
                  <a:cubicBezTo>
                    <a:pt x="29042" y="13686"/>
                    <a:pt x="17692" y="32547"/>
                    <a:pt x="17692" y="67932"/>
                  </a:cubicBez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sp>
          <p:nvSpPr>
            <p:cNvPr id="407" name="Freeform: Shape 406">
              <a:extLst>
                <a:ext uri="{FF2B5EF4-FFF2-40B4-BE49-F238E27FC236}">
                  <a16:creationId xmlns:a16="http://schemas.microsoft.com/office/drawing/2014/main" id="{B5DF5AA4-217B-F38A-D729-29A487556B4B}"/>
                </a:ext>
              </a:extLst>
            </p:cNvPr>
            <p:cNvSpPr/>
            <p:nvPr/>
          </p:nvSpPr>
          <p:spPr>
            <a:xfrm>
              <a:off x="244383" y="5480432"/>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rtlCol="0" anchor="ctr"/>
            <a:lstStyle/>
            <a:p>
              <a:pPr defTabSz="1088449"/>
              <a:endParaRPr lang="en-US" sz="2099">
                <a:solidFill>
                  <a:srgbClr val="000000"/>
                </a:solidFill>
                <a:latin typeface="Arial"/>
              </a:endParaRPr>
            </a:p>
          </p:txBody>
        </p:sp>
      </p:grpSp>
      <p:sp>
        <p:nvSpPr>
          <p:cNvPr id="408" name="TextBox 407">
            <a:extLst>
              <a:ext uri="{FF2B5EF4-FFF2-40B4-BE49-F238E27FC236}">
                <a16:creationId xmlns:a16="http://schemas.microsoft.com/office/drawing/2014/main" id="{A8F79DFC-844F-6FCF-914F-91DDEBA77B19}"/>
              </a:ext>
            </a:extLst>
          </p:cNvPr>
          <p:cNvSpPr txBox="1"/>
          <p:nvPr/>
        </p:nvSpPr>
        <p:spPr>
          <a:xfrm>
            <a:off x="571694" y="993256"/>
            <a:ext cx="4372339" cy="646331"/>
          </a:xfrm>
          <a:prstGeom prst="rect">
            <a:avLst/>
          </a:prstGeom>
          <a:noFill/>
        </p:spPr>
        <p:txBody>
          <a:bodyPr wrap="square" lIns="0" tIns="0" rIns="0" bIns="0" anchor="t">
            <a:spAutoFit/>
          </a:bodyPr>
          <a:lstStyle/>
          <a:p>
            <a:pPr defTabSz="1088449"/>
            <a:r>
              <a:rPr lang="en-US" sz="1400">
                <a:solidFill>
                  <a:srgbClr val="000000"/>
                </a:solidFill>
                <a:latin typeface="+mn-lt"/>
              </a:rPr>
              <a:t>Systems of AI agents embedded into SAP applications and fueled by context-rich business data will make businesses unstoppable</a:t>
            </a:r>
            <a:endParaRPr lang="en-US" sz="1400">
              <a:gradFill>
                <a:gsLst>
                  <a:gs pos="0">
                    <a:srgbClr val="000000"/>
                  </a:gs>
                  <a:gs pos="100000">
                    <a:srgbClr val="000000"/>
                  </a:gs>
                </a:gsLst>
                <a:lin ang="2700000" scaled="1"/>
              </a:gradFill>
              <a:latin typeface="+mn-lt"/>
            </a:endParaRPr>
          </a:p>
        </p:txBody>
      </p:sp>
      <p:sp>
        <p:nvSpPr>
          <p:cNvPr id="409" name="Rectangle 408">
            <a:extLst>
              <a:ext uri="{FF2B5EF4-FFF2-40B4-BE49-F238E27FC236}">
                <a16:creationId xmlns:a16="http://schemas.microsoft.com/office/drawing/2014/main" id="{BCAED4C0-4837-1098-C3E5-23CD1FC7AE39}"/>
              </a:ext>
            </a:extLst>
          </p:cNvPr>
          <p:cNvSpPr/>
          <p:nvPr/>
        </p:nvSpPr>
        <p:spPr bwMode="auto">
          <a:xfrm>
            <a:off x="8703733" y="2111161"/>
            <a:ext cx="2556124" cy="3229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1912" fontAlgn="base">
              <a:spcBef>
                <a:spcPct val="0"/>
              </a:spcBef>
              <a:spcAft>
                <a:spcPct val="0"/>
              </a:spcAft>
            </a:pPr>
            <a:r>
              <a:rPr lang="en-US" sz="2098">
                <a:gradFill>
                  <a:gsLst>
                    <a:gs pos="0">
                      <a:srgbClr val="000000"/>
                    </a:gs>
                    <a:gs pos="100000">
                      <a:srgbClr val="000000"/>
                    </a:gs>
                  </a:gsLst>
                  <a:lin ang="5400000" scaled="1"/>
                </a:gradFill>
                <a:latin typeface="72 Brand Medium"/>
                <a:cs typeface="72" panose="020B0503030000000003" pitchFamily="34" charset="0"/>
              </a:rPr>
              <a:t>Systems of AI agents</a:t>
            </a:r>
          </a:p>
        </p:txBody>
      </p:sp>
      <p:sp>
        <p:nvSpPr>
          <p:cNvPr id="410" name="TextBox 409">
            <a:extLst>
              <a:ext uri="{FF2B5EF4-FFF2-40B4-BE49-F238E27FC236}">
                <a16:creationId xmlns:a16="http://schemas.microsoft.com/office/drawing/2014/main" id="{D78C9907-E2FE-F163-0A90-2413B8B5FB65}"/>
              </a:ext>
            </a:extLst>
          </p:cNvPr>
          <p:cNvSpPr txBox="1"/>
          <p:nvPr/>
        </p:nvSpPr>
        <p:spPr>
          <a:xfrm>
            <a:off x="8703730" y="2462955"/>
            <a:ext cx="3119849" cy="846166"/>
          </a:xfrm>
          <a:prstGeom prst="rect">
            <a:avLst/>
          </a:prstGeom>
          <a:noFill/>
        </p:spPr>
        <p:txBody>
          <a:bodyPr wrap="square" lIns="0" tIns="0" rIns="0" bIns="0" rtlCol="0">
            <a:spAutoFit/>
          </a:bodyPr>
          <a:lstStyle/>
          <a:p>
            <a:pPr defTabSz="913395"/>
            <a:r>
              <a:rPr lang="en-US" sz="1100">
                <a:solidFill>
                  <a:srgbClr val="000000"/>
                </a:solidFill>
                <a:latin typeface="+mn-lt"/>
              </a:rPr>
              <a:t>Powered by accurate data from SAP and non-SAP sources, SAP’s </a:t>
            </a:r>
            <a:r>
              <a:rPr lang="en-US" sz="1100" b="1">
                <a:solidFill>
                  <a:srgbClr val="000000"/>
                </a:solidFill>
                <a:latin typeface="+mn-lt"/>
              </a:rPr>
              <a:t>unrivaled</a:t>
            </a:r>
            <a:r>
              <a:rPr lang="en-US" sz="1100">
                <a:solidFill>
                  <a:srgbClr val="000000"/>
                </a:solidFill>
                <a:latin typeface="+mn-lt"/>
              </a:rPr>
              <a:t> </a:t>
            </a:r>
            <a:r>
              <a:rPr lang="en-US" sz="1100" b="1">
                <a:solidFill>
                  <a:srgbClr val="000000"/>
                </a:solidFill>
                <a:latin typeface="+mn-lt"/>
              </a:rPr>
              <a:t>AI</a:t>
            </a:r>
            <a:r>
              <a:rPr lang="en-US" sz="1100">
                <a:solidFill>
                  <a:srgbClr val="000000"/>
                </a:solidFill>
                <a:latin typeface="+mn-lt"/>
              </a:rPr>
              <a:t> agents deliver </a:t>
            </a:r>
            <a:br>
              <a:rPr lang="en-US" sz="1100">
                <a:solidFill>
                  <a:srgbClr val="000000"/>
                </a:solidFill>
                <a:latin typeface="+mn-lt"/>
              </a:rPr>
            </a:br>
            <a:r>
              <a:rPr lang="en-US" sz="1100">
                <a:solidFill>
                  <a:srgbClr val="000000"/>
                </a:solidFill>
                <a:latin typeface="+mn-lt"/>
              </a:rPr>
              <a:t>a unique advantage in cross-function collaboration, leveraging integrated data to enable smarter decisions and transformative outcomes</a:t>
            </a:r>
          </a:p>
        </p:txBody>
      </p:sp>
      <p:sp>
        <p:nvSpPr>
          <p:cNvPr id="411" name="Rectangle 410">
            <a:extLst>
              <a:ext uri="{FF2B5EF4-FFF2-40B4-BE49-F238E27FC236}">
                <a16:creationId xmlns:a16="http://schemas.microsoft.com/office/drawing/2014/main" id="{432B9522-A453-DC8F-A29E-E329F13A517B}"/>
              </a:ext>
            </a:extLst>
          </p:cNvPr>
          <p:cNvSpPr/>
          <p:nvPr/>
        </p:nvSpPr>
        <p:spPr bwMode="auto">
          <a:xfrm>
            <a:off x="6003472" y="3937575"/>
            <a:ext cx="3119850" cy="3229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1912" fontAlgn="base">
              <a:spcBef>
                <a:spcPct val="0"/>
              </a:spcBef>
              <a:spcAft>
                <a:spcPct val="0"/>
              </a:spcAft>
            </a:pPr>
            <a:r>
              <a:rPr lang="en-US" sz="2098" dirty="0">
                <a:gradFill>
                  <a:gsLst>
                    <a:gs pos="0">
                      <a:srgbClr val="000000"/>
                    </a:gs>
                    <a:gs pos="100000">
                      <a:srgbClr val="000000"/>
                    </a:gs>
                  </a:gsLst>
                  <a:lin ang="5400000" scaled="1"/>
                </a:gradFill>
                <a:latin typeface="72 Brand Medium"/>
                <a:ea typeface="Segoe UI" pitchFamily="34" charset="0"/>
                <a:cs typeface="72" panose="020B0503030000000003" pitchFamily="34" charset="0"/>
              </a:rPr>
              <a:t>Transformational insights</a:t>
            </a:r>
          </a:p>
        </p:txBody>
      </p:sp>
      <p:sp>
        <p:nvSpPr>
          <p:cNvPr id="412" name="TextBox 411">
            <a:extLst>
              <a:ext uri="{FF2B5EF4-FFF2-40B4-BE49-F238E27FC236}">
                <a16:creationId xmlns:a16="http://schemas.microsoft.com/office/drawing/2014/main" id="{E15A9A67-E573-A71F-AB6F-95A7DFA8FA6B}"/>
              </a:ext>
            </a:extLst>
          </p:cNvPr>
          <p:cNvSpPr txBox="1"/>
          <p:nvPr/>
        </p:nvSpPr>
        <p:spPr>
          <a:xfrm>
            <a:off x="6003472" y="4289368"/>
            <a:ext cx="4780641" cy="507699"/>
          </a:xfrm>
          <a:prstGeom prst="rect">
            <a:avLst/>
          </a:prstGeom>
          <a:noFill/>
        </p:spPr>
        <p:txBody>
          <a:bodyPr wrap="square" lIns="0" tIns="0" rIns="0" bIns="0" rtlCol="0">
            <a:spAutoFit/>
          </a:bodyPr>
          <a:lstStyle/>
          <a:p>
            <a:pPr defTabSz="1088449"/>
            <a:r>
              <a:rPr lang="en-US" sz="1100">
                <a:solidFill>
                  <a:srgbClr val="000000"/>
                </a:solidFill>
                <a:latin typeface="+mn-lt"/>
              </a:rPr>
              <a:t>By centralizing </a:t>
            </a:r>
            <a:r>
              <a:rPr lang="en-US" sz="1100" b="1">
                <a:solidFill>
                  <a:srgbClr val="000000"/>
                </a:solidFill>
                <a:latin typeface="+mn-lt"/>
              </a:rPr>
              <a:t>unmatched</a:t>
            </a:r>
            <a:r>
              <a:rPr lang="en-US" sz="1100">
                <a:solidFill>
                  <a:srgbClr val="000000"/>
                </a:solidFill>
                <a:latin typeface="+mn-lt"/>
              </a:rPr>
              <a:t> </a:t>
            </a:r>
            <a:r>
              <a:rPr lang="en-US" sz="1100" b="1">
                <a:solidFill>
                  <a:srgbClr val="000000"/>
                </a:solidFill>
                <a:latin typeface="+mn-lt"/>
              </a:rPr>
              <a:t>data</a:t>
            </a:r>
            <a:r>
              <a:rPr lang="en-US" sz="1100">
                <a:solidFill>
                  <a:srgbClr val="000000"/>
                </a:solidFill>
                <a:latin typeface="+mn-lt"/>
              </a:rPr>
              <a:t> from SAP and non-SAP sources into a unified semantic layer, SAP unlocks insights, advanced analytics, and AI capabilities to empower businesses to drive intelligent growth and innovation</a:t>
            </a:r>
          </a:p>
        </p:txBody>
      </p:sp>
      <p:sp>
        <p:nvSpPr>
          <p:cNvPr id="413" name="Rectangle 412">
            <a:extLst>
              <a:ext uri="{FF2B5EF4-FFF2-40B4-BE49-F238E27FC236}">
                <a16:creationId xmlns:a16="http://schemas.microsoft.com/office/drawing/2014/main" id="{5A974682-21D0-1D95-BD7C-94F85348682D}"/>
              </a:ext>
            </a:extLst>
          </p:cNvPr>
          <p:cNvSpPr/>
          <p:nvPr/>
        </p:nvSpPr>
        <p:spPr bwMode="auto">
          <a:xfrm>
            <a:off x="3585731" y="5425519"/>
            <a:ext cx="2738370" cy="3229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1912" fontAlgn="base">
              <a:spcBef>
                <a:spcPct val="0"/>
              </a:spcBef>
              <a:spcAft>
                <a:spcPct val="0"/>
              </a:spcAft>
            </a:pPr>
            <a:r>
              <a:rPr lang="en-US" sz="2098">
                <a:gradFill>
                  <a:gsLst>
                    <a:gs pos="0">
                      <a:srgbClr val="000000"/>
                    </a:gs>
                    <a:gs pos="100000">
                      <a:srgbClr val="000000"/>
                    </a:gs>
                  </a:gsLst>
                  <a:lin ang="5400000" scaled="1"/>
                </a:gradFill>
                <a:latin typeface="72 Brand Medium"/>
                <a:ea typeface="Segoe UI" pitchFamily="34" charset="0"/>
                <a:cs typeface="72" panose="020B0503030000000003" pitchFamily="34" charset="0"/>
              </a:rPr>
              <a:t>Transactional systems</a:t>
            </a:r>
          </a:p>
        </p:txBody>
      </p:sp>
      <p:sp>
        <p:nvSpPr>
          <p:cNvPr id="414" name="TextBox 413">
            <a:extLst>
              <a:ext uri="{FF2B5EF4-FFF2-40B4-BE49-F238E27FC236}">
                <a16:creationId xmlns:a16="http://schemas.microsoft.com/office/drawing/2014/main" id="{CB153830-C580-5B3F-C4B9-704AC0306876}"/>
              </a:ext>
            </a:extLst>
          </p:cNvPr>
          <p:cNvSpPr txBox="1"/>
          <p:nvPr/>
        </p:nvSpPr>
        <p:spPr>
          <a:xfrm>
            <a:off x="3605928" y="5747013"/>
            <a:ext cx="4469436" cy="507831"/>
          </a:xfrm>
          <a:prstGeom prst="rect">
            <a:avLst/>
          </a:prstGeom>
          <a:noFill/>
        </p:spPr>
        <p:txBody>
          <a:bodyPr wrap="square" lIns="0" tIns="0" rIns="0" bIns="0" rtlCol="0" anchor="t">
            <a:spAutoFit/>
          </a:bodyPr>
          <a:lstStyle/>
          <a:p>
            <a:pPr defTabSz="913395"/>
            <a:r>
              <a:rPr lang="en-US" sz="1100">
                <a:solidFill>
                  <a:srgbClr val="000000"/>
                </a:solidFill>
                <a:latin typeface="+mn-lt"/>
                <a:cs typeface="72"/>
              </a:rPr>
              <a:t>For 50 years, SAP has connected and optimized core business processes with </a:t>
            </a:r>
            <a:r>
              <a:rPr lang="en-US" sz="1100" b="1">
                <a:solidFill>
                  <a:srgbClr val="000000"/>
                </a:solidFill>
                <a:latin typeface="+mn-lt"/>
                <a:cs typeface="72"/>
              </a:rPr>
              <a:t>unparalleled applications</a:t>
            </a:r>
            <a:r>
              <a:rPr lang="en-US" sz="1100">
                <a:solidFill>
                  <a:srgbClr val="000000"/>
                </a:solidFill>
                <a:latin typeface="+mn-lt"/>
                <a:cs typeface="72"/>
              </a:rPr>
              <a:t> and a technology platform, generating semantically-rich data that powers the world economy </a:t>
            </a:r>
          </a:p>
        </p:txBody>
      </p:sp>
      <p:sp>
        <p:nvSpPr>
          <p:cNvPr id="415" name="Rectangle: Rounded Corners 414">
            <a:extLst>
              <a:ext uri="{FF2B5EF4-FFF2-40B4-BE49-F238E27FC236}">
                <a16:creationId xmlns:a16="http://schemas.microsoft.com/office/drawing/2014/main" id="{BB775965-FD5D-05CD-624D-FB4414300DDB}"/>
              </a:ext>
            </a:extLst>
          </p:cNvPr>
          <p:cNvSpPr/>
          <p:nvPr/>
        </p:nvSpPr>
        <p:spPr bwMode="auto">
          <a:xfrm>
            <a:off x="2825819" y="2766476"/>
            <a:ext cx="775157" cy="328450"/>
          </a:xfrm>
          <a:prstGeom prst="roundRect">
            <a:avLst>
              <a:gd name="adj" fmla="val 5000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689" tIns="146152" rIns="182689" bIns="146152" numCol="1" spcCol="0" rtlCol="0" fromWordArt="0" anchor="ctr" anchorCtr="0" forceAA="0" compatLnSpc="1">
            <a:prstTxWarp prst="textNoShape">
              <a:avLst/>
            </a:prstTxWarp>
            <a:noAutofit/>
          </a:bodyPr>
          <a:lstStyle/>
          <a:p>
            <a:pPr algn="ctr" defTabSz="931446" fontAlgn="base">
              <a:spcBef>
                <a:spcPct val="0"/>
              </a:spcBef>
              <a:spcAft>
                <a:spcPct val="0"/>
              </a:spcAft>
            </a:pPr>
            <a:r>
              <a:rPr lang="en-US" sz="1199">
                <a:gradFill>
                  <a:gsLst>
                    <a:gs pos="0">
                      <a:srgbClr val="0070F2"/>
                    </a:gs>
                    <a:gs pos="100000">
                      <a:srgbClr val="0070F2"/>
                    </a:gs>
                  </a:gsLst>
                  <a:lin ang="5400000" scaled="1"/>
                </a:gradFill>
                <a:latin typeface="72 Brand Medium" panose="020B0604030603020204" pitchFamily="34" charset="0"/>
                <a:cs typeface="72" panose="020B0503030000000003" pitchFamily="34" charset="0"/>
              </a:rPr>
              <a:t>Data</a:t>
            </a:r>
          </a:p>
        </p:txBody>
      </p:sp>
      <p:sp>
        <p:nvSpPr>
          <p:cNvPr id="416" name="Rectangle: Rounded Corners 415">
            <a:extLst>
              <a:ext uri="{FF2B5EF4-FFF2-40B4-BE49-F238E27FC236}">
                <a16:creationId xmlns:a16="http://schemas.microsoft.com/office/drawing/2014/main" id="{ED05BA31-AA0A-5D18-30D7-55319202AF66}"/>
              </a:ext>
            </a:extLst>
          </p:cNvPr>
          <p:cNvSpPr/>
          <p:nvPr/>
        </p:nvSpPr>
        <p:spPr bwMode="auto">
          <a:xfrm>
            <a:off x="6679624" y="1046505"/>
            <a:ext cx="674166" cy="674164"/>
          </a:xfrm>
          <a:prstGeom prst="roundRect">
            <a:avLst>
              <a:gd name="adj" fmla="val 1199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spcBef>
                <a:spcPct val="0"/>
              </a:spcBef>
              <a:spcAft>
                <a:spcPct val="0"/>
              </a:spcAft>
            </a:pPr>
            <a:endParaRPr lang="en-US" sz="2799">
              <a:gradFill>
                <a:gsLst>
                  <a:gs pos="0">
                    <a:srgbClr val="FFFFFF"/>
                  </a:gs>
                  <a:gs pos="100000">
                    <a:srgbClr val="FFFFFF"/>
                  </a:gs>
                </a:gsLst>
                <a:lin ang="5400000" scaled="1"/>
              </a:gradFill>
              <a:latin typeface="72 Brand" panose="020B0504030603020204" pitchFamily="34" charset="0"/>
              <a:cs typeface="72" panose="020B0503030000000003" pitchFamily="34" charset="0"/>
            </a:endParaRPr>
          </a:p>
        </p:txBody>
      </p:sp>
      <p:sp>
        <p:nvSpPr>
          <p:cNvPr id="417" name="Rectangle: Rounded Corners 474">
            <a:extLst>
              <a:ext uri="{FF2B5EF4-FFF2-40B4-BE49-F238E27FC236}">
                <a16:creationId xmlns:a16="http://schemas.microsoft.com/office/drawing/2014/main" id="{FC15611D-D079-90B3-CFFE-9C9D295366B7}"/>
              </a:ext>
            </a:extLst>
          </p:cNvPr>
          <p:cNvSpPr/>
          <p:nvPr/>
        </p:nvSpPr>
        <p:spPr bwMode="gray">
          <a:xfrm>
            <a:off x="5910337" y="1355471"/>
            <a:ext cx="2283024" cy="523430"/>
          </a:xfrm>
          <a:custGeom>
            <a:avLst/>
            <a:gdLst>
              <a:gd name="connsiteX0" fmla="*/ 0 w 2283619"/>
              <a:gd name="connsiteY0" fmla="*/ 130434 h 654000"/>
              <a:gd name="connsiteX1" fmla="*/ 130434 w 2283619"/>
              <a:gd name="connsiteY1" fmla="*/ 0 h 654000"/>
              <a:gd name="connsiteX2" fmla="*/ 2153185 w 2283619"/>
              <a:gd name="connsiteY2" fmla="*/ 0 h 654000"/>
              <a:gd name="connsiteX3" fmla="*/ 2283619 w 2283619"/>
              <a:gd name="connsiteY3" fmla="*/ 130434 h 654000"/>
              <a:gd name="connsiteX4" fmla="*/ 2283619 w 2283619"/>
              <a:gd name="connsiteY4" fmla="*/ 523566 h 654000"/>
              <a:gd name="connsiteX5" fmla="*/ 2153185 w 2283619"/>
              <a:gd name="connsiteY5" fmla="*/ 654000 h 654000"/>
              <a:gd name="connsiteX6" fmla="*/ 130434 w 2283619"/>
              <a:gd name="connsiteY6" fmla="*/ 654000 h 654000"/>
              <a:gd name="connsiteX7" fmla="*/ 0 w 2283619"/>
              <a:gd name="connsiteY7" fmla="*/ 523566 h 654000"/>
              <a:gd name="connsiteX8" fmla="*/ 0 w 2283619"/>
              <a:gd name="connsiteY8" fmla="*/ 130434 h 654000"/>
              <a:gd name="connsiteX0" fmla="*/ 130434 w 2283619"/>
              <a:gd name="connsiteY0" fmla="*/ 654000 h 745440"/>
              <a:gd name="connsiteX1" fmla="*/ 0 w 2283619"/>
              <a:gd name="connsiteY1" fmla="*/ 523566 h 745440"/>
              <a:gd name="connsiteX2" fmla="*/ 0 w 2283619"/>
              <a:gd name="connsiteY2" fmla="*/ 130434 h 745440"/>
              <a:gd name="connsiteX3" fmla="*/ 130434 w 2283619"/>
              <a:gd name="connsiteY3" fmla="*/ 0 h 745440"/>
              <a:gd name="connsiteX4" fmla="*/ 2153185 w 2283619"/>
              <a:gd name="connsiteY4" fmla="*/ 0 h 745440"/>
              <a:gd name="connsiteX5" fmla="*/ 2283619 w 2283619"/>
              <a:gd name="connsiteY5" fmla="*/ 130434 h 745440"/>
              <a:gd name="connsiteX6" fmla="*/ 2283619 w 2283619"/>
              <a:gd name="connsiteY6" fmla="*/ 523566 h 745440"/>
              <a:gd name="connsiteX7" fmla="*/ 2153185 w 2283619"/>
              <a:gd name="connsiteY7" fmla="*/ 654000 h 745440"/>
              <a:gd name="connsiteX8" fmla="*/ 221874 w 2283619"/>
              <a:gd name="connsiteY8" fmla="*/ 745440 h 745440"/>
              <a:gd name="connsiteX0" fmla="*/ 130434 w 2283619"/>
              <a:gd name="connsiteY0" fmla="*/ 654000 h 654000"/>
              <a:gd name="connsiteX1" fmla="*/ 0 w 2283619"/>
              <a:gd name="connsiteY1" fmla="*/ 523566 h 654000"/>
              <a:gd name="connsiteX2" fmla="*/ 0 w 2283619"/>
              <a:gd name="connsiteY2" fmla="*/ 130434 h 654000"/>
              <a:gd name="connsiteX3" fmla="*/ 130434 w 2283619"/>
              <a:gd name="connsiteY3" fmla="*/ 0 h 654000"/>
              <a:gd name="connsiteX4" fmla="*/ 2153185 w 2283619"/>
              <a:gd name="connsiteY4" fmla="*/ 0 h 654000"/>
              <a:gd name="connsiteX5" fmla="*/ 2283619 w 2283619"/>
              <a:gd name="connsiteY5" fmla="*/ 130434 h 654000"/>
              <a:gd name="connsiteX6" fmla="*/ 2283619 w 2283619"/>
              <a:gd name="connsiteY6" fmla="*/ 523566 h 654000"/>
              <a:gd name="connsiteX7" fmla="*/ 2153185 w 2283619"/>
              <a:gd name="connsiteY7" fmla="*/ 654000 h 654000"/>
              <a:gd name="connsiteX0" fmla="*/ 0 w 2283619"/>
              <a:gd name="connsiteY0" fmla="*/ 523566 h 654000"/>
              <a:gd name="connsiteX1" fmla="*/ 0 w 2283619"/>
              <a:gd name="connsiteY1" fmla="*/ 130434 h 654000"/>
              <a:gd name="connsiteX2" fmla="*/ 130434 w 2283619"/>
              <a:gd name="connsiteY2" fmla="*/ 0 h 654000"/>
              <a:gd name="connsiteX3" fmla="*/ 2153185 w 2283619"/>
              <a:gd name="connsiteY3" fmla="*/ 0 h 654000"/>
              <a:gd name="connsiteX4" fmla="*/ 2283619 w 2283619"/>
              <a:gd name="connsiteY4" fmla="*/ 130434 h 654000"/>
              <a:gd name="connsiteX5" fmla="*/ 2283619 w 2283619"/>
              <a:gd name="connsiteY5" fmla="*/ 523566 h 654000"/>
              <a:gd name="connsiteX6" fmla="*/ 2153185 w 2283619"/>
              <a:gd name="connsiteY6" fmla="*/ 654000 h 654000"/>
              <a:gd name="connsiteX0" fmla="*/ 0 w 2283619"/>
              <a:gd name="connsiteY0" fmla="*/ 523566 h 523566"/>
              <a:gd name="connsiteX1" fmla="*/ 0 w 2283619"/>
              <a:gd name="connsiteY1" fmla="*/ 130434 h 523566"/>
              <a:gd name="connsiteX2" fmla="*/ 130434 w 2283619"/>
              <a:gd name="connsiteY2" fmla="*/ 0 h 523566"/>
              <a:gd name="connsiteX3" fmla="*/ 2153185 w 2283619"/>
              <a:gd name="connsiteY3" fmla="*/ 0 h 523566"/>
              <a:gd name="connsiteX4" fmla="*/ 2283619 w 2283619"/>
              <a:gd name="connsiteY4" fmla="*/ 130434 h 523566"/>
              <a:gd name="connsiteX5" fmla="*/ 2283619 w 2283619"/>
              <a:gd name="connsiteY5" fmla="*/ 523566 h 52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3619" h="523566">
                <a:moveTo>
                  <a:pt x="0" y="523566"/>
                </a:moveTo>
                <a:lnTo>
                  <a:pt x="0" y="130434"/>
                </a:lnTo>
                <a:cubicBezTo>
                  <a:pt x="0" y="58397"/>
                  <a:pt x="58397" y="0"/>
                  <a:pt x="130434" y="0"/>
                </a:cubicBezTo>
                <a:lnTo>
                  <a:pt x="2153185" y="0"/>
                </a:lnTo>
                <a:cubicBezTo>
                  <a:pt x="2225222" y="0"/>
                  <a:pt x="2283619" y="58397"/>
                  <a:pt x="2283619" y="130434"/>
                </a:cubicBezTo>
                <a:lnTo>
                  <a:pt x="2283619" y="523566"/>
                </a:lnTo>
              </a:path>
            </a:pathLst>
          </a:custGeom>
          <a:noFill/>
          <a:ln>
            <a:solidFill>
              <a:srgbClr val="B894FF"/>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6" tIns="146190" rIns="182736" bIns="146190" numCol="1" spcCol="0" rtlCol="0" fromWordArt="0" anchor="t" anchorCtr="0" forceAA="0" compatLnSpc="1">
            <a:prstTxWarp prst="textNoShape">
              <a:avLst/>
            </a:prstTxWarp>
            <a:noAutofit/>
          </a:bodyPr>
          <a:lstStyle/>
          <a:p>
            <a:pPr defTabSz="931632" fontAlgn="base">
              <a:spcBef>
                <a:spcPct val="0"/>
              </a:spcBef>
              <a:spcAft>
                <a:spcPct val="0"/>
              </a:spcAft>
            </a:pPr>
            <a:endParaRPr lang="en-US" sz="1997">
              <a:noFill/>
              <a:latin typeface="72 Brand" panose="020B0504030603020204" pitchFamily="34" charset="0"/>
              <a:cs typeface="72" panose="020B0503030000000003" pitchFamily="34" charset="0"/>
            </a:endParaRPr>
          </a:p>
        </p:txBody>
      </p:sp>
      <p:sp>
        <p:nvSpPr>
          <p:cNvPr id="418" name="Rectangle: Rounded Corners 417">
            <a:extLst>
              <a:ext uri="{FF2B5EF4-FFF2-40B4-BE49-F238E27FC236}">
                <a16:creationId xmlns:a16="http://schemas.microsoft.com/office/drawing/2014/main" id="{70EC7ABB-EBD6-C967-850F-C5A756C1756F}"/>
              </a:ext>
            </a:extLst>
          </p:cNvPr>
          <p:cNvSpPr/>
          <p:nvPr/>
        </p:nvSpPr>
        <p:spPr bwMode="auto">
          <a:xfrm>
            <a:off x="6725746" y="1092627"/>
            <a:ext cx="581922" cy="581920"/>
          </a:xfrm>
          <a:prstGeom prst="roundRect">
            <a:avLst>
              <a:gd name="adj" fmla="val 11995"/>
            </a:avLst>
          </a:prstGeom>
          <a:gradFill flip="none" rotWithShape="1">
            <a:gsLst>
              <a:gs pos="0">
                <a:srgbClr val="812FF7"/>
              </a:gs>
              <a:gs pos="100000">
                <a:srgbClr val="991CE1"/>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spcBef>
                <a:spcPct val="0"/>
              </a:spcBef>
              <a:spcAft>
                <a:spcPct val="0"/>
              </a:spcAft>
            </a:pPr>
            <a:endParaRPr lang="en-US" sz="2799">
              <a:gradFill>
                <a:gsLst>
                  <a:gs pos="0">
                    <a:srgbClr val="FFFFFF"/>
                  </a:gs>
                  <a:gs pos="100000">
                    <a:srgbClr val="FFFFFF"/>
                  </a:gs>
                </a:gsLst>
                <a:lin ang="5400000" scaled="1"/>
              </a:gradFill>
              <a:latin typeface="72 Brand" panose="020B0504030603020204" pitchFamily="34" charset="0"/>
              <a:cs typeface="72" panose="020B0503030000000003" pitchFamily="34" charset="0"/>
            </a:endParaRPr>
          </a:p>
        </p:txBody>
      </p:sp>
      <p:pic>
        <p:nvPicPr>
          <p:cNvPr id="419" name="Graphic 418">
            <a:extLst>
              <a:ext uri="{FF2B5EF4-FFF2-40B4-BE49-F238E27FC236}">
                <a16:creationId xmlns:a16="http://schemas.microsoft.com/office/drawing/2014/main" id="{5AE6CC96-5B65-112E-FDD5-71DA156B34E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51825" y="1218706"/>
            <a:ext cx="329766" cy="329764"/>
          </a:xfrm>
          <a:prstGeom prst="rect">
            <a:avLst/>
          </a:prstGeom>
        </p:spPr>
      </p:pic>
      <p:sp>
        <p:nvSpPr>
          <p:cNvPr id="420" name="Rectangle: Rounded Corners 419">
            <a:extLst>
              <a:ext uri="{FF2B5EF4-FFF2-40B4-BE49-F238E27FC236}">
                <a16:creationId xmlns:a16="http://schemas.microsoft.com/office/drawing/2014/main" id="{E3C6CA1E-6F55-AAB8-3B39-D4519CA45A96}"/>
              </a:ext>
            </a:extLst>
          </p:cNvPr>
          <p:cNvSpPr/>
          <p:nvPr/>
        </p:nvSpPr>
        <p:spPr bwMode="gray">
          <a:xfrm>
            <a:off x="5562543" y="1816035"/>
            <a:ext cx="638153" cy="638153"/>
          </a:xfrm>
          <a:prstGeom prst="roundRect">
            <a:avLst/>
          </a:prstGeom>
          <a:solidFill>
            <a:srgbClr val="EBF8FF"/>
          </a:solidFill>
          <a:ln w="25400" algn="ctr">
            <a:noFill/>
            <a:miter lim="800000"/>
            <a:headEnd/>
            <a:tailEnd/>
          </a:ln>
        </p:spPr>
        <p:txBody>
          <a:bodyPr lIns="182832" tIns="146266" rIns="182832" bIns="146266" rtlCol="0" anchor="t"/>
          <a:lstStyle/>
          <a:p>
            <a:pPr defTabSz="914126" fontAlgn="base">
              <a:spcBef>
                <a:spcPct val="50000"/>
              </a:spcBef>
              <a:spcAft>
                <a:spcPct val="0"/>
              </a:spcAft>
              <a:buClr>
                <a:srgbClr val="F0AB00"/>
              </a:buClr>
              <a:buSzPct val="80000"/>
            </a:pPr>
            <a:endParaRPr lang="en-US" sz="1200" kern="0">
              <a:solidFill>
                <a:srgbClr val="000000"/>
              </a:solidFill>
              <a:latin typeface="72 Brand"/>
              <a:ea typeface="72 Brand" pitchFamily="34" charset="-128"/>
              <a:cs typeface="72 Brand" pitchFamily="34" charset="-128"/>
            </a:endParaRPr>
          </a:p>
        </p:txBody>
      </p:sp>
      <p:sp>
        <p:nvSpPr>
          <p:cNvPr id="421" name="Rectangle: Rounded Corners 420">
            <a:extLst>
              <a:ext uri="{FF2B5EF4-FFF2-40B4-BE49-F238E27FC236}">
                <a16:creationId xmlns:a16="http://schemas.microsoft.com/office/drawing/2014/main" id="{DDDF877F-2EAD-7F61-9175-AF5E9A1E485C}"/>
              </a:ext>
            </a:extLst>
          </p:cNvPr>
          <p:cNvSpPr/>
          <p:nvPr/>
        </p:nvSpPr>
        <p:spPr bwMode="gray">
          <a:xfrm>
            <a:off x="6326917" y="1816035"/>
            <a:ext cx="638153" cy="638153"/>
          </a:xfrm>
          <a:prstGeom prst="roundRect">
            <a:avLst/>
          </a:prstGeom>
          <a:solidFill>
            <a:srgbClr val="EBF8FF"/>
          </a:solidFill>
          <a:ln w="25400" algn="ctr">
            <a:noFill/>
            <a:miter lim="800000"/>
            <a:headEnd/>
            <a:tailEnd/>
          </a:ln>
        </p:spPr>
        <p:txBody>
          <a:bodyPr lIns="182832" tIns="146266" rIns="182832" bIns="146266" rtlCol="0" anchor="t"/>
          <a:lstStyle/>
          <a:p>
            <a:pPr defTabSz="914126" fontAlgn="base">
              <a:spcBef>
                <a:spcPct val="50000"/>
              </a:spcBef>
              <a:spcAft>
                <a:spcPct val="0"/>
              </a:spcAft>
              <a:buClr>
                <a:srgbClr val="F0AB00"/>
              </a:buClr>
              <a:buSzPct val="80000"/>
            </a:pPr>
            <a:endParaRPr lang="en-US" sz="1200" kern="0">
              <a:solidFill>
                <a:srgbClr val="000000"/>
              </a:solidFill>
              <a:latin typeface="72 Brand"/>
              <a:ea typeface="72 Brand" pitchFamily="34" charset="-128"/>
              <a:cs typeface="72 Brand" pitchFamily="34" charset="-128"/>
            </a:endParaRPr>
          </a:p>
        </p:txBody>
      </p:sp>
      <p:sp>
        <p:nvSpPr>
          <p:cNvPr id="422" name="Rectangle: Rounded Corners 421">
            <a:extLst>
              <a:ext uri="{FF2B5EF4-FFF2-40B4-BE49-F238E27FC236}">
                <a16:creationId xmlns:a16="http://schemas.microsoft.com/office/drawing/2014/main" id="{555F018B-E53E-64B1-A0D5-707A702FF7F4}"/>
              </a:ext>
            </a:extLst>
          </p:cNvPr>
          <p:cNvSpPr/>
          <p:nvPr/>
        </p:nvSpPr>
        <p:spPr bwMode="gray">
          <a:xfrm>
            <a:off x="7091290" y="1816035"/>
            <a:ext cx="638153" cy="638153"/>
          </a:xfrm>
          <a:prstGeom prst="roundRect">
            <a:avLst/>
          </a:prstGeom>
          <a:solidFill>
            <a:srgbClr val="EBF8FF"/>
          </a:solidFill>
          <a:ln w="25400" algn="ctr">
            <a:noFill/>
            <a:miter lim="800000"/>
            <a:headEnd/>
            <a:tailEnd/>
          </a:ln>
        </p:spPr>
        <p:txBody>
          <a:bodyPr lIns="182832" tIns="146266" rIns="182832" bIns="146266" rtlCol="0" anchor="t"/>
          <a:lstStyle/>
          <a:p>
            <a:pPr defTabSz="914126" fontAlgn="base">
              <a:spcBef>
                <a:spcPct val="50000"/>
              </a:spcBef>
              <a:spcAft>
                <a:spcPct val="0"/>
              </a:spcAft>
              <a:buClr>
                <a:srgbClr val="F0AB00"/>
              </a:buClr>
              <a:buSzPct val="80000"/>
            </a:pPr>
            <a:endParaRPr lang="en-US" sz="1200" kern="0">
              <a:solidFill>
                <a:srgbClr val="000000"/>
              </a:solidFill>
              <a:latin typeface="72 Brand"/>
              <a:ea typeface="72 Brand" pitchFamily="34" charset="-128"/>
              <a:cs typeface="72 Brand" pitchFamily="34" charset="-128"/>
            </a:endParaRPr>
          </a:p>
        </p:txBody>
      </p:sp>
      <p:sp>
        <p:nvSpPr>
          <p:cNvPr id="423" name="Rectangle: Rounded Corners 422">
            <a:extLst>
              <a:ext uri="{FF2B5EF4-FFF2-40B4-BE49-F238E27FC236}">
                <a16:creationId xmlns:a16="http://schemas.microsoft.com/office/drawing/2014/main" id="{84D1F9DF-3E90-624F-54B4-51C2C629A9A9}"/>
              </a:ext>
            </a:extLst>
          </p:cNvPr>
          <p:cNvSpPr/>
          <p:nvPr/>
        </p:nvSpPr>
        <p:spPr bwMode="gray">
          <a:xfrm>
            <a:off x="7855665" y="1816035"/>
            <a:ext cx="638153" cy="638153"/>
          </a:xfrm>
          <a:prstGeom prst="roundRect">
            <a:avLst/>
          </a:prstGeom>
          <a:solidFill>
            <a:srgbClr val="EBF8FF"/>
          </a:solidFill>
          <a:ln w="25400" algn="ctr">
            <a:noFill/>
            <a:miter lim="800000"/>
            <a:headEnd/>
            <a:tailEnd/>
          </a:ln>
        </p:spPr>
        <p:txBody>
          <a:bodyPr lIns="182832" tIns="146266" rIns="182832" bIns="146266" rtlCol="0" anchor="t"/>
          <a:lstStyle/>
          <a:p>
            <a:pPr defTabSz="914126" fontAlgn="base">
              <a:spcBef>
                <a:spcPct val="50000"/>
              </a:spcBef>
              <a:spcAft>
                <a:spcPct val="0"/>
              </a:spcAft>
              <a:buClr>
                <a:srgbClr val="F0AB00"/>
              </a:buClr>
              <a:buSzPct val="80000"/>
            </a:pPr>
            <a:endParaRPr lang="en-US" sz="1200" kern="0">
              <a:solidFill>
                <a:srgbClr val="000000"/>
              </a:solidFill>
              <a:latin typeface="72 Brand"/>
              <a:ea typeface="72 Brand" pitchFamily="34" charset="-128"/>
              <a:cs typeface="72 Brand" pitchFamily="34" charset="-128"/>
            </a:endParaRPr>
          </a:p>
        </p:txBody>
      </p:sp>
      <p:pic>
        <p:nvPicPr>
          <p:cNvPr id="424" name="Picture 423">
            <a:extLst>
              <a:ext uri="{FF2B5EF4-FFF2-40B4-BE49-F238E27FC236}">
                <a16:creationId xmlns:a16="http://schemas.microsoft.com/office/drawing/2014/main" id="{66C133A0-62BB-F078-919E-E6FE9B52C238}"/>
              </a:ext>
            </a:extLst>
          </p:cNvPr>
          <p:cNvPicPr>
            <a:picLocks noChangeAspect="1"/>
          </p:cNvPicPr>
          <p:nvPr/>
        </p:nvPicPr>
        <p:blipFill>
          <a:blip r:embed="rId8"/>
          <a:stretch>
            <a:fillRect/>
          </a:stretch>
        </p:blipFill>
        <p:spPr>
          <a:xfrm>
            <a:off x="5702919" y="1928290"/>
            <a:ext cx="357397" cy="413636"/>
          </a:xfrm>
          <a:prstGeom prst="rect">
            <a:avLst/>
          </a:prstGeom>
        </p:spPr>
      </p:pic>
      <p:pic>
        <p:nvPicPr>
          <p:cNvPr id="425" name="Picture 424">
            <a:extLst>
              <a:ext uri="{FF2B5EF4-FFF2-40B4-BE49-F238E27FC236}">
                <a16:creationId xmlns:a16="http://schemas.microsoft.com/office/drawing/2014/main" id="{AA95BE91-27EF-790F-9B5A-9DCC73CAB9A1}"/>
              </a:ext>
            </a:extLst>
          </p:cNvPr>
          <p:cNvPicPr>
            <a:picLocks noChangeAspect="1"/>
          </p:cNvPicPr>
          <p:nvPr/>
        </p:nvPicPr>
        <p:blipFill>
          <a:blip r:embed="rId9"/>
          <a:stretch>
            <a:fillRect/>
          </a:stretch>
        </p:blipFill>
        <p:spPr>
          <a:xfrm>
            <a:off x="7970429" y="1921195"/>
            <a:ext cx="408620" cy="427829"/>
          </a:xfrm>
          <a:prstGeom prst="rect">
            <a:avLst/>
          </a:prstGeom>
        </p:spPr>
      </p:pic>
      <p:sp>
        <p:nvSpPr>
          <p:cNvPr id="426" name="Rectangle: Rounded Corners 425">
            <a:extLst>
              <a:ext uri="{FF2B5EF4-FFF2-40B4-BE49-F238E27FC236}">
                <a16:creationId xmlns:a16="http://schemas.microsoft.com/office/drawing/2014/main" id="{1034D92C-FEBF-8420-CFD7-5C1F1B31AB20}"/>
              </a:ext>
            </a:extLst>
          </p:cNvPr>
          <p:cNvSpPr/>
          <p:nvPr/>
        </p:nvSpPr>
        <p:spPr bwMode="auto">
          <a:xfrm>
            <a:off x="5331438" y="1284784"/>
            <a:ext cx="775157" cy="328450"/>
          </a:xfrm>
          <a:prstGeom prst="roundRect">
            <a:avLst>
              <a:gd name="adj" fmla="val 5000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689" tIns="146152" rIns="182689" bIns="146152" numCol="1" spcCol="0" rtlCol="0" fromWordArt="0" anchor="ctr" anchorCtr="0" forceAA="0" compatLnSpc="1">
            <a:prstTxWarp prst="textNoShape">
              <a:avLst/>
            </a:prstTxWarp>
            <a:noAutofit/>
          </a:bodyPr>
          <a:lstStyle/>
          <a:p>
            <a:pPr algn="ctr" defTabSz="931446" fontAlgn="base">
              <a:spcBef>
                <a:spcPct val="0"/>
              </a:spcBef>
              <a:spcAft>
                <a:spcPct val="0"/>
              </a:spcAft>
            </a:pPr>
            <a:r>
              <a:rPr lang="en-US" sz="1199">
                <a:gradFill>
                  <a:gsLst>
                    <a:gs pos="0">
                      <a:srgbClr val="5D36FF"/>
                    </a:gs>
                    <a:gs pos="100000">
                      <a:srgbClr val="5D36FF"/>
                    </a:gs>
                  </a:gsLst>
                  <a:lin ang="5400000" scaled="1"/>
                </a:gradFill>
                <a:latin typeface="72 Brand Medium" panose="020B0604030603020204" pitchFamily="34" charset="0"/>
                <a:cs typeface="72" panose="020B0503030000000003" pitchFamily="34" charset="0"/>
              </a:rPr>
              <a:t>AI</a:t>
            </a:r>
          </a:p>
        </p:txBody>
      </p:sp>
      <p:sp>
        <p:nvSpPr>
          <p:cNvPr id="427" name="Anvil" descr="preencoded.png">
            <a:extLst>
              <a:ext uri="{FF2B5EF4-FFF2-40B4-BE49-F238E27FC236}">
                <a16:creationId xmlns:a16="http://schemas.microsoft.com/office/drawing/2014/main" id="{2CEC4B7D-E85F-4DD9-7D1B-96AC45EB7659}"/>
              </a:ext>
            </a:extLst>
          </p:cNvPr>
          <p:cNvSpPr/>
          <p:nvPr/>
        </p:nvSpPr>
        <p:spPr>
          <a:xfrm>
            <a:off x="582441" y="4420555"/>
            <a:ext cx="3781457" cy="186445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pPr defTabSz="1087796">
              <a:defRPr/>
            </a:pPr>
            <a:endParaRPr lang="en-US" sz="2097">
              <a:solidFill>
                <a:srgbClr val="000000"/>
              </a:solidFill>
              <a:latin typeface="72 Brand" panose="020B0504030603020204" pitchFamily="34" charset="0"/>
            </a:endParaRPr>
          </a:p>
        </p:txBody>
      </p:sp>
      <p:sp>
        <p:nvSpPr>
          <p:cNvPr id="428" name="Rectangle: Rounded Corners 427">
            <a:extLst>
              <a:ext uri="{FF2B5EF4-FFF2-40B4-BE49-F238E27FC236}">
                <a16:creationId xmlns:a16="http://schemas.microsoft.com/office/drawing/2014/main" id="{9D754769-C847-533A-A80D-24A0994CCB7A}"/>
              </a:ext>
            </a:extLst>
          </p:cNvPr>
          <p:cNvSpPr/>
          <p:nvPr/>
        </p:nvSpPr>
        <p:spPr bwMode="gray">
          <a:xfrm>
            <a:off x="1579124" y="4636125"/>
            <a:ext cx="638153" cy="638153"/>
          </a:xfrm>
          <a:prstGeom prst="roundRect">
            <a:avLst/>
          </a:prstGeom>
          <a:solidFill>
            <a:srgbClr val="EBF8FF"/>
          </a:solidFill>
          <a:ln w="25400" algn="ctr">
            <a:noFill/>
            <a:miter lim="800000"/>
            <a:headEnd/>
            <a:tailEnd/>
          </a:ln>
        </p:spPr>
        <p:txBody>
          <a:bodyPr lIns="182832" tIns="146266" rIns="182832" bIns="146266" rtlCol="0" anchor="t"/>
          <a:lstStyle/>
          <a:p>
            <a:pPr defTabSz="914126" fontAlgn="base">
              <a:spcBef>
                <a:spcPct val="50000"/>
              </a:spcBef>
              <a:spcAft>
                <a:spcPct val="0"/>
              </a:spcAft>
              <a:buClr>
                <a:srgbClr val="F0AB00"/>
              </a:buClr>
              <a:buSzPct val="80000"/>
            </a:pPr>
            <a:endParaRPr lang="en-US" sz="1200" kern="0">
              <a:solidFill>
                <a:srgbClr val="000000"/>
              </a:solidFill>
              <a:latin typeface="72 Brand"/>
              <a:ea typeface="72 Brand" pitchFamily="34" charset="-128"/>
              <a:cs typeface="72 Brand" pitchFamily="34" charset="-128"/>
            </a:endParaRPr>
          </a:p>
        </p:txBody>
      </p:sp>
      <p:grpSp>
        <p:nvGrpSpPr>
          <p:cNvPr id="429" name="Group 428">
            <a:extLst>
              <a:ext uri="{FF2B5EF4-FFF2-40B4-BE49-F238E27FC236}">
                <a16:creationId xmlns:a16="http://schemas.microsoft.com/office/drawing/2014/main" id="{C2775AC0-4B32-7BF7-80A3-5697B662CCCE}"/>
              </a:ext>
            </a:extLst>
          </p:cNvPr>
          <p:cNvGrpSpPr/>
          <p:nvPr/>
        </p:nvGrpSpPr>
        <p:grpSpPr>
          <a:xfrm>
            <a:off x="1579124" y="5431290"/>
            <a:ext cx="638153" cy="638153"/>
            <a:chOff x="1576357" y="5431809"/>
            <a:chExt cx="638319" cy="638319"/>
          </a:xfrm>
        </p:grpSpPr>
        <p:sp>
          <p:nvSpPr>
            <p:cNvPr id="430" name="Rectangle: Rounded Corners 429">
              <a:extLst>
                <a:ext uri="{FF2B5EF4-FFF2-40B4-BE49-F238E27FC236}">
                  <a16:creationId xmlns:a16="http://schemas.microsoft.com/office/drawing/2014/main" id="{A2C3F693-3F5D-E973-4180-2F3F12A24CF2}"/>
                </a:ext>
              </a:extLst>
            </p:cNvPr>
            <p:cNvSpPr/>
            <p:nvPr/>
          </p:nvSpPr>
          <p:spPr bwMode="gray">
            <a:xfrm>
              <a:off x="1576357" y="5431809"/>
              <a:ext cx="638319" cy="638319"/>
            </a:xfrm>
            <a:prstGeom prst="roundRect">
              <a:avLst/>
            </a:prstGeom>
            <a:solidFill>
              <a:srgbClr val="EBF8FF"/>
            </a:solidFill>
            <a:ln w="25400" algn="ctr">
              <a:noFill/>
              <a:miter lim="800000"/>
              <a:headEnd/>
              <a:tailEnd/>
            </a:ln>
          </p:spPr>
          <p:txBody>
            <a:bodyPr lIns="182832" tIns="146266" rIns="182832" bIns="146266" rtlCol="0" anchor="t"/>
            <a:lstStyle/>
            <a:p>
              <a:pPr defTabSz="914126" fontAlgn="base">
                <a:spcBef>
                  <a:spcPct val="50000"/>
                </a:spcBef>
                <a:spcAft>
                  <a:spcPct val="0"/>
                </a:spcAft>
                <a:buClr>
                  <a:srgbClr val="F0AB00"/>
                </a:buClr>
                <a:buSzPct val="80000"/>
              </a:pPr>
              <a:endParaRPr lang="en-US" sz="1200" kern="0">
                <a:solidFill>
                  <a:srgbClr val="000000"/>
                </a:solidFill>
                <a:latin typeface="72 Brand"/>
                <a:ea typeface="72 Brand" pitchFamily="34" charset="-128"/>
                <a:cs typeface="72 Brand" pitchFamily="34" charset="-128"/>
              </a:endParaRPr>
            </a:p>
          </p:txBody>
        </p:sp>
        <p:pic>
          <p:nvPicPr>
            <p:cNvPr id="431" name="Picture 430">
              <a:extLst>
                <a:ext uri="{FF2B5EF4-FFF2-40B4-BE49-F238E27FC236}">
                  <a16:creationId xmlns:a16="http://schemas.microsoft.com/office/drawing/2014/main" id="{0FDFA37B-8170-CF09-66EA-22A822239D80}"/>
                </a:ext>
              </a:extLst>
            </p:cNvPr>
            <p:cNvPicPr>
              <a:picLocks noChangeAspect="1"/>
            </p:cNvPicPr>
            <p:nvPr/>
          </p:nvPicPr>
          <p:blipFill>
            <a:blip r:embed="rId10"/>
            <a:stretch>
              <a:fillRect/>
            </a:stretch>
          </p:blipFill>
          <p:spPr>
            <a:xfrm>
              <a:off x="1692895" y="5563867"/>
              <a:ext cx="405243" cy="374203"/>
            </a:xfrm>
            <a:prstGeom prst="rect">
              <a:avLst/>
            </a:prstGeom>
          </p:spPr>
        </p:pic>
      </p:grpSp>
      <p:grpSp>
        <p:nvGrpSpPr>
          <p:cNvPr id="432" name="Group 431">
            <a:extLst>
              <a:ext uri="{FF2B5EF4-FFF2-40B4-BE49-F238E27FC236}">
                <a16:creationId xmlns:a16="http://schemas.microsoft.com/office/drawing/2014/main" id="{ACAAD1B9-88C1-00FF-3CEA-B4AD2633E871}"/>
              </a:ext>
            </a:extLst>
          </p:cNvPr>
          <p:cNvGrpSpPr/>
          <p:nvPr/>
        </p:nvGrpSpPr>
        <p:grpSpPr>
          <a:xfrm>
            <a:off x="814750" y="4636125"/>
            <a:ext cx="638153" cy="638153"/>
            <a:chOff x="811784" y="4636437"/>
            <a:chExt cx="638319" cy="638319"/>
          </a:xfrm>
        </p:grpSpPr>
        <p:sp>
          <p:nvSpPr>
            <p:cNvPr id="433" name="Rectangle: Rounded Corners 432">
              <a:extLst>
                <a:ext uri="{FF2B5EF4-FFF2-40B4-BE49-F238E27FC236}">
                  <a16:creationId xmlns:a16="http://schemas.microsoft.com/office/drawing/2014/main" id="{0593AB4E-389E-0C66-752D-9646818013EF}"/>
                </a:ext>
              </a:extLst>
            </p:cNvPr>
            <p:cNvSpPr/>
            <p:nvPr/>
          </p:nvSpPr>
          <p:spPr bwMode="gray">
            <a:xfrm>
              <a:off x="811784" y="4636437"/>
              <a:ext cx="638319" cy="638319"/>
            </a:xfrm>
            <a:prstGeom prst="roundRect">
              <a:avLst/>
            </a:prstGeom>
            <a:solidFill>
              <a:srgbClr val="EBF8FF"/>
            </a:solidFill>
            <a:ln w="25400" algn="ctr">
              <a:noFill/>
              <a:miter lim="800000"/>
              <a:headEnd/>
              <a:tailEnd/>
            </a:ln>
          </p:spPr>
          <p:txBody>
            <a:bodyPr lIns="182832" tIns="146266" rIns="182832" bIns="146266" rtlCol="0" anchor="t"/>
            <a:lstStyle/>
            <a:p>
              <a:pPr defTabSz="914126" fontAlgn="base">
                <a:spcBef>
                  <a:spcPct val="50000"/>
                </a:spcBef>
                <a:spcAft>
                  <a:spcPct val="0"/>
                </a:spcAft>
                <a:buClr>
                  <a:srgbClr val="F0AB00"/>
                </a:buClr>
                <a:buSzPct val="80000"/>
              </a:pPr>
              <a:endParaRPr lang="en-US" sz="1200" kern="0">
                <a:solidFill>
                  <a:srgbClr val="000000"/>
                </a:solidFill>
                <a:latin typeface="72 Brand"/>
                <a:ea typeface="72 Brand" pitchFamily="34" charset="-128"/>
                <a:cs typeface="72 Brand" pitchFamily="34" charset="-128"/>
              </a:endParaRPr>
            </a:p>
          </p:txBody>
        </p:sp>
        <p:pic>
          <p:nvPicPr>
            <p:cNvPr id="434" name="Picture 433">
              <a:extLst>
                <a:ext uri="{FF2B5EF4-FFF2-40B4-BE49-F238E27FC236}">
                  <a16:creationId xmlns:a16="http://schemas.microsoft.com/office/drawing/2014/main" id="{814A485D-A413-BE98-D309-E70627898CC8}"/>
                </a:ext>
              </a:extLst>
            </p:cNvPr>
            <p:cNvPicPr>
              <a:picLocks noChangeAspect="1"/>
            </p:cNvPicPr>
            <p:nvPr/>
          </p:nvPicPr>
          <p:blipFill>
            <a:blip r:embed="rId8"/>
            <a:stretch>
              <a:fillRect/>
            </a:stretch>
          </p:blipFill>
          <p:spPr>
            <a:xfrm>
              <a:off x="952198" y="4748724"/>
              <a:ext cx="357490" cy="413744"/>
            </a:xfrm>
            <a:prstGeom prst="rect">
              <a:avLst/>
            </a:prstGeom>
          </p:spPr>
        </p:pic>
      </p:grpSp>
      <p:sp>
        <p:nvSpPr>
          <p:cNvPr id="435" name="Rectangle: Rounded Corners 434">
            <a:extLst>
              <a:ext uri="{FF2B5EF4-FFF2-40B4-BE49-F238E27FC236}">
                <a16:creationId xmlns:a16="http://schemas.microsoft.com/office/drawing/2014/main" id="{4FC2967A-7468-6FC6-6594-9524EB21D4DC}"/>
              </a:ext>
            </a:extLst>
          </p:cNvPr>
          <p:cNvSpPr/>
          <p:nvPr/>
        </p:nvSpPr>
        <p:spPr bwMode="gray">
          <a:xfrm>
            <a:off x="2343497" y="4636125"/>
            <a:ext cx="638153" cy="638153"/>
          </a:xfrm>
          <a:prstGeom prst="roundRect">
            <a:avLst/>
          </a:prstGeom>
          <a:solidFill>
            <a:srgbClr val="EBF8FF"/>
          </a:solidFill>
          <a:ln w="25400" algn="ctr">
            <a:noFill/>
            <a:miter lim="800000"/>
            <a:headEnd/>
            <a:tailEnd/>
          </a:ln>
        </p:spPr>
        <p:txBody>
          <a:bodyPr lIns="182832" tIns="146266" rIns="182832" bIns="146266" rtlCol="0" anchor="t"/>
          <a:lstStyle/>
          <a:p>
            <a:pPr defTabSz="914126" fontAlgn="base">
              <a:spcBef>
                <a:spcPct val="50000"/>
              </a:spcBef>
              <a:spcAft>
                <a:spcPct val="0"/>
              </a:spcAft>
              <a:buClr>
                <a:srgbClr val="F0AB00"/>
              </a:buClr>
              <a:buSzPct val="80000"/>
            </a:pPr>
            <a:endParaRPr lang="en-US" sz="1200" kern="0">
              <a:solidFill>
                <a:srgbClr val="000000"/>
              </a:solidFill>
              <a:latin typeface="72 Brand"/>
              <a:ea typeface="72 Brand" pitchFamily="34" charset="-128"/>
              <a:cs typeface="72 Brand" pitchFamily="34" charset="-128"/>
            </a:endParaRPr>
          </a:p>
        </p:txBody>
      </p:sp>
      <p:grpSp>
        <p:nvGrpSpPr>
          <p:cNvPr id="436" name="Group 435">
            <a:extLst>
              <a:ext uri="{FF2B5EF4-FFF2-40B4-BE49-F238E27FC236}">
                <a16:creationId xmlns:a16="http://schemas.microsoft.com/office/drawing/2014/main" id="{EC9F50C4-FEAF-3ADE-2A1B-C358F87DEEB3}"/>
              </a:ext>
            </a:extLst>
          </p:cNvPr>
          <p:cNvGrpSpPr/>
          <p:nvPr/>
        </p:nvGrpSpPr>
        <p:grpSpPr>
          <a:xfrm>
            <a:off x="814750" y="5431290"/>
            <a:ext cx="638153" cy="638153"/>
            <a:chOff x="811784" y="5431809"/>
            <a:chExt cx="638319" cy="638319"/>
          </a:xfrm>
        </p:grpSpPr>
        <p:sp>
          <p:nvSpPr>
            <p:cNvPr id="437" name="Rectangle: Rounded Corners 436">
              <a:extLst>
                <a:ext uri="{FF2B5EF4-FFF2-40B4-BE49-F238E27FC236}">
                  <a16:creationId xmlns:a16="http://schemas.microsoft.com/office/drawing/2014/main" id="{8A0B7976-7753-D586-ED05-E5F90AF05C1C}"/>
                </a:ext>
              </a:extLst>
            </p:cNvPr>
            <p:cNvSpPr/>
            <p:nvPr/>
          </p:nvSpPr>
          <p:spPr bwMode="gray">
            <a:xfrm>
              <a:off x="811784" y="5431809"/>
              <a:ext cx="638319" cy="638319"/>
            </a:xfrm>
            <a:prstGeom prst="roundRect">
              <a:avLst/>
            </a:prstGeom>
            <a:solidFill>
              <a:srgbClr val="EBF8FF"/>
            </a:solidFill>
            <a:ln w="25400" algn="ctr">
              <a:noFill/>
              <a:miter lim="800000"/>
              <a:headEnd/>
              <a:tailEnd/>
            </a:ln>
          </p:spPr>
          <p:txBody>
            <a:bodyPr lIns="182832" tIns="146266" rIns="182832" bIns="146266" rtlCol="0" anchor="t"/>
            <a:lstStyle/>
            <a:p>
              <a:pPr defTabSz="914126" fontAlgn="base">
                <a:spcBef>
                  <a:spcPct val="50000"/>
                </a:spcBef>
                <a:spcAft>
                  <a:spcPct val="0"/>
                </a:spcAft>
                <a:buClr>
                  <a:srgbClr val="F0AB00"/>
                </a:buClr>
                <a:buSzPct val="80000"/>
              </a:pPr>
              <a:endParaRPr lang="en-US" sz="1200" kern="0">
                <a:solidFill>
                  <a:srgbClr val="000000"/>
                </a:solidFill>
                <a:latin typeface="72 Brand"/>
                <a:ea typeface="72 Brand" pitchFamily="34" charset="-128"/>
                <a:cs typeface="72 Brand" pitchFamily="34" charset="-128"/>
              </a:endParaRPr>
            </a:p>
          </p:txBody>
        </p:sp>
        <p:pic>
          <p:nvPicPr>
            <p:cNvPr id="438" name="Picture 437">
              <a:extLst>
                <a:ext uri="{FF2B5EF4-FFF2-40B4-BE49-F238E27FC236}">
                  <a16:creationId xmlns:a16="http://schemas.microsoft.com/office/drawing/2014/main" id="{13C25FFB-67D3-08D7-CE2F-896E2D457047}"/>
                </a:ext>
              </a:extLst>
            </p:cNvPr>
            <p:cNvPicPr>
              <a:picLocks noChangeAspect="1"/>
            </p:cNvPicPr>
            <p:nvPr/>
          </p:nvPicPr>
          <p:blipFill>
            <a:blip r:embed="rId11"/>
            <a:stretch>
              <a:fillRect/>
            </a:stretch>
          </p:blipFill>
          <p:spPr>
            <a:xfrm>
              <a:off x="916004" y="5559463"/>
              <a:ext cx="429880" cy="383012"/>
            </a:xfrm>
            <a:prstGeom prst="rect">
              <a:avLst/>
            </a:prstGeom>
          </p:spPr>
        </p:pic>
      </p:grpSp>
      <p:grpSp>
        <p:nvGrpSpPr>
          <p:cNvPr id="439" name="Group 438">
            <a:extLst>
              <a:ext uri="{FF2B5EF4-FFF2-40B4-BE49-F238E27FC236}">
                <a16:creationId xmlns:a16="http://schemas.microsoft.com/office/drawing/2014/main" id="{60B0C10E-2E67-C207-7997-D1661F4AE7BC}"/>
              </a:ext>
            </a:extLst>
          </p:cNvPr>
          <p:cNvGrpSpPr/>
          <p:nvPr/>
        </p:nvGrpSpPr>
        <p:grpSpPr>
          <a:xfrm>
            <a:off x="2343497" y="5431290"/>
            <a:ext cx="638153" cy="638153"/>
            <a:chOff x="2340929" y="5431809"/>
            <a:chExt cx="638319" cy="638319"/>
          </a:xfrm>
        </p:grpSpPr>
        <p:sp>
          <p:nvSpPr>
            <p:cNvPr id="440" name="Rectangle: Rounded Corners 439">
              <a:extLst>
                <a:ext uri="{FF2B5EF4-FFF2-40B4-BE49-F238E27FC236}">
                  <a16:creationId xmlns:a16="http://schemas.microsoft.com/office/drawing/2014/main" id="{A4CF3160-B2E1-1D0A-483E-AF5F742A0F7A}"/>
                </a:ext>
              </a:extLst>
            </p:cNvPr>
            <p:cNvSpPr/>
            <p:nvPr/>
          </p:nvSpPr>
          <p:spPr bwMode="gray">
            <a:xfrm>
              <a:off x="2340929" y="5431809"/>
              <a:ext cx="638319" cy="638319"/>
            </a:xfrm>
            <a:prstGeom prst="roundRect">
              <a:avLst/>
            </a:prstGeom>
            <a:solidFill>
              <a:srgbClr val="EBF8FF"/>
            </a:solidFill>
            <a:ln w="25400" algn="ctr">
              <a:noFill/>
              <a:miter lim="800000"/>
              <a:headEnd/>
              <a:tailEnd/>
            </a:ln>
          </p:spPr>
          <p:txBody>
            <a:bodyPr lIns="182832" tIns="146266" rIns="182832" bIns="146266" rtlCol="0" anchor="t"/>
            <a:lstStyle/>
            <a:p>
              <a:pPr defTabSz="914126" fontAlgn="base">
                <a:spcBef>
                  <a:spcPct val="50000"/>
                </a:spcBef>
                <a:spcAft>
                  <a:spcPct val="0"/>
                </a:spcAft>
                <a:buClr>
                  <a:srgbClr val="F0AB00"/>
                </a:buClr>
                <a:buSzPct val="80000"/>
              </a:pPr>
              <a:endParaRPr lang="en-US" sz="1200" kern="0">
                <a:solidFill>
                  <a:srgbClr val="000000"/>
                </a:solidFill>
                <a:latin typeface="72 Brand"/>
                <a:ea typeface="72 Brand" pitchFamily="34" charset="-128"/>
                <a:cs typeface="72 Brand" pitchFamily="34" charset="-128"/>
              </a:endParaRPr>
            </a:p>
          </p:txBody>
        </p:sp>
        <p:pic>
          <p:nvPicPr>
            <p:cNvPr id="441" name="Picture 440">
              <a:extLst>
                <a:ext uri="{FF2B5EF4-FFF2-40B4-BE49-F238E27FC236}">
                  <a16:creationId xmlns:a16="http://schemas.microsoft.com/office/drawing/2014/main" id="{CDDE58CB-4D8B-F9A7-7972-CC5F8070710F}"/>
                </a:ext>
              </a:extLst>
            </p:cNvPr>
            <p:cNvPicPr>
              <a:picLocks noChangeAspect="1"/>
            </p:cNvPicPr>
            <p:nvPr/>
          </p:nvPicPr>
          <p:blipFill>
            <a:blip r:embed="rId12"/>
            <a:srcRect l="2127" r="2127"/>
            <a:stretch/>
          </p:blipFill>
          <p:spPr>
            <a:xfrm>
              <a:off x="2456730" y="5547577"/>
              <a:ext cx="406717" cy="406782"/>
            </a:xfrm>
            <a:prstGeom prst="rect">
              <a:avLst/>
            </a:prstGeom>
          </p:spPr>
        </p:pic>
      </p:grpSp>
      <p:grpSp>
        <p:nvGrpSpPr>
          <p:cNvPr id="442" name="Group 441">
            <a:extLst>
              <a:ext uri="{FF2B5EF4-FFF2-40B4-BE49-F238E27FC236}">
                <a16:creationId xmlns:a16="http://schemas.microsoft.com/office/drawing/2014/main" id="{638C0F77-2F2C-186C-21E0-94AF5ABB4E0D}"/>
              </a:ext>
            </a:extLst>
          </p:cNvPr>
          <p:cNvGrpSpPr/>
          <p:nvPr/>
        </p:nvGrpSpPr>
        <p:grpSpPr>
          <a:xfrm>
            <a:off x="3107872" y="4636125"/>
            <a:ext cx="638153" cy="638153"/>
            <a:chOff x="3105503" y="4636437"/>
            <a:chExt cx="638319" cy="638319"/>
          </a:xfrm>
        </p:grpSpPr>
        <p:sp>
          <p:nvSpPr>
            <p:cNvPr id="443" name="Rectangle: Rounded Corners 442">
              <a:extLst>
                <a:ext uri="{FF2B5EF4-FFF2-40B4-BE49-F238E27FC236}">
                  <a16:creationId xmlns:a16="http://schemas.microsoft.com/office/drawing/2014/main" id="{B1B7AA26-5091-6BA5-8194-EA023DBF2CAD}"/>
                </a:ext>
              </a:extLst>
            </p:cNvPr>
            <p:cNvSpPr/>
            <p:nvPr/>
          </p:nvSpPr>
          <p:spPr bwMode="gray">
            <a:xfrm>
              <a:off x="3105503" y="4636437"/>
              <a:ext cx="638319" cy="638319"/>
            </a:xfrm>
            <a:prstGeom prst="roundRect">
              <a:avLst/>
            </a:prstGeom>
            <a:solidFill>
              <a:srgbClr val="EBF8FF"/>
            </a:solidFill>
            <a:ln w="25400" algn="ctr">
              <a:noFill/>
              <a:miter lim="800000"/>
              <a:headEnd/>
              <a:tailEnd/>
            </a:ln>
          </p:spPr>
          <p:txBody>
            <a:bodyPr lIns="182832" tIns="146266" rIns="182832" bIns="146266" rtlCol="0" anchor="t"/>
            <a:lstStyle/>
            <a:p>
              <a:pPr defTabSz="914126" fontAlgn="base">
                <a:spcBef>
                  <a:spcPct val="50000"/>
                </a:spcBef>
                <a:spcAft>
                  <a:spcPct val="0"/>
                </a:spcAft>
                <a:buClr>
                  <a:srgbClr val="F0AB00"/>
                </a:buClr>
                <a:buSzPct val="80000"/>
              </a:pPr>
              <a:endParaRPr lang="en-US" sz="1200" kern="0">
                <a:solidFill>
                  <a:srgbClr val="000000"/>
                </a:solidFill>
                <a:latin typeface="72 Brand"/>
                <a:ea typeface="72 Brand" pitchFamily="34" charset="-128"/>
                <a:cs typeface="72 Brand" pitchFamily="34" charset="-128"/>
              </a:endParaRPr>
            </a:p>
          </p:txBody>
        </p:sp>
        <p:pic>
          <p:nvPicPr>
            <p:cNvPr id="444" name="Picture 443">
              <a:extLst>
                <a:ext uri="{FF2B5EF4-FFF2-40B4-BE49-F238E27FC236}">
                  <a16:creationId xmlns:a16="http://schemas.microsoft.com/office/drawing/2014/main" id="{66EB6E43-1131-3D40-BDC9-C2E769E075C0}"/>
                </a:ext>
              </a:extLst>
            </p:cNvPr>
            <p:cNvPicPr>
              <a:picLocks noChangeAspect="1"/>
            </p:cNvPicPr>
            <p:nvPr/>
          </p:nvPicPr>
          <p:blipFill>
            <a:blip r:embed="rId9"/>
            <a:stretch>
              <a:fillRect/>
            </a:stretch>
          </p:blipFill>
          <p:spPr>
            <a:xfrm>
              <a:off x="3220299" y="4741626"/>
              <a:ext cx="408726" cy="427940"/>
            </a:xfrm>
            <a:prstGeom prst="rect">
              <a:avLst/>
            </a:prstGeom>
          </p:spPr>
        </p:pic>
      </p:grpSp>
      <p:sp>
        <p:nvSpPr>
          <p:cNvPr id="445" name="Rectangle: Rounded Corners 444">
            <a:extLst>
              <a:ext uri="{FF2B5EF4-FFF2-40B4-BE49-F238E27FC236}">
                <a16:creationId xmlns:a16="http://schemas.microsoft.com/office/drawing/2014/main" id="{B6042420-2467-7BC3-EFD6-A0682A2F301A}"/>
              </a:ext>
            </a:extLst>
          </p:cNvPr>
          <p:cNvSpPr/>
          <p:nvPr/>
        </p:nvSpPr>
        <p:spPr bwMode="auto">
          <a:xfrm>
            <a:off x="582441" y="4248908"/>
            <a:ext cx="1316535" cy="328450"/>
          </a:xfrm>
          <a:prstGeom prst="roundRect">
            <a:avLst>
              <a:gd name="adj" fmla="val 5000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689" tIns="146152" rIns="182689" bIns="146152" numCol="1" spcCol="0" rtlCol="0" fromWordArt="0" anchor="ctr" anchorCtr="0" forceAA="0" compatLnSpc="1">
            <a:prstTxWarp prst="textNoShape">
              <a:avLst/>
            </a:prstTxWarp>
            <a:noAutofit/>
          </a:bodyPr>
          <a:lstStyle/>
          <a:p>
            <a:pPr algn="ctr" defTabSz="931446" fontAlgn="base">
              <a:spcBef>
                <a:spcPct val="0"/>
              </a:spcBef>
              <a:spcAft>
                <a:spcPct val="0"/>
              </a:spcAft>
            </a:pPr>
            <a:r>
              <a:rPr lang="en-US" sz="1199">
                <a:gradFill>
                  <a:gsLst>
                    <a:gs pos="0">
                      <a:srgbClr val="4DB1FF"/>
                    </a:gs>
                    <a:gs pos="100000">
                      <a:srgbClr val="4DB1FF"/>
                    </a:gs>
                  </a:gsLst>
                  <a:lin ang="5400000" scaled="1"/>
                </a:gradFill>
                <a:latin typeface="72 Brand Medium" panose="020B0604030603020204" pitchFamily="34" charset="0"/>
                <a:cs typeface="72" panose="020B0503030000000003" pitchFamily="34" charset="0"/>
              </a:rPr>
              <a:t>Applications</a:t>
            </a:r>
          </a:p>
        </p:txBody>
      </p:sp>
      <p:sp>
        <p:nvSpPr>
          <p:cNvPr id="446" name="Rectangle: Rounded Corners 331">
            <a:extLst>
              <a:ext uri="{FF2B5EF4-FFF2-40B4-BE49-F238E27FC236}">
                <a16:creationId xmlns:a16="http://schemas.microsoft.com/office/drawing/2014/main" id="{0BAD6022-3949-9BD7-1F57-432C0329FC59}"/>
              </a:ext>
            </a:extLst>
          </p:cNvPr>
          <p:cNvSpPr/>
          <p:nvPr/>
        </p:nvSpPr>
        <p:spPr bwMode="gray">
          <a:xfrm>
            <a:off x="6372251" y="5004741"/>
            <a:ext cx="386682" cy="623729"/>
          </a:xfrm>
          <a:custGeom>
            <a:avLst/>
            <a:gdLst>
              <a:gd name="connsiteX0" fmla="*/ 0 w 1080939"/>
              <a:gd name="connsiteY0" fmla="*/ 188201 h 864615"/>
              <a:gd name="connsiteX1" fmla="*/ 188201 w 1080939"/>
              <a:gd name="connsiteY1" fmla="*/ 0 h 864615"/>
              <a:gd name="connsiteX2" fmla="*/ 892738 w 1080939"/>
              <a:gd name="connsiteY2" fmla="*/ 0 h 864615"/>
              <a:gd name="connsiteX3" fmla="*/ 1080939 w 1080939"/>
              <a:gd name="connsiteY3" fmla="*/ 188201 h 864615"/>
              <a:gd name="connsiteX4" fmla="*/ 1080939 w 1080939"/>
              <a:gd name="connsiteY4" fmla="*/ 676414 h 864615"/>
              <a:gd name="connsiteX5" fmla="*/ 892738 w 1080939"/>
              <a:gd name="connsiteY5" fmla="*/ 864615 h 864615"/>
              <a:gd name="connsiteX6" fmla="*/ 188201 w 1080939"/>
              <a:gd name="connsiteY6" fmla="*/ 864615 h 864615"/>
              <a:gd name="connsiteX7" fmla="*/ 0 w 1080939"/>
              <a:gd name="connsiteY7" fmla="*/ 676414 h 864615"/>
              <a:gd name="connsiteX8" fmla="*/ 0 w 1080939"/>
              <a:gd name="connsiteY8" fmla="*/ 188201 h 864615"/>
              <a:gd name="connsiteX0" fmla="*/ 188201 w 1080939"/>
              <a:gd name="connsiteY0" fmla="*/ 0 h 864615"/>
              <a:gd name="connsiteX1" fmla="*/ 892738 w 1080939"/>
              <a:gd name="connsiteY1" fmla="*/ 0 h 864615"/>
              <a:gd name="connsiteX2" fmla="*/ 1080939 w 1080939"/>
              <a:gd name="connsiteY2" fmla="*/ 188201 h 864615"/>
              <a:gd name="connsiteX3" fmla="*/ 1080939 w 1080939"/>
              <a:gd name="connsiteY3" fmla="*/ 676414 h 864615"/>
              <a:gd name="connsiteX4" fmla="*/ 892738 w 1080939"/>
              <a:gd name="connsiteY4" fmla="*/ 864615 h 864615"/>
              <a:gd name="connsiteX5" fmla="*/ 188201 w 1080939"/>
              <a:gd name="connsiteY5" fmla="*/ 864615 h 864615"/>
              <a:gd name="connsiteX6" fmla="*/ 0 w 1080939"/>
              <a:gd name="connsiteY6" fmla="*/ 676414 h 864615"/>
              <a:gd name="connsiteX7" fmla="*/ 0 w 1080939"/>
              <a:gd name="connsiteY7" fmla="*/ 188201 h 864615"/>
              <a:gd name="connsiteX8" fmla="*/ 279641 w 1080939"/>
              <a:gd name="connsiteY8" fmla="*/ 91440 h 864615"/>
              <a:gd name="connsiteX0" fmla="*/ 188201 w 1080939"/>
              <a:gd name="connsiteY0" fmla="*/ 0 h 864615"/>
              <a:gd name="connsiteX1" fmla="*/ 892738 w 1080939"/>
              <a:gd name="connsiteY1" fmla="*/ 0 h 864615"/>
              <a:gd name="connsiteX2" fmla="*/ 1080939 w 1080939"/>
              <a:gd name="connsiteY2" fmla="*/ 188201 h 864615"/>
              <a:gd name="connsiteX3" fmla="*/ 1080939 w 1080939"/>
              <a:gd name="connsiteY3" fmla="*/ 676414 h 864615"/>
              <a:gd name="connsiteX4" fmla="*/ 892738 w 1080939"/>
              <a:gd name="connsiteY4" fmla="*/ 864615 h 864615"/>
              <a:gd name="connsiteX5" fmla="*/ 188201 w 1080939"/>
              <a:gd name="connsiteY5" fmla="*/ 864615 h 864615"/>
              <a:gd name="connsiteX6" fmla="*/ 0 w 1080939"/>
              <a:gd name="connsiteY6" fmla="*/ 676414 h 864615"/>
              <a:gd name="connsiteX7" fmla="*/ 0 w 1080939"/>
              <a:gd name="connsiteY7" fmla="*/ 188201 h 864615"/>
              <a:gd name="connsiteX0" fmla="*/ 892738 w 1080939"/>
              <a:gd name="connsiteY0" fmla="*/ 0 h 864615"/>
              <a:gd name="connsiteX1" fmla="*/ 1080939 w 1080939"/>
              <a:gd name="connsiteY1" fmla="*/ 188201 h 864615"/>
              <a:gd name="connsiteX2" fmla="*/ 1080939 w 1080939"/>
              <a:gd name="connsiteY2" fmla="*/ 676414 h 864615"/>
              <a:gd name="connsiteX3" fmla="*/ 892738 w 1080939"/>
              <a:gd name="connsiteY3" fmla="*/ 864615 h 864615"/>
              <a:gd name="connsiteX4" fmla="*/ 188201 w 1080939"/>
              <a:gd name="connsiteY4" fmla="*/ 864615 h 864615"/>
              <a:gd name="connsiteX5" fmla="*/ 0 w 1080939"/>
              <a:gd name="connsiteY5" fmla="*/ 676414 h 864615"/>
              <a:gd name="connsiteX6" fmla="*/ 0 w 1080939"/>
              <a:gd name="connsiteY6" fmla="*/ 188201 h 864615"/>
              <a:gd name="connsiteX0" fmla="*/ 1080939 w 1080939"/>
              <a:gd name="connsiteY0" fmla="*/ 0 h 676414"/>
              <a:gd name="connsiteX1" fmla="*/ 1080939 w 1080939"/>
              <a:gd name="connsiteY1" fmla="*/ 488213 h 676414"/>
              <a:gd name="connsiteX2" fmla="*/ 892738 w 1080939"/>
              <a:gd name="connsiteY2" fmla="*/ 676414 h 676414"/>
              <a:gd name="connsiteX3" fmla="*/ 188201 w 1080939"/>
              <a:gd name="connsiteY3" fmla="*/ 676414 h 676414"/>
              <a:gd name="connsiteX4" fmla="*/ 0 w 1080939"/>
              <a:gd name="connsiteY4" fmla="*/ 488213 h 676414"/>
              <a:gd name="connsiteX5" fmla="*/ 0 w 1080939"/>
              <a:gd name="connsiteY5" fmla="*/ 0 h 676414"/>
              <a:gd name="connsiteX0" fmla="*/ 1080939 w 1080939"/>
              <a:gd name="connsiteY0" fmla="*/ 0 h 676414"/>
              <a:gd name="connsiteX1" fmla="*/ 1080939 w 1080939"/>
              <a:gd name="connsiteY1" fmla="*/ 488213 h 676414"/>
              <a:gd name="connsiteX2" fmla="*/ 892738 w 1080939"/>
              <a:gd name="connsiteY2" fmla="*/ 676414 h 676414"/>
              <a:gd name="connsiteX3" fmla="*/ 188201 w 1080939"/>
              <a:gd name="connsiteY3" fmla="*/ 676414 h 676414"/>
              <a:gd name="connsiteX4" fmla="*/ 0 w 1080939"/>
              <a:gd name="connsiteY4" fmla="*/ 488213 h 676414"/>
              <a:gd name="connsiteX0" fmla="*/ 892738 w 892738"/>
              <a:gd name="connsiteY0" fmla="*/ 0 h 676414"/>
              <a:gd name="connsiteX1" fmla="*/ 892738 w 892738"/>
              <a:gd name="connsiteY1" fmla="*/ 488213 h 676414"/>
              <a:gd name="connsiteX2" fmla="*/ 704537 w 892738"/>
              <a:gd name="connsiteY2" fmla="*/ 676414 h 676414"/>
              <a:gd name="connsiteX3" fmla="*/ 0 w 892738"/>
              <a:gd name="connsiteY3" fmla="*/ 676414 h 676414"/>
              <a:gd name="connsiteX0" fmla="*/ 419345 w 419345"/>
              <a:gd name="connsiteY0" fmla="*/ 0 h 676414"/>
              <a:gd name="connsiteX1" fmla="*/ 419345 w 419345"/>
              <a:gd name="connsiteY1" fmla="*/ 488213 h 676414"/>
              <a:gd name="connsiteX2" fmla="*/ 231144 w 419345"/>
              <a:gd name="connsiteY2" fmla="*/ 676414 h 676414"/>
              <a:gd name="connsiteX3" fmla="*/ 0 w 419345"/>
              <a:gd name="connsiteY3" fmla="*/ 675462 h 676414"/>
            </a:gdLst>
            <a:ahLst/>
            <a:cxnLst>
              <a:cxn ang="0">
                <a:pos x="connsiteX0" y="connsiteY0"/>
              </a:cxn>
              <a:cxn ang="0">
                <a:pos x="connsiteX1" y="connsiteY1"/>
              </a:cxn>
              <a:cxn ang="0">
                <a:pos x="connsiteX2" y="connsiteY2"/>
              </a:cxn>
              <a:cxn ang="0">
                <a:pos x="connsiteX3" y="connsiteY3"/>
              </a:cxn>
            </a:cxnLst>
            <a:rect l="l" t="t" r="r" b="b"/>
            <a:pathLst>
              <a:path w="419345" h="676414">
                <a:moveTo>
                  <a:pt x="419345" y="0"/>
                </a:moveTo>
                <a:lnTo>
                  <a:pt x="419345" y="488213"/>
                </a:lnTo>
                <a:cubicBezTo>
                  <a:pt x="419345" y="592154"/>
                  <a:pt x="335085" y="676414"/>
                  <a:pt x="231144" y="676414"/>
                </a:cubicBezTo>
                <a:lnTo>
                  <a:pt x="0" y="675462"/>
                </a:lnTo>
              </a:path>
            </a:pathLst>
          </a:custGeom>
          <a:noFill/>
          <a:ln w="12700" algn="ctr">
            <a:gradFill flip="none" rotWithShape="1">
              <a:gsLst>
                <a:gs pos="22000">
                  <a:schemeClr val="accent1">
                    <a:lumMod val="5000"/>
                    <a:lumOff val="95000"/>
                  </a:schemeClr>
                </a:gs>
                <a:gs pos="46000">
                  <a:srgbClr val="B894FF"/>
                </a:gs>
                <a:gs pos="100000">
                  <a:srgbClr val="7858FF"/>
                </a:gs>
              </a:gsLst>
              <a:lin ang="18900000" scaled="1"/>
              <a:tileRect/>
            </a:gradFill>
            <a:prstDash val="dash"/>
            <a:miter lim="800000"/>
            <a:headEnd type="arrow" w="med" len="sm"/>
            <a:tailEnd/>
          </a:ln>
        </p:spPr>
        <p:txBody>
          <a:bodyPr lIns="182832" tIns="146266" rIns="182832" bIns="146266" rtlCol="0" anchor="t"/>
          <a:lstStyle/>
          <a:p>
            <a:pPr defTabSz="914126" fontAlgn="base">
              <a:spcBef>
                <a:spcPct val="50000"/>
              </a:spcBef>
              <a:spcAft>
                <a:spcPct val="0"/>
              </a:spcAft>
              <a:buClr>
                <a:srgbClr val="F0AB00"/>
              </a:buClr>
              <a:buSzPct val="80000"/>
            </a:pPr>
            <a:endParaRPr lang="en-US" sz="1200" kern="0">
              <a:solidFill>
                <a:srgbClr val="000000"/>
              </a:solidFill>
              <a:latin typeface="72 Brand"/>
              <a:ea typeface="72 Brand" pitchFamily="34" charset="-128"/>
              <a:cs typeface="72 Brand" pitchFamily="34" charset="-128"/>
            </a:endParaRPr>
          </a:p>
        </p:txBody>
      </p:sp>
      <p:sp>
        <p:nvSpPr>
          <p:cNvPr id="447" name="Rectangle: Rounded Corners 331">
            <a:extLst>
              <a:ext uri="{FF2B5EF4-FFF2-40B4-BE49-F238E27FC236}">
                <a16:creationId xmlns:a16="http://schemas.microsoft.com/office/drawing/2014/main" id="{42A54BB7-A736-20FF-DEF4-2A600784042B}"/>
              </a:ext>
            </a:extLst>
          </p:cNvPr>
          <p:cNvSpPr/>
          <p:nvPr/>
        </p:nvSpPr>
        <p:spPr bwMode="gray">
          <a:xfrm>
            <a:off x="9199023" y="3482811"/>
            <a:ext cx="386682" cy="623729"/>
          </a:xfrm>
          <a:custGeom>
            <a:avLst/>
            <a:gdLst>
              <a:gd name="connsiteX0" fmla="*/ 0 w 1080939"/>
              <a:gd name="connsiteY0" fmla="*/ 188201 h 864615"/>
              <a:gd name="connsiteX1" fmla="*/ 188201 w 1080939"/>
              <a:gd name="connsiteY1" fmla="*/ 0 h 864615"/>
              <a:gd name="connsiteX2" fmla="*/ 892738 w 1080939"/>
              <a:gd name="connsiteY2" fmla="*/ 0 h 864615"/>
              <a:gd name="connsiteX3" fmla="*/ 1080939 w 1080939"/>
              <a:gd name="connsiteY3" fmla="*/ 188201 h 864615"/>
              <a:gd name="connsiteX4" fmla="*/ 1080939 w 1080939"/>
              <a:gd name="connsiteY4" fmla="*/ 676414 h 864615"/>
              <a:gd name="connsiteX5" fmla="*/ 892738 w 1080939"/>
              <a:gd name="connsiteY5" fmla="*/ 864615 h 864615"/>
              <a:gd name="connsiteX6" fmla="*/ 188201 w 1080939"/>
              <a:gd name="connsiteY6" fmla="*/ 864615 h 864615"/>
              <a:gd name="connsiteX7" fmla="*/ 0 w 1080939"/>
              <a:gd name="connsiteY7" fmla="*/ 676414 h 864615"/>
              <a:gd name="connsiteX8" fmla="*/ 0 w 1080939"/>
              <a:gd name="connsiteY8" fmla="*/ 188201 h 864615"/>
              <a:gd name="connsiteX0" fmla="*/ 188201 w 1080939"/>
              <a:gd name="connsiteY0" fmla="*/ 0 h 864615"/>
              <a:gd name="connsiteX1" fmla="*/ 892738 w 1080939"/>
              <a:gd name="connsiteY1" fmla="*/ 0 h 864615"/>
              <a:gd name="connsiteX2" fmla="*/ 1080939 w 1080939"/>
              <a:gd name="connsiteY2" fmla="*/ 188201 h 864615"/>
              <a:gd name="connsiteX3" fmla="*/ 1080939 w 1080939"/>
              <a:gd name="connsiteY3" fmla="*/ 676414 h 864615"/>
              <a:gd name="connsiteX4" fmla="*/ 892738 w 1080939"/>
              <a:gd name="connsiteY4" fmla="*/ 864615 h 864615"/>
              <a:gd name="connsiteX5" fmla="*/ 188201 w 1080939"/>
              <a:gd name="connsiteY5" fmla="*/ 864615 h 864615"/>
              <a:gd name="connsiteX6" fmla="*/ 0 w 1080939"/>
              <a:gd name="connsiteY6" fmla="*/ 676414 h 864615"/>
              <a:gd name="connsiteX7" fmla="*/ 0 w 1080939"/>
              <a:gd name="connsiteY7" fmla="*/ 188201 h 864615"/>
              <a:gd name="connsiteX8" fmla="*/ 279641 w 1080939"/>
              <a:gd name="connsiteY8" fmla="*/ 91440 h 864615"/>
              <a:gd name="connsiteX0" fmla="*/ 188201 w 1080939"/>
              <a:gd name="connsiteY0" fmla="*/ 0 h 864615"/>
              <a:gd name="connsiteX1" fmla="*/ 892738 w 1080939"/>
              <a:gd name="connsiteY1" fmla="*/ 0 h 864615"/>
              <a:gd name="connsiteX2" fmla="*/ 1080939 w 1080939"/>
              <a:gd name="connsiteY2" fmla="*/ 188201 h 864615"/>
              <a:gd name="connsiteX3" fmla="*/ 1080939 w 1080939"/>
              <a:gd name="connsiteY3" fmla="*/ 676414 h 864615"/>
              <a:gd name="connsiteX4" fmla="*/ 892738 w 1080939"/>
              <a:gd name="connsiteY4" fmla="*/ 864615 h 864615"/>
              <a:gd name="connsiteX5" fmla="*/ 188201 w 1080939"/>
              <a:gd name="connsiteY5" fmla="*/ 864615 h 864615"/>
              <a:gd name="connsiteX6" fmla="*/ 0 w 1080939"/>
              <a:gd name="connsiteY6" fmla="*/ 676414 h 864615"/>
              <a:gd name="connsiteX7" fmla="*/ 0 w 1080939"/>
              <a:gd name="connsiteY7" fmla="*/ 188201 h 864615"/>
              <a:gd name="connsiteX0" fmla="*/ 892738 w 1080939"/>
              <a:gd name="connsiteY0" fmla="*/ 0 h 864615"/>
              <a:gd name="connsiteX1" fmla="*/ 1080939 w 1080939"/>
              <a:gd name="connsiteY1" fmla="*/ 188201 h 864615"/>
              <a:gd name="connsiteX2" fmla="*/ 1080939 w 1080939"/>
              <a:gd name="connsiteY2" fmla="*/ 676414 h 864615"/>
              <a:gd name="connsiteX3" fmla="*/ 892738 w 1080939"/>
              <a:gd name="connsiteY3" fmla="*/ 864615 h 864615"/>
              <a:gd name="connsiteX4" fmla="*/ 188201 w 1080939"/>
              <a:gd name="connsiteY4" fmla="*/ 864615 h 864615"/>
              <a:gd name="connsiteX5" fmla="*/ 0 w 1080939"/>
              <a:gd name="connsiteY5" fmla="*/ 676414 h 864615"/>
              <a:gd name="connsiteX6" fmla="*/ 0 w 1080939"/>
              <a:gd name="connsiteY6" fmla="*/ 188201 h 864615"/>
              <a:gd name="connsiteX0" fmla="*/ 1080939 w 1080939"/>
              <a:gd name="connsiteY0" fmla="*/ 0 h 676414"/>
              <a:gd name="connsiteX1" fmla="*/ 1080939 w 1080939"/>
              <a:gd name="connsiteY1" fmla="*/ 488213 h 676414"/>
              <a:gd name="connsiteX2" fmla="*/ 892738 w 1080939"/>
              <a:gd name="connsiteY2" fmla="*/ 676414 h 676414"/>
              <a:gd name="connsiteX3" fmla="*/ 188201 w 1080939"/>
              <a:gd name="connsiteY3" fmla="*/ 676414 h 676414"/>
              <a:gd name="connsiteX4" fmla="*/ 0 w 1080939"/>
              <a:gd name="connsiteY4" fmla="*/ 488213 h 676414"/>
              <a:gd name="connsiteX5" fmla="*/ 0 w 1080939"/>
              <a:gd name="connsiteY5" fmla="*/ 0 h 676414"/>
              <a:gd name="connsiteX0" fmla="*/ 1080939 w 1080939"/>
              <a:gd name="connsiteY0" fmla="*/ 0 h 676414"/>
              <a:gd name="connsiteX1" fmla="*/ 1080939 w 1080939"/>
              <a:gd name="connsiteY1" fmla="*/ 488213 h 676414"/>
              <a:gd name="connsiteX2" fmla="*/ 892738 w 1080939"/>
              <a:gd name="connsiteY2" fmla="*/ 676414 h 676414"/>
              <a:gd name="connsiteX3" fmla="*/ 188201 w 1080939"/>
              <a:gd name="connsiteY3" fmla="*/ 676414 h 676414"/>
              <a:gd name="connsiteX4" fmla="*/ 0 w 1080939"/>
              <a:gd name="connsiteY4" fmla="*/ 488213 h 676414"/>
              <a:gd name="connsiteX0" fmla="*/ 892738 w 892738"/>
              <a:gd name="connsiteY0" fmla="*/ 0 h 676414"/>
              <a:gd name="connsiteX1" fmla="*/ 892738 w 892738"/>
              <a:gd name="connsiteY1" fmla="*/ 488213 h 676414"/>
              <a:gd name="connsiteX2" fmla="*/ 704537 w 892738"/>
              <a:gd name="connsiteY2" fmla="*/ 676414 h 676414"/>
              <a:gd name="connsiteX3" fmla="*/ 0 w 892738"/>
              <a:gd name="connsiteY3" fmla="*/ 676414 h 676414"/>
              <a:gd name="connsiteX0" fmla="*/ 419345 w 419345"/>
              <a:gd name="connsiteY0" fmla="*/ 0 h 676414"/>
              <a:gd name="connsiteX1" fmla="*/ 419345 w 419345"/>
              <a:gd name="connsiteY1" fmla="*/ 488213 h 676414"/>
              <a:gd name="connsiteX2" fmla="*/ 231144 w 419345"/>
              <a:gd name="connsiteY2" fmla="*/ 676414 h 676414"/>
              <a:gd name="connsiteX3" fmla="*/ 0 w 419345"/>
              <a:gd name="connsiteY3" fmla="*/ 675462 h 676414"/>
            </a:gdLst>
            <a:ahLst/>
            <a:cxnLst>
              <a:cxn ang="0">
                <a:pos x="connsiteX0" y="connsiteY0"/>
              </a:cxn>
              <a:cxn ang="0">
                <a:pos x="connsiteX1" y="connsiteY1"/>
              </a:cxn>
              <a:cxn ang="0">
                <a:pos x="connsiteX2" y="connsiteY2"/>
              </a:cxn>
              <a:cxn ang="0">
                <a:pos x="connsiteX3" y="connsiteY3"/>
              </a:cxn>
            </a:cxnLst>
            <a:rect l="l" t="t" r="r" b="b"/>
            <a:pathLst>
              <a:path w="419345" h="676414">
                <a:moveTo>
                  <a:pt x="419345" y="0"/>
                </a:moveTo>
                <a:lnTo>
                  <a:pt x="419345" y="488213"/>
                </a:lnTo>
                <a:cubicBezTo>
                  <a:pt x="419345" y="592154"/>
                  <a:pt x="335085" y="676414"/>
                  <a:pt x="231144" y="676414"/>
                </a:cubicBezTo>
                <a:lnTo>
                  <a:pt x="0" y="675462"/>
                </a:lnTo>
              </a:path>
            </a:pathLst>
          </a:custGeom>
          <a:noFill/>
          <a:ln w="12700" algn="ctr">
            <a:gradFill flip="none" rotWithShape="1">
              <a:gsLst>
                <a:gs pos="22000">
                  <a:schemeClr val="accent1">
                    <a:lumMod val="5000"/>
                    <a:lumOff val="95000"/>
                  </a:schemeClr>
                </a:gs>
                <a:gs pos="46000">
                  <a:srgbClr val="B894FF"/>
                </a:gs>
                <a:gs pos="100000">
                  <a:srgbClr val="7858FF"/>
                </a:gs>
              </a:gsLst>
              <a:lin ang="18900000" scaled="1"/>
              <a:tileRect/>
            </a:gradFill>
            <a:prstDash val="dash"/>
            <a:miter lim="800000"/>
            <a:headEnd type="arrow" w="med" len="sm"/>
            <a:tailEnd/>
          </a:ln>
        </p:spPr>
        <p:txBody>
          <a:bodyPr lIns="182832" tIns="146266" rIns="182832" bIns="146266" rtlCol="0" anchor="t"/>
          <a:lstStyle/>
          <a:p>
            <a:pPr defTabSz="914126" fontAlgn="base">
              <a:spcBef>
                <a:spcPct val="50000"/>
              </a:spcBef>
              <a:spcAft>
                <a:spcPct val="0"/>
              </a:spcAft>
              <a:buClr>
                <a:srgbClr val="F0AB00"/>
              </a:buClr>
              <a:buSzPct val="80000"/>
            </a:pPr>
            <a:endParaRPr lang="en-US" sz="1200" kern="0">
              <a:solidFill>
                <a:srgbClr val="000000"/>
              </a:solidFill>
              <a:latin typeface="72 Brand"/>
              <a:ea typeface="72 Brand" pitchFamily="34" charset="-128"/>
              <a:cs typeface="72 Brand" pitchFamily="34" charset="-128"/>
            </a:endParaRPr>
          </a:p>
        </p:txBody>
      </p:sp>
      <p:grpSp>
        <p:nvGrpSpPr>
          <p:cNvPr id="840" name="Group 839">
            <a:extLst>
              <a:ext uri="{FF2B5EF4-FFF2-40B4-BE49-F238E27FC236}">
                <a16:creationId xmlns:a16="http://schemas.microsoft.com/office/drawing/2014/main" id="{C4D63044-B765-CE4D-7745-DCA0A9CD2408}"/>
              </a:ext>
            </a:extLst>
          </p:cNvPr>
          <p:cNvGrpSpPr/>
          <p:nvPr/>
        </p:nvGrpSpPr>
        <p:grpSpPr>
          <a:xfrm>
            <a:off x="3840596" y="3392347"/>
            <a:ext cx="1008627" cy="774338"/>
            <a:chOff x="746465" y="1088731"/>
            <a:chExt cx="2948584" cy="2263667"/>
          </a:xfrm>
        </p:grpSpPr>
        <p:sp>
          <p:nvSpPr>
            <p:cNvPr id="841" name="Rectangle: Rounded Corners 355">
              <a:extLst>
                <a:ext uri="{FF2B5EF4-FFF2-40B4-BE49-F238E27FC236}">
                  <a16:creationId xmlns:a16="http://schemas.microsoft.com/office/drawing/2014/main" id="{1AF2950C-F46C-285E-D3E8-3CBDEF2623D4}"/>
                </a:ext>
              </a:extLst>
            </p:cNvPr>
            <p:cNvSpPr/>
            <p:nvPr/>
          </p:nvSpPr>
          <p:spPr bwMode="auto">
            <a:xfrm>
              <a:off x="1305896" y="1093411"/>
              <a:ext cx="2389153" cy="2258987"/>
            </a:xfrm>
            <a:prstGeom prst="roundRect">
              <a:avLst>
                <a:gd name="adj" fmla="val 3830"/>
              </a:avLst>
            </a:prstGeom>
            <a:solidFill>
              <a:srgbClr val="E7F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eaLnBrk="0" fontAlgn="base" hangingPunct="0">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ndParaRPr>
            </a:p>
          </p:txBody>
        </p:sp>
        <p:sp>
          <p:nvSpPr>
            <p:cNvPr id="842" name="Rectangle: Rounded Corners 356">
              <a:extLst>
                <a:ext uri="{FF2B5EF4-FFF2-40B4-BE49-F238E27FC236}">
                  <a16:creationId xmlns:a16="http://schemas.microsoft.com/office/drawing/2014/main" id="{88631196-328D-C467-0931-DF3152C97CA7}"/>
                </a:ext>
              </a:extLst>
            </p:cNvPr>
            <p:cNvSpPr/>
            <p:nvPr/>
          </p:nvSpPr>
          <p:spPr bwMode="auto">
            <a:xfrm>
              <a:off x="1505003" y="2516265"/>
              <a:ext cx="946151" cy="554806"/>
            </a:xfrm>
            <a:prstGeom prst="roundRect">
              <a:avLst>
                <a:gd name="adj" fmla="val 8384"/>
              </a:avLst>
            </a:prstGeom>
            <a:solidFill>
              <a:srgbClr val="E7F4FF"/>
            </a:solidFill>
            <a:ln>
              <a:solidFill>
                <a:srgbClr val="0070F2">
                  <a:alpha val="14000"/>
                </a:srgb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a:endParaRPr lang="en-US" sz="1999">
                <a:gradFill>
                  <a:gsLst>
                    <a:gs pos="0">
                      <a:srgbClr val="FFFFFF"/>
                    </a:gs>
                    <a:gs pos="100000">
                      <a:srgbClr val="FFFFFF"/>
                    </a:gs>
                  </a:gsLst>
                  <a:lin ang="5400000" scaled="1"/>
                </a:gradFill>
                <a:latin typeface="72 Brand" panose="020B0504030603020204" pitchFamily="34" charset="0"/>
              </a:endParaRPr>
            </a:p>
          </p:txBody>
        </p:sp>
        <p:sp>
          <p:nvSpPr>
            <p:cNvPr id="843" name="Rectangle: Rounded Corners 357">
              <a:extLst>
                <a:ext uri="{FF2B5EF4-FFF2-40B4-BE49-F238E27FC236}">
                  <a16:creationId xmlns:a16="http://schemas.microsoft.com/office/drawing/2014/main" id="{B3C2C42D-4C11-B8DC-01F7-E02B0AA59022}"/>
                </a:ext>
              </a:extLst>
            </p:cNvPr>
            <p:cNvSpPr/>
            <p:nvPr/>
          </p:nvSpPr>
          <p:spPr bwMode="auto">
            <a:xfrm>
              <a:off x="2592002" y="2514202"/>
              <a:ext cx="946151" cy="554806"/>
            </a:xfrm>
            <a:prstGeom prst="roundRect">
              <a:avLst>
                <a:gd name="adj" fmla="val 8384"/>
              </a:avLst>
            </a:prstGeom>
            <a:solidFill>
              <a:srgbClr val="E7F4FF"/>
            </a:solidFill>
            <a:ln>
              <a:solidFill>
                <a:srgbClr val="0070F2">
                  <a:alpha val="14000"/>
                </a:srgb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eaLnBrk="0" fontAlgn="base" hangingPunct="0">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ndParaRPr>
            </a:p>
          </p:txBody>
        </p:sp>
        <p:sp>
          <p:nvSpPr>
            <p:cNvPr id="844" name="Rectangle: Top Corners Rounded 358">
              <a:extLst>
                <a:ext uri="{FF2B5EF4-FFF2-40B4-BE49-F238E27FC236}">
                  <a16:creationId xmlns:a16="http://schemas.microsoft.com/office/drawing/2014/main" id="{60822D06-E18F-D4AF-F2B3-F0FDBF8F2882}"/>
                </a:ext>
              </a:extLst>
            </p:cNvPr>
            <p:cNvSpPr/>
            <p:nvPr/>
          </p:nvSpPr>
          <p:spPr bwMode="auto">
            <a:xfrm>
              <a:off x="1306690" y="1088731"/>
              <a:ext cx="2387564" cy="326811"/>
            </a:xfrm>
            <a:prstGeom prst="round2SameRect">
              <a:avLst>
                <a:gd name="adj1" fmla="val 26028"/>
                <a:gd name="adj2" fmla="val 0"/>
              </a:avLst>
            </a:prstGeom>
            <a:solidFill>
              <a:srgbClr val="1B90F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a:endParaRPr lang="en-US" sz="1999">
                <a:gradFill>
                  <a:gsLst>
                    <a:gs pos="0">
                      <a:srgbClr val="FFFFFF"/>
                    </a:gs>
                    <a:gs pos="100000">
                      <a:srgbClr val="FFFFFF"/>
                    </a:gs>
                  </a:gsLst>
                  <a:lin ang="5400000" scaled="1"/>
                </a:gradFill>
                <a:latin typeface="72 Brand" panose="020B0504030603020204" pitchFamily="34" charset="0"/>
                <a:cs typeface="72" panose="020B0503030000000003" pitchFamily="34" charset="0"/>
              </a:endParaRPr>
            </a:p>
          </p:txBody>
        </p:sp>
        <p:cxnSp>
          <p:nvCxnSpPr>
            <p:cNvPr id="845" name="Straight Connector 844">
              <a:extLst>
                <a:ext uri="{FF2B5EF4-FFF2-40B4-BE49-F238E27FC236}">
                  <a16:creationId xmlns:a16="http://schemas.microsoft.com/office/drawing/2014/main" id="{39375A50-3E1A-D1AB-D405-144BCE9FFCE8}"/>
                </a:ext>
              </a:extLst>
            </p:cNvPr>
            <p:cNvCxnSpPr>
              <a:cxnSpLocks/>
            </p:cNvCxnSpPr>
            <p:nvPr/>
          </p:nvCxnSpPr>
          <p:spPr>
            <a:xfrm>
              <a:off x="2567608" y="1809995"/>
              <a:ext cx="930172" cy="0"/>
            </a:xfrm>
            <a:prstGeom prst="line">
              <a:avLst/>
            </a:prstGeom>
            <a:ln w="25400"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6" name="Rectangle: Rounded Corners 360">
              <a:extLst>
                <a:ext uri="{FF2B5EF4-FFF2-40B4-BE49-F238E27FC236}">
                  <a16:creationId xmlns:a16="http://schemas.microsoft.com/office/drawing/2014/main" id="{34AB0E73-0FA4-D462-FEDC-1775BC9CB0DB}"/>
                </a:ext>
              </a:extLst>
            </p:cNvPr>
            <p:cNvSpPr/>
            <p:nvPr/>
          </p:nvSpPr>
          <p:spPr bwMode="auto">
            <a:xfrm>
              <a:off x="2068829" y="1215752"/>
              <a:ext cx="730339" cy="95390"/>
            </a:xfrm>
            <a:prstGeom prst="roundRect">
              <a:avLst>
                <a:gd name="adj" fmla="val 50000"/>
              </a:avLst>
            </a:prstGeom>
            <a:solidFill>
              <a:srgbClr val="D1EFFF"/>
            </a:solidFill>
            <a:ln>
              <a:solidFill>
                <a:srgbClr val="89D1FF">
                  <a:alpha val="14000"/>
                </a:srgbClr>
              </a:solidFill>
            </a:ln>
            <a:effectLst>
              <a:outerShdw blurRad="50800" dist="50800" dir="5400000" algn="ctr" rotWithShape="0">
                <a:srgbClr val="1B90FF">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a:endParaRPr lang="en-US" sz="1999">
                <a:gradFill>
                  <a:gsLst>
                    <a:gs pos="0">
                      <a:srgbClr val="FFFFFF"/>
                    </a:gs>
                    <a:gs pos="100000">
                      <a:srgbClr val="FFFFFF"/>
                    </a:gs>
                  </a:gsLst>
                  <a:lin ang="5400000" scaled="1"/>
                </a:gradFill>
                <a:latin typeface="72 Brand" panose="020B0504030603020204" pitchFamily="34" charset="0"/>
              </a:endParaRPr>
            </a:p>
          </p:txBody>
        </p:sp>
        <p:sp>
          <p:nvSpPr>
            <p:cNvPr id="847" name="Rectangle: Rounded Corners 361">
              <a:extLst>
                <a:ext uri="{FF2B5EF4-FFF2-40B4-BE49-F238E27FC236}">
                  <a16:creationId xmlns:a16="http://schemas.microsoft.com/office/drawing/2014/main" id="{241BF0C5-AA50-9563-71A3-69047079AAE1}"/>
                </a:ext>
              </a:extLst>
            </p:cNvPr>
            <p:cNvSpPr/>
            <p:nvPr/>
          </p:nvSpPr>
          <p:spPr bwMode="auto">
            <a:xfrm>
              <a:off x="2952823" y="1214221"/>
              <a:ext cx="482122" cy="94387"/>
            </a:xfrm>
            <a:prstGeom prst="roundRect">
              <a:avLst>
                <a:gd name="adj" fmla="val 50000"/>
              </a:avLst>
            </a:prstGeom>
            <a:solidFill>
              <a:srgbClr val="E7F4FF"/>
            </a:solidFill>
            <a:ln>
              <a:noFill/>
              <a:headEnd type="none" w="med" len="med"/>
              <a:tailEnd type="none" w="med" len="med"/>
            </a:ln>
            <a:effectLst>
              <a:outerShdw blurRad="50800" dist="50800" dir="5400000" algn="ctr" rotWithShape="0">
                <a:srgbClr val="1B90FF">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853" name="Oval 852">
              <a:extLst>
                <a:ext uri="{FF2B5EF4-FFF2-40B4-BE49-F238E27FC236}">
                  <a16:creationId xmlns:a16="http://schemas.microsoft.com/office/drawing/2014/main" id="{5C62FFD6-A5CF-523F-FC46-5A0D16908604}"/>
                </a:ext>
              </a:extLst>
            </p:cNvPr>
            <p:cNvSpPr/>
            <p:nvPr/>
          </p:nvSpPr>
          <p:spPr bwMode="auto">
            <a:xfrm>
              <a:off x="1510045" y="1174546"/>
              <a:ext cx="177799" cy="177799"/>
            </a:xfrm>
            <a:prstGeom prst="ellipse">
              <a:avLst/>
            </a:prstGeom>
            <a:solidFill>
              <a:srgbClr val="E7F4FF"/>
            </a:solidFill>
            <a:ln>
              <a:solidFill>
                <a:srgbClr val="E7F4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eaLnBrk="0" fontAlgn="base" hangingPunct="0">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ndParaRPr>
            </a:p>
          </p:txBody>
        </p:sp>
        <p:sp>
          <p:nvSpPr>
            <p:cNvPr id="849" name="Rectangle: Rounded Corners 365">
              <a:extLst>
                <a:ext uri="{FF2B5EF4-FFF2-40B4-BE49-F238E27FC236}">
                  <a16:creationId xmlns:a16="http://schemas.microsoft.com/office/drawing/2014/main" id="{6408BB7F-74E8-CE3A-18EF-B06C78B4C2F8}"/>
                </a:ext>
              </a:extLst>
            </p:cNvPr>
            <p:cNvSpPr/>
            <p:nvPr/>
          </p:nvSpPr>
          <p:spPr bwMode="auto">
            <a:xfrm>
              <a:off x="746465" y="1771332"/>
              <a:ext cx="1528009" cy="895997"/>
            </a:xfrm>
            <a:prstGeom prst="roundRect">
              <a:avLst>
                <a:gd name="adj" fmla="val 838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eaLnBrk="0" fontAlgn="base" hangingPunct="0">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ndParaRPr>
            </a:p>
          </p:txBody>
        </p:sp>
        <p:sp>
          <p:nvSpPr>
            <p:cNvPr id="850" name="Rectangle: Rounded Corners 366">
              <a:extLst>
                <a:ext uri="{FF2B5EF4-FFF2-40B4-BE49-F238E27FC236}">
                  <a16:creationId xmlns:a16="http://schemas.microsoft.com/office/drawing/2014/main" id="{CB99EF5B-5223-B64E-6671-A7488FE3E004}"/>
                </a:ext>
              </a:extLst>
            </p:cNvPr>
            <p:cNvSpPr/>
            <p:nvPr/>
          </p:nvSpPr>
          <p:spPr bwMode="auto">
            <a:xfrm>
              <a:off x="1330035" y="1916636"/>
              <a:ext cx="325923" cy="325923"/>
            </a:xfrm>
            <a:prstGeom prst="roundRect">
              <a:avLst/>
            </a:prstGeom>
            <a:solidFill>
              <a:srgbClr val="E7F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a:endParaRPr lang="en-US" sz="1999">
                <a:gradFill>
                  <a:gsLst>
                    <a:gs pos="0">
                      <a:srgbClr val="FFFFFF"/>
                    </a:gs>
                    <a:gs pos="100000">
                      <a:srgbClr val="FFFFFF"/>
                    </a:gs>
                  </a:gsLst>
                  <a:lin ang="5400000" scaled="1"/>
                </a:gradFill>
                <a:latin typeface="72 Brand" panose="020B0504030603020204" pitchFamily="34" charset="0"/>
              </a:endParaRPr>
            </a:p>
          </p:txBody>
        </p:sp>
        <p:cxnSp>
          <p:nvCxnSpPr>
            <p:cNvPr id="851" name="Straight Connector 850">
              <a:extLst>
                <a:ext uri="{FF2B5EF4-FFF2-40B4-BE49-F238E27FC236}">
                  <a16:creationId xmlns:a16="http://schemas.microsoft.com/office/drawing/2014/main" id="{E73FF5B6-6F58-5FBA-6011-55AD384E9005}"/>
                </a:ext>
              </a:extLst>
            </p:cNvPr>
            <p:cNvCxnSpPr>
              <a:cxnSpLocks/>
            </p:cNvCxnSpPr>
            <p:nvPr/>
          </p:nvCxnSpPr>
          <p:spPr>
            <a:xfrm>
              <a:off x="2866231" y="2006642"/>
              <a:ext cx="639425" cy="0"/>
            </a:xfrm>
            <a:prstGeom prst="line">
              <a:avLst/>
            </a:prstGeom>
            <a:ln w="25400"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2" name="Straight Connector 851">
              <a:extLst>
                <a:ext uri="{FF2B5EF4-FFF2-40B4-BE49-F238E27FC236}">
                  <a16:creationId xmlns:a16="http://schemas.microsoft.com/office/drawing/2014/main" id="{4EF12E8D-53D9-F206-178A-4C1321EEE184}"/>
                </a:ext>
              </a:extLst>
            </p:cNvPr>
            <p:cNvCxnSpPr>
              <a:cxnSpLocks/>
            </p:cNvCxnSpPr>
            <p:nvPr/>
          </p:nvCxnSpPr>
          <p:spPr>
            <a:xfrm>
              <a:off x="1185290" y="2441509"/>
              <a:ext cx="639425" cy="0"/>
            </a:xfrm>
            <a:prstGeom prst="line">
              <a:avLst/>
            </a:prstGeom>
            <a:ln w="222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55" name="Group 854">
            <a:extLst>
              <a:ext uri="{FF2B5EF4-FFF2-40B4-BE49-F238E27FC236}">
                <a16:creationId xmlns:a16="http://schemas.microsoft.com/office/drawing/2014/main" id="{D14B0550-4690-3146-C3E3-A0C813E3732B}"/>
              </a:ext>
            </a:extLst>
          </p:cNvPr>
          <p:cNvGrpSpPr/>
          <p:nvPr/>
        </p:nvGrpSpPr>
        <p:grpSpPr>
          <a:xfrm>
            <a:off x="6776337" y="2565951"/>
            <a:ext cx="1162381" cy="892014"/>
            <a:chOff x="746465" y="1089652"/>
            <a:chExt cx="2948584" cy="2262746"/>
          </a:xfrm>
        </p:grpSpPr>
        <p:sp>
          <p:nvSpPr>
            <p:cNvPr id="856" name="Rectangle: Rounded Corners 355">
              <a:extLst>
                <a:ext uri="{FF2B5EF4-FFF2-40B4-BE49-F238E27FC236}">
                  <a16:creationId xmlns:a16="http://schemas.microsoft.com/office/drawing/2014/main" id="{5FF24D97-BE00-EF91-74F6-0863F6E0C039}"/>
                </a:ext>
              </a:extLst>
            </p:cNvPr>
            <p:cNvSpPr/>
            <p:nvPr/>
          </p:nvSpPr>
          <p:spPr bwMode="auto">
            <a:xfrm>
              <a:off x="1305896" y="1093411"/>
              <a:ext cx="2389153" cy="2258987"/>
            </a:xfrm>
            <a:prstGeom prst="roundRect">
              <a:avLst>
                <a:gd name="adj" fmla="val 3830"/>
              </a:avLst>
            </a:prstGeom>
            <a:solidFill>
              <a:srgbClr val="E7F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eaLnBrk="0" fontAlgn="base" hangingPunct="0">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ndParaRPr>
            </a:p>
          </p:txBody>
        </p:sp>
        <p:sp>
          <p:nvSpPr>
            <p:cNvPr id="857" name="Rectangle: Rounded Corners 356">
              <a:extLst>
                <a:ext uri="{FF2B5EF4-FFF2-40B4-BE49-F238E27FC236}">
                  <a16:creationId xmlns:a16="http://schemas.microsoft.com/office/drawing/2014/main" id="{7F465E46-4068-0E24-D5E6-5AF57161360E}"/>
                </a:ext>
              </a:extLst>
            </p:cNvPr>
            <p:cNvSpPr/>
            <p:nvPr/>
          </p:nvSpPr>
          <p:spPr bwMode="auto">
            <a:xfrm>
              <a:off x="1505003" y="2516265"/>
              <a:ext cx="946151" cy="554806"/>
            </a:xfrm>
            <a:prstGeom prst="roundRect">
              <a:avLst>
                <a:gd name="adj" fmla="val 8384"/>
              </a:avLst>
            </a:prstGeom>
            <a:solidFill>
              <a:srgbClr val="E7F4FF"/>
            </a:solidFill>
            <a:ln>
              <a:solidFill>
                <a:srgbClr val="0070F2">
                  <a:alpha val="14000"/>
                </a:srgb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a:endParaRPr lang="en-US" sz="1999">
                <a:gradFill>
                  <a:gsLst>
                    <a:gs pos="0">
                      <a:srgbClr val="FFFFFF"/>
                    </a:gs>
                    <a:gs pos="100000">
                      <a:srgbClr val="FFFFFF"/>
                    </a:gs>
                  </a:gsLst>
                  <a:lin ang="5400000" scaled="1"/>
                </a:gradFill>
                <a:latin typeface="72 Brand" panose="020B0504030603020204" pitchFamily="34" charset="0"/>
              </a:endParaRPr>
            </a:p>
          </p:txBody>
        </p:sp>
        <p:sp>
          <p:nvSpPr>
            <p:cNvPr id="858" name="Rectangle: Rounded Corners 357">
              <a:extLst>
                <a:ext uri="{FF2B5EF4-FFF2-40B4-BE49-F238E27FC236}">
                  <a16:creationId xmlns:a16="http://schemas.microsoft.com/office/drawing/2014/main" id="{27D475CD-C7C0-CA93-0A6B-ED0B3D1769ED}"/>
                </a:ext>
              </a:extLst>
            </p:cNvPr>
            <p:cNvSpPr/>
            <p:nvPr/>
          </p:nvSpPr>
          <p:spPr bwMode="auto">
            <a:xfrm>
              <a:off x="2592002" y="2514202"/>
              <a:ext cx="946151" cy="554806"/>
            </a:xfrm>
            <a:prstGeom prst="roundRect">
              <a:avLst>
                <a:gd name="adj" fmla="val 8384"/>
              </a:avLst>
            </a:prstGeom>
            <a:solidFill>
              <a:srgbClr val="E7F4FF"/>
            </a:solidFill>
            <a:ln>
              <a:solidFill>
                <a:srgbClr val="0070F2">
                  <a:alpha val="14000"/>
                </a:srgb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eaLnBrk="0" fontAlgn="base" hangingPunct="0">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ndParaRPr>
            </a:p>
          </p:txBody>
        </p:sp>
        <p:sp>
          <p:nvSpPr>
            <p:cNvPr id="859" name="Rectangle: Top Corners Rounded 358">
              <a:extLst>
                <a:ext uri="{FF2B5EF4-FFF2-40B4-BE49-F238E27FC236}">
                  <a16:creationId xmlns:a16="http://schemas.microsoft.com/office/drawing/2014/main" id="{ACF1AB2D-AB3C-E34C-897E-0844A9E154F7}"/>
                </a:ext>
              </a:extLst>
            </p:cNvPr>
            <p:cNvSpPr/>
            <p:nvPr/>
          </p:nvSpPr>
          <p:spPr bwMode="auto">
            <a:xfrm>
              <a:off x="1306690" y="1089652"/>
              <a:ext cx="2387565" cy="326812"/>
            </a:xfrm>
            <a:prstGeom prst="round2SameRect">
              <a:avLst>
                <a:gd name="adj1" fmla="val 26028"/>
                <a:gd name="adj2" fmla="val 0"/>
              </a:avLst>
            </a:prstGeom>
            <a:solidFill>
              <a:srgbClr val="1B90F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a:endParaRPr lang="en-US" sz="1999">
                <a:gradFill>
                  <a:gsLst>
                    <a:gs pos="0">
                      <a:srgbClr val="FFFFFF"/>
                    </a:gs>
                    <a:gs pos="100000">
                      <a:srgbClr val="FFFFFF"/>
                    </a:gs>
                  </a:gsLst>
                  <a:lin ang="5400000" scaled="1"/>
                </a:gradFill>
                <a:latin typeface="72 Brand" panose="020B0504030603020204" pitchFamily="34" charset="0"/>
                <a:cs typeface="72" panose="020B0503030000000003" pitchFamily="34" charset="0"/>
              </a:endParaRPr>
            </a:p>
          </p:txBody>
        </p:sp>
        <p:cxnSp>
          <p:nvCxnSpPr>
            <p:cNvPr id="860" name="Straight Connector 859">
              <a:extLst>
                <a:ext uri="{FF2B5EF4-FFF2-40B4-BE49-F238E27FC236}">
                  <a16:creationId xmlns:a16="http://schemas.microsoft.com/office/drawing/2014/main" id="{375256E3-AE82-EECE-F5BD-E310BC2A8E75}"/>
                </a:ext>
              </a:extLst>
            </p:cNvPr>
            <p:cNvCxnSpPr>
              <a:cxnSpLocks/>
            </p:cNvCxnSpPr>
            <p:nvPr/>
          </p:nvCxnSpPr>
          <p:spPr>
            <a:xfrm>
              <a:off x="2567608" y="1809995"/>
              <a:ext cx="930172" cy="0"/>
            </a:xfrm>
            <a:prstGeom prst="line">
              <a:avLst/>
            </a:prstGeom>
            <a:ln w="25400"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61" name="Rectangle: Rounded Corners 360">
              <a:extLst>
                <a:ext uri="{FF2B5EF4-FFF2-40B4-BE49-F238E27FC236}">
                  <a16:creationId xmlns:a16="http://schemas.microsoft.com/office/drawing/2014/main" id="{A7E5AFFE-F7A8-86B7-95C6-DEF4E7450D24}"/>
                </a:ext>
              </a:extLst>
            </p:cNvPr>
            <p:cNvSpPr/>
            <p:nvPr/>
          </p:nvSpPr>
          <p:spPr bwMode="auto">
            <a:xfrm>
              <a:off x="2068829" y="1215752"/>
              <a:ext cx="730339" cy="95390"/>
            </a:xfrm>
            <a:prstGeom prst="roundRect">
              <a:avLst>
                <a:gd name="adj" fmla="val 50000"/>
              </a:avLst>
            </a:prstGeom>
            <a:solidFill>
              <a:srgbClr val="D1EFFF"/>
            </a:solidFill>
            <a:ln>
              <a:solidFill>
                <a:srgbClr val="89D1FF">
                  <a:alpha val="14000"/>
                </a:srgbClr>
              </a:solidFill>
            </a:ln>
            <a:effectLst>
              <a:outerShdw blurRad="50800" dist="50800" dir="5400000" algn="ctr" rotWithShape="0">
                <a:srgbClr val="1B90FF">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a:endParaRPr lang="en-US" sz="1999">
                <a:gradFill>
                  <a:gsLst>
                    <a:gs pos="0">
                      <a:srgbClr val="FFFFFF"/>
                    </a:gs>
                    <a:gs pos="100000">
                      <a:srgbClr val="FFFFFF"/>
                    </a:gs>
                  </a:gsLst>
                  <a:lin ang="5400000" scaled="1"/>
                </a:gradFill>
                <a:latin typeface="72 Brand" panose="020B0504030603020204" pitchFamily="34" charset="0"/>
              </a:endParaRPr>
            </a:p>
          </p:txBody>
        </p:sp>
        <p:sp>
          <p:nvSpPr>
            <p:cNvPr id="862" name="Rectangle: Rounded Corners 361">
              <a:extLst>
                <a:ext uri="{FF2B5EF4-FFF2-40B4-BE49-F238E27FC236}">
                  <a16:creationId xmlns:a16="http://schemas.microsoft.com/office/drawing/2014/main" id="{24630FA2-8B01-F1E1-422B-D744DA341E45}"/>
                </a:ext>
              </a:extLst>
            </p:cNvPr>
            <p:cNvSpPr/>
            <p:nvPr/>
          </p:nvSpPr>
          <p:spPr bwMode="auto">
            <a:xfrm>
              <a:off x="2952823" y="1214221"/>
              <a:ext cx="482122" cy="94387"/>
            </a:xfrm>
            <a:prstGeom prst="roundRect">
              <a:avLst>
                <a:gd name="adj" fmla="val 50000"/>
              </a:avLst>
            </a:prstGeom>
            <a:solidFill>
              <a:srgbClr val="E7F4FF"/>
            </a:solidFill>
            <a:ln>
              <a:noFill/>
              <a:headEnd type="none" w="med" len="med"/>
              <a:tailEnd type="none" w="med" len="med"/>
            </a:ln>
            <a:effectLst>
              <a:outerShdw blurRad="50800" dist="50800" dir="5400000" algn="ctr" rotWithShape="0">
                <a:srgbClr val="1B90FF">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868" name="Oval 867">
              <a:extLst>
                <a:ext uri="{FF2B5EF4-FFF2-40B4-BE49-F238E27FC236}">
                  <a16:creationId xmlns:a16="http://schemas.microsoft.com/office/drawing/2014/main" id="{A0DB6008-A169-59F6-3E5E-92E794267288}"/>
                </a:ext>
              </a:extLst>
            </p:cNvPr>
            <p:cNvSpPr/>
            <p:nvPr/>
          </p:nvSpPr>
          <p:spPr bwMode="auto">
            <a:xfrm>
              <a:off x="1510045" y="1174546"/>
              <a:ext cx="177801" cy="177800"/>
            </a:xfrm>
            <a:prstGeom prst="ellipse">
              <a:avLst/>
            </a:prstGeom>
            <a:solidFill>
              <a:srgbClr val="E7F4FF"/>
            </a:solidFill>
            <a:ln>
              <a:solidFill>
                <a:srgbClr val="E7F4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eaLnBrk="0" fontAlgn="base" hangingPunct="0">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ndParaRPr>
            </a:p>
          </p:txBody>
        </p:sp>
        <p:sp>
          <p:nvSpPr>
            <p:cNvPr id="864" name="Rectangle: Rounded Corners 365">
              <a:extLst>
                <a:ext uri="{FF2B5EF4-FFF2-40B4-BE49-F238E27FC236}">
                  <a16:creationId xmlns:a16="http://schemas.microsoft.com/office/drawing/2014/main" id="{99765B80-656C-33FD-0DA5-109A4DD43022}"/>
                </a:ext>
              </a:extLst>
            </p:cNvPr>
            <p:cNvSpPr/>
            <p:nvPr/>
          </p:nvSpPr>
          <p:spPr bwMode="auto">
            <a:xfrm>
              <a:off x="746465" y="1771332"/>
              <a:ext cx="1528009" cy="895997"/>
            </a:xfrm>
            <a:prstGeom prst="roundRect">
              <a:avLst>
                <a:gd name="adj" fmla="val 838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eaLnBrk="0" fontAlgn="base" hangingPunct="0">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ndParaRPr>
            </a:p>
          </p:txBody>
        </p:sp>
        <p:sp>
          <p:nvSpPr>
            <p:cNvPr id="865" name="Rectangle: Rounded Corners 366">
              <a:extLst>
                <a:ext uri="{FF2B5EF4-FFF2-40B4-BE49-F238E27FC236}">
                  <a16:creationId xmlns:a16="http://schemas.microsoft.com/office/drawing/2014/main" id="{D53369F2-E63D-0EF3-F58A-9B7DFC6CF9AB}"/>
                </a:ext>
              </a:extLst>
            </p:cNvPr>
            <p:cNvSpPr/>
            <p:nvPr/>
          </p:nvSpPr>
          <p:spPr bwMode="auto">
            <a:xfrm>
              <a:off x="1330035" y="1916636"/>
              <a:ext cx="325923" cy="325923"/>
            </a:xfrm>
            <a:prstGeom prst="roundRect">
              <a:avLst/>
            </a:prstGeom>
            <a:solidFill>
              <a:srgbClr val="E7F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a:endParaRPr lang="en-US" sz="1999">
                <a:gradFill>
                  <a:gsLst>
                    <a:gs pos="0">
                      <a:srgbClr val="FFFFFF"/>
                    </a:gs>
                    <a:gs pos="100000">
                      <a:srgbClr val="FFFFFF"/>
                    </a:gs>
                  </a:gsLst>
                  <a:lin ang="5400000" scaled="1"/>
                </a:gradFill>
                <a:latin typeface="72 Brand" panose="020B0504030603020204" pitchFamily="34" charset="0"/>
              </a:endParaRPr>
            </a:p>
          </p:txBody>
        </p:sp>
        <p:cxnSp>
          <p:nvCxnSpPr>
            <p:cNvPr id="866" name="Straight Connector 865">
              <a:extLst>
                <a:ext uri="{FF2B5EF4-FFF2-40B4-BE49-F238E27FC236}">
                  <a16:creationId xmlns:a16="http://schemas.microsoft.com/office/drawing/2014/main" id="{09C1EB76-A4EF-2037-5C7A-D16B555BB805}"/>
                </a:ext>
              </a:extLst>
            </p:cNvPr>
            <p:cNvCxnSpPr>
              <a:cxnSpLocks/>
            </p:cNvCxnSpPr>
            <p:nvPr/>
          </p:nvCxnSpPr>
          <p:spPr>
            <a:xfrm>
              <a:off x="2866231" y="2006642"/>
              <a:ext cx="639425" cy="0"/>
            </a:xfrm>
            <a:prstGeom prst="line">
              <a:avLst/>
            </a:prstGeom>
            <a:ln w="25400"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7" name="Straight Connector 866">
              <a:extLst>
                <a:ext uri="{FF2B5EF4-FFF2-40B4-BE49-F238E27FC236}">
                  <a16:creationId xmlns:a16="http://schemas.microsoft.com/office/drawing/2014/main" id="{E907CD00-822A-CC91-50ED-BD5695F28039}"/>
                </a:ext>
              </a:extLst>
            </p:cNvPr>
            <p:cNvCxnSpPr>
              <a:cxnSpLocks/>
            </p:cNvCxnSpPr>
            <p:nvPr/>
          </p:nvCxnSpPr>
          <p:spPr>
            <a:xfrm>
              <a:off x="1185290" y="2441509"/>
              <a:ext cx="639425" cy="0"/>
            </a:xfrm>
            <a:prstGeom prst="line">
              <a:avLst/>
            </a:prstGeom>
            <a:ln w="222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70" name="Group 869">
            <a:extLst>
              <a:ext uri="{FF2B5EF4-FFF2-40B4-BE49-F238E27FC236}">
                <a16:creationId xmlns:a16="http://schemas.microsoft.com/office/drawing/2014/main" id="{2D900AE8-8DA5-810B-5E7F-505AEB0008B7}"/>
              </a:ext>
            </a:extLst>
          </p:cNvPr>
          <p:cNvGrpSpPr/>
          <p:nvPr/>
        </p:nvGrpSpPr>
        <p:grpSpPr>
          <a:xfrm>
            <a:off x="4753874" y="3749313"/>
            <a:ext cx="614200" cy="706545"/>
            <a:chOff x="1993945" y="2500313"/>
            <a:chExt cx="1389811" cy="1598771"/>
          </a:xfrm>
        </p:grpSpPr>
        <p:grpSp>
          <p:nvGrpSpPr>
            <p:cNvPr id="871" name="Group 870">
              <a:extLst>
                <a:ext uri="{FF2B5EF4-FFF2-40B4-BE49-F238E27FC236}">
                  <a16:creationId xmlns:a16="http://schemas.microsoft.com/office/drawing/2014/main" id="{A9A6BC2D-E8B3-3DB1-B6FA-15ABDC0CF259}"/>
                </a:ext>
              </a:extLst>
            </p:cNvPr>
            <p:cNvGrpSpPr/>
            <p:nvPr/>
          </p:nvGrpSpPr>
          <p:grpSpPr>
            <a:xfrm>
              <a:off x="1993945" y="2500313"/>
              <a:ext cx="1389811" cy="1598771"/>
              <a:chOff x="1993945" y="2500313"/>
              <a:chExt cx="1389811" cy="1598771"/>
            </a:xfrm>
          </p:grpSpPr>
          <p:grpSp>
            <p:nvGrpSpPr>
              <p:cNvPr id="884" name="Group 883">
                <a:extLst>
                  <a:ext uri="{FF2B5EF4-FFF2-40B4-BE49-F238E27FC236}">
                    <a16:creationId xmlns:a16="http://schemas.microsoft.com/office/drawing/2014/main" id="{416B7EE5-5BAD-B80F-39CA-3AF899B2F7BD}"/>
                  </a:ext>
                </a:extLst>
              </p:cNvPr>
              <p:cNvGrpSpPr/>
              <p:nvPr/>
            </p:nvGrpSpPr>
            <p:grpSpPr>
              <a:xfrm>
                <a:off x="1993945" y="2502213"/>
                <a:ext cx="1389335" cy="1596871"/>
                <a:chOff x="8077200" y="2019300"/>
                <a:chExt cx="1836420" cy="2110740"/>
              </a:xfrm>
            </p:grpSpPr>
            <p:sp>
              <p:nvSpPr>
                <p:cNvPr id="886" name="Rectangle: Rounded Corners 18">
                  <a:extLst>
                    <a:ext uri="{FF2B5EF4-FFF2-40B4-BE49-F238E27FC236}">
                      <a16:creationId xmlns:a16="http://schemas.microsoft.com/office/drawing/2014/main" id="{2FD23B06-63BF-7875-F081-703E300DDB92}"/>
                    </a:ext>
                  </a:extLst>
                </p:cNvPr>
                <p:cNvSpPr/>
                <p:nvPr/>
              </p:nvSpPr>
              <p:spPr bwMode="auto">
                <a:xfrm>
                  <a:off x="8077200" y="2019300"/>
                  <a:ext cx="1836420" cy="2110740"/>
                </a:xfrm>
                <a:prstGeom prst="roundRect">
                  <a:avLst>
                    <a:gd name="adj" fmla="val 3488"/>
                  </a:avLst>
                </a:prstGeom>
                <a:solidFill>
                  <a:srgbClr val="E7F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eaLnBrk="0" fontAlgn="base" hangingPunct="0">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ndParaRPr>
                </a:p>
              </p:txBody>
            </p:sp>
            <p:sp>
              <p:nvSpPr>
                <p:cNvPr id="887" name="Rectangle: Top Corners Rounded 19">
                  <a:extLst>
                    <a:ext uri="{FF2B5EF4-FFF2-40B4-BE49-F238E27FC236}">
                      <a16:creationId xmlns:a16="http://schemas.microsoft.com/office/drawing/2014/main" id="{468AA962-F379-A168-41BF-B0406A4D981E}"/>
                    </a:ext>
                  </a:extLst>
                </p:cNvPr>
                <p:cNvSpPr/>
                <p:nvPr/>
              </p:nvSpPr>
              <p:spPr bwMode="auto">
                <a:xfrm rot="16200000">
                  <a:off x="7234453" y="2862047"/>
                  <a:ext cx="2110740" cy="425246"/>
                </a:xfrm>
                <a:prstGeom prst="round2SameRect">
                  <a:avLst>
                    <a:gd name="adj1" fmla="val 16108"/>
                    <a:gd name="adj2" fmla="val 0"/>
                  </a:avLst>
                </a:prstGeom>
                <a:solidFill>
                  <a:srgbClr val="1B9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888" name="Rectangle: Rounded Corners 20">
                  <a:extLst>
                    <a:ext uri="{FF2B5EF4-FFF2-40B4-BE49-F238E27FC236}">
                      <a16:creationId xmlns:a16="http://schemas.microsoft.com/office/drawing/2014/main" id="{DBF232F2-426C-7EEB-C5EE-2A010FBECE42}"/>
                    </a:ext>
                  </a:extLst>
                </p:cNvPr>
                <p:cNvSpPr/>
                <p:nvPr/>
              </p:nvSpPr>
              <p:spPr bwMode="auto">
                <a:xfrm>
                  <a:off x="8645962" y="2442039"/>
                  <a:ext cx="1126689" cy="433591"/>
                </a:xfrm>
                <a:prstGeom prst="roundRect">
                  <a:avLst>
                    <a:gd name="adj" fmla="val 8796"/>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eaLnBrk="0" fontAlgn="base" hangingPunct="0">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ndParaRPr>
                </a:p>
              </p:txBody>
            </p:sp>
            <p:sp>
              <p:nvSpPr>
                <p:cNvPr id="889" name="Rectangle: Rounded Corners 21">
                  <a:extLst>
                    <a:ext uri="{FF2B5EF4-FFF2-40B4-BE49-F238E27FC236}">
                      <a16:creationId xmlns:a16="http://schemas.microsoft.com/office/drawing/2014/main" id="{63D0A146-71FB-974C-3A86-386C4137FBDB}"/>
                    </a:ext>
                  </a:extLst>
                </p:cNvPr>
                <p:cNvSpPr/>
                <p:nvPr/>
              </p:nvSpPr>
              <p:spPr bwMode="auto">
                <a:xfrm>
                  <a:off x="8645962" y="2984964"/>
                  <a:ext cx="1126689" cy="433591"/>
                </a:xfrm>
                <a:prstGeom prst="roundRect">
                  <a:avLst>
                    <a:gd name="adj" fmla="val 8796"/>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eaLnBrk="0" fontAlgn="base" hangingPunct="0">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ndParaRPr>
                </a:p>
              </p:txBody>
            </p:sp>
            <p:sp>
              <p:nvSpPr>
                <p:cNvPr id="890" name="Rectangle: Rounded Corners 22">
                  <a:extLst>
                    <a:ext uri="{FF2B5EF4-FFF2-40B4-BE49-F238E27FC236}">
                      <a16:creationId xmlns:a16="http://schemas.microsoft.com/office/drawing/2014/main" id="{EB910873-D9EF-1D67-62F2-57CACF5F5322}"/>
                    </a:ext>
                  </a:extLst>
                </p:cNvPr>
                <p:cNvSpPr/>
                <p:nvPr/>
              </p:nvSpPr>
              <p:spPr bwMode="auto">
                <a:xfrm>
                  <a:off x="8645962" y="3527889"/>
                  <a:ext cx="1126689" cy="433591"/>
                </a:xfrm>
                <a:prstGeom prst="roundRect">
                  <a:avLst>
                    <a:gd name="adj" fmla="val 8796"/>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eaLnBrk="0" fontAlgn="base" hangingPunct="0">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ndParaRPr>
                </a:p>
              </p:txBody>
            </p:sp>
          </p:grpSp>
          <p:sp>
            <p:nvSpPr>
              <p:cNvPr id="885" name="Rectangle: Top Corners Rounded 17">
                <a:extLst>
                  <a:ext uri="{FF2B5EF4-FFF2-40B4-BE49-F238E27FC236}">
                    <a16:creationId xmlns:a16="http://schemas.microsoft.com/office/drawing/2014/main" id="{728B86DB-B11B-4F3C-1C66-C7685A084E65}"/>
                  </a:ext>
                </a:extLst>
              </p:cNvPr>
              <p:cNvSpPr/>
              <p:nvPr/>
            </p:nvSpPr>
            <p:spPr bwMode="auto">
              <a:xfrm>
                <a:off x="1997869" y="2500313"/>
                <a:ext cx="1385887" cy="198438"/>
              </a:xfrm>
              <a:prstGeom prst="round2SameRect">
                <a:avLst>
                  <a:gd name="adj1" fmla="val 28667"/>
                  <a:gd name="adj2" fmla="val 0"/>
                </a:avLst>
              </a:prstGeom>
              <a:gradFill>
                <a:gsLst>
                  <a:gs pos="0">
                    <a:schemeClr val="bg1"/>
                  </a:gs>
                  <a:gs pos="100000">
                    <a:schemeClr val="bg1"/>
                  </a:gs>
                </a:gsLst>
                <a:lin ang="2700000" scaled="1"/>
              </a:gradFill>
              <a:ln>
                <a:gradFill flip="none" rotWithShape="1">
                  <a:gsLst>
                    <a:gs pos="0">
                      <a:schemeClr val="accent1">
                        <a:lumMod val="5000"/>
                        <a:lumOff val="95000"/>
                      </a:scheme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a:endParaRPr lang="en-US" sz="1999">
                  <a:gradFill>
                    <a:gsLst>
                      <a:gs pos="0">
                        <a:srgbClr val="FFFFFF"/>
                      </a:gs>
                      <a:gs pos="100000">
                        <a:srgbClr val="FFFFFF"/>
                      </a:gs>
                    </a:gsLst>
                    <a:lin ang="5400000" scaled="1"/>
                  </a:gradFill>
                  <a:latin typeface="72 Brand" panose="020B0504030603020204" pitchFamily="34" charset="0"/>
                </a:endParaRPr>
              </a:p>
            </p:txBody>
          </p:sp>
        </p:grpSp>
        <p:grpSp>
          <p:nvGrpSpPr>
            <p:cNvPr id="872" name="Group 871">
              <a:extLst>
                <a:ext uri="{FF2B5EF4-FFF2-40B4-BE49-F238E27FC236}">
                  <a16:creationId xmlns:a16="http://schemas.microsoft.com/office/drawing/2014/main" id="{9523F69A-BB06-46A4-4BB7-40F2FCF9DDE5}"/>
                </a:ext>
              </a:extLst>
            </p:cNvPr>
            <p:cNvGrpSpPr/>
            <p:nvPr/>
          </p:nvGrpSpPr>
          <p:grpSpPr>
            <a:xfrm>
              <a:off x="2540045" y="2907415"/>
              <a:ext cx="638924" cy="142875"/>
              <a:chOff x="11326729" y="2593864"/>
              <a:chExt cx="431006" cy="142875"/>
            </a:xfrm>
          </p:grpSpPr>
          <p:cxnSp>
            <p:nvCxnSpPr>
              <p:cNvPr id="881" name="Straight Connector 880">
                <a:extLst>
                  <a:ext uri="{FF2B5EF4-FFF2-40B4-BE49-F238E27FC236}">
                    <a16:creationId xmlns:a16="http://schemas.microsoft.com/office/drawing/2014/main" id="{8797845F-8DBC-F31C-21EE-853F474E8C2B}"/>
                  </a:ext>
                </a:extLst>
              </p:cNvPr>
              <p:cNvCxnSpPr>
                <a:cxnSpLocks/>
              </p:cNvCxnSpPr>
              <p:nvPr/>
            </p:nvCxnSpPr>
            <p:spPr>
              <a:xfrm>
                <a:off x="11326729" y="2593864"/>
                <a:ext cx="431006" cy="0"/>
              </a:xfrm>
              <a:prstGeom prst="line">
                <a:avLst/>
              </a:prstGeom>
              <a:ln w="25400" cap="rnd">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2" name="Straight Connector 881">
                <a:extLst>
                  <a:ext uri="{FF2B5EF4-FFF2-40B4-BE49-F238E27FC236}">
                    <a16:creationId xmlns:a16="http://schemas.microsoft.com/office/drawing/2014/main" id="{3552E927-DE63-E565-1031-48323F7CC5E1}"/>
                  </a:ext>
                </a:extLst>
              </p:cNvPr>
              <p:cNvCxnSpPr>
                <a:cxnSpLocks/>
              </p:cNvCxnSpPr>
              <p:nvPr/>
            </p:nvCxnSpPr>
            <p:spPr>
              <a:xfrm>
                <a:off x="11326729" y="2681970"/>
                <a:ext cx="361950" cy="0"/>
              </a:xfrm>
              <a:prstGeom prst="line">
                <a:avLst/>
              </a:prstGeom>
              <a:ln w="9525" cap="rnd">
                <a:solidFill>
                  <a:schemeClr val="bg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3" name="Straight Connector 882">
                <a:extLst>
                  <a:ext uri="{FF2B5EF4-FFF2-40B4-BE49-F238E27FC236}">
                    <a16:creationId xmlns:a16="http://schemas.microsoft.com/office/drawing/2014/main" id="{F8FE11FD-566F-74FE-B9C6-22920A69C800}"/>
                  </a:ext>
                </a:extLst>
              </p:cNvPr>
              <p:cNvCxnSpPr>
                <a:cxnSpLocks/>
              </p:cNvCxnSpPr>
              <p:nvPr/>
            </p:nvCxnSpPr>
            <p:spPr>
              <a:xfrm>
                <a:off x="11326729" y="2736739"/>
                <a:ext cx="238125" cy="0"/>
              </a:xfrm>
              <a:prstGeom prst="line">
                <a:avLst/>
              </a:prstGeom>
              <a:ln w="9525" cap="rnd">
                <a:solidFill>
                  <a:schemeClr val="bg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73" name="Group 872">
              <a:extLst>
                <a:ext uri="{FF2B5EF4-FFF2-40B4-BE49-F238E27FC236}">
                  <a16:creationId xmlns:a16="http://schemas.microsoft.com/office/drawing/2014/main" id="{E7DF8D4E-1E3D-04CF-7B31-69A1A11E7AA7}"/>
                </a:ext>
              </a:extLst>
            </p:cNvPr>
            <p:cNvGrpSpPr/>
            <p:nvPr/>
          </p:nvGrpSpPr>
          <p:grpSpPr>
            <a:xfrm>
              <a:off x="2540045" y="3309846"/>
              <a:ext cx="638924" cy="142875"/>
              <a:chOff x="11326729" y="2593864"/>
              <a:chExt cx="431006" cy="142875"/>
            </a:xfrm>
          </p:grpSpPr>
          <p:cxnSp>
            <p:nvCxnSpPr>
              <p:cNvPr id="878" name="Straight Connector 877">
                <a:extLst>
                  <a:ext uri="{FF2B5EF4-FFF2-40B4-BE49-F238E27FC236}">
                    <a16:creationId xmlns:a16="http://schemas.microsoft.com/office/drawing/2014/main" id="{05D9D697-A76A-7BDC-C74B-625A3BEEBBAB}"/>
                  </a:ext>
                </a:extLst>
              </p:cNvPr>
              <p:cNvCxnSpPr>
                <a:cxnSpLocks/>
              </p:cNvCxnSpPr>
              <p:nvPr/>
            </p:nvCxnSpPr>
            <p:spPr>
              <a:xfrm>
                <a:off x="11326729" y="2593864"/>
                <a:ext cx="431006" cy="0"/>
              </a:xfrm>
              <a:prstGeom prst="line">
                <a:avLst/>
              </a:prstGeom>
              <a:ln w="25400" cap="rnd">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9" name="Straight Connector 878">
                <a:extLst>
                  <a:ext uri="{FF2B5EF4-FFF2-40B4-BE49-F238E27FC236}">
                    <a16:creationId xmlns:a16="http://schemas.microsoft.com/office/drawing/2014/main" id="{B1640D15-DD52-E7B7-AACA-7ECF58090E20}"/>
                  </a:ext>
                </a:extLst>
              </p:cNvPr>
              <p:cNvCxnSpPr>
                <a:cxnSpLocks/>
              </p:cNvCxnSpPr>
              <p:nvPr/>
            </p:nvCxnSpPr>
            <p:spPr>
              <a:xfrm>
                <a:off x="11326729" y="2681970"/>
                <a:ext cx="361950" cy="0"/>
              </a:xfrm>
              <a:prstGeom prst="line">
                <a:avLst/>
              </a:prstGeom>
              <a:ln w="9525" cap="rnd">
                <a:solidFill>
                  <a:schemeClr val="bg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0" name="Straight Connector 879">
                <a:extLst>
                  <a:ext uri="{FF2B5EF4-FFF2-40B4-BE49-F238E27FC236}">
                    <a16:creationId xmlns:a16="http://schemas.microsoft.com/office/drawing/2014/main" id="{79CAB16E-55D6-3DD5-4A67-7CE32524EF7F}"/>
                  </a:ext>
                </a:extLst>
              </p:cNvPr>
              <p:cNvCxnSpPr>
                <a:cxnSpLocks/>
              </p:cNvCxnSpPr>
              <p:nvPr/>
            </p:nvCxnSpPr>
            <p:spPr>
              <a:xfrm>
                <a:off x="11326729" y="2736739"/>
                <a:ext cx="238125" cy="0"/>
              </a:xfrm>
              <a:prstGeom prst="line">
                <a:avLst/>
              </a:prstGeom>
              <a:ln w="9525" cap="rnd">
                <a:solidFill>
                  <a:schemeClr val="bg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74" name="Group 873">
              <a:extLst>
                <a:ext uri="{FF2B5EF4-FFF2-40B4-BE49-F238E27FC236}">
                  <a16:creationId xmlns:a16="http://schemas.microsoft.com/office/drawing/2014/main" id="{34A068BD-DF58-FC66-BB50-4D45813D6D53}"/>
                </a:ext>
              </a:extLst>
            </p:cNvPr>
            <p:cNvGrpSpPr/>
            <p:nvPr/>
          </p:nvGrpSpPr>
          <p:grpSpPr>
            <a:xfrm>
              <a:off x="2540045" y="3731327"/>
              <a:ext cx="638924" cy="142875"/>
              <a:chOff x="11326729" y="2593864"/>
              <a:chExt cx="431006" cy="142875"/>
            </a:xfrm>
          </p:grpSpPr>
          <p:cxnSp>
            <p:nvCxnSpPr>
              <p:cNvPr id="875" name="Straight Connector 874">
                <a:extLst>
                  <a:ext uri="{FF2B5EF4-FFF2-40B4-BE49-F238E27FC236}">
                    <a16:creationId xmlns:a16="http://schemas.microsoft.com/office/drawing/2014/main" id="{F0D162FF-02DB-098C-9224-146CA2310EDC}"/>
                  </a:ext>
                </a:extLst>
              </p:cNvPr>
              <p:cNvCxnSpPr>
                <a:cxnSpLocks/>
              </p:cNvCxnSpPr>
              <p:nvPr/>
            </p:nvCxnSpPr>
            <p:spPr>
              <a:xfrm>
                <a:off x="11326729" y="2593864"/>
                <a:ext cx="431006" cy="0"/>
              </a:xfrm>
              <a:prstGeom prst="line">
                <a:avLst/>
              </a:prstGeom>
              <a:ln w="25400" cap="rnd">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6" name="Straight Connector 875">
                <a:extLst>
                  <a:ext uri="{FF2B5EF4-FFF2-40B4-BE49-F238E27FC236}">
                    <a16:creationId xmlns:a16="http://schemas.microsoft.com/office/drawing/2014/main" id="{2A93AC77-F68E-E8A8-4802-5BB846312976}"/>
                  </a:ext>
                </a:extLst>
              </p:cNvPr>
              <p:cNvCxnSpPr>
                <a:cxnSpLocks/>
              </p:cNvCxnSpPr>
              <p:nvPr/>
            </p:nvCxnSpPr>
            <p:spPr>
              <a:xfrm>
                <a:off x="11326729" y="2681970"/>
                <a:ext cx="361950" cy="0"/>
              </a:xfrm>
              <a:prstGeom prst="line">
                <a:avLst/>
              </a:prstGeom>
              <a:ln w="9525" cap="rnd">
                <a:solidFill>
                  <a:schemeClr val="bg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7" name="Straight Connector 876">
                <a:extLst>
                  <a:ext uri="{FF2B5EF4-FFF2-40B4-BE49-F238E27FC236}">
                    <a16:creationId xmlns:a16="http://schemas.microsoft.com/office/drawing/2014/main" id="{B757B129-D0A6-57D0-EAD0-B64AA8995D04}"/>
                  </a:ext>
                </a:extLst>
              </p:cNvPr>
              <p:cNvCxnSpPr>
                <a:cxnSpLocks/>
              </p:cNvCxnSpPr>
              <p:nvPr/>
            </p:nvCxnSpPr>
            <p:spPr>
              <a:xfrm>
                <a:off x="11326729" y="2736739"/>
                <a:ext cx="238125" cy="0"/>
              </a:xfrm>
              <a:prstGeom prst="line">
                <a:avLst/>
              </a:prstGeom>
              <a:ln w="9525" cap="rnd">
                <a:solidFill>
                  <a:schemeClr val="bg2">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892" name="Group 891">
            <a:extLst>
              <a:ext uri="{FF2B5EF4-FFF2-40B4-BE49-F238E27FC236}">
                <a16:creationId xmlns:a16="http://schemas.microsoft.com/office/drawing/2014/main" id="{0BE5AAAE-9D64-873E-EEF4-46DA66B46425}"/>
              </a:ext>
            </a:extLst>
          </p:cNvPr>
          <p:cNvGrpSpPr/>
          <p:nvPr/>
        </p:nvGrpSpPr>
        <p:grpSpPr>
          <a:xfrm>
            <a:off x="5154618" y="3256450"/>
            <a:ext cx="915154" cy="585342"/>
            <a:chOff x="5191441" y="2119293"/>
            <a:chExt cx="1528009" cy="977331"/>
          </a:xfrm>
        </p:grpSpPr>
        <p:sp>
          <p:nvSpPr>
            <p:cNvPr id="893" name="Rectangle: Rounded Corners 583">
              <a:extLst>
                <a:ext uri="{FF2B5EF4-FFF2-40B4-BE49-F238E27FC236}">
                  <a16:creationId xmlns:a16="http://schemas.microsoft.com/office/drawing/2014/main" id="{C90C5082-1859-6827-E2B2-608E229097F2}"/>
                </a:ext>
              </a:extLst>
            </p:cNvPr>
            <p:cNvSpPr/>
            <p:nvPr/>
          </p:nvSpPr>
          <p:spPr bwMode="auto">
            <a:xfrm>
              <a:off x="5191441" y="2200627"/>
              <a:ext cx="1528009" cy="895997"/>
            </a:xfrm>
            <a:prstGeom prst="roundRect">
              <a:avLst>
                <a:gd name="adj" fmla="val 838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eaLnBrk="0" fontAlgn="base" hangingPunct="0">
                <a:spcBef>
                  <a:spcPct val="0"/>
                </a:spcBef>
                <a:spcAft>
                  <a:spcPct val="0"/>
                </a:spcAft>
              </a:pPr>
              <a:endParaRPr lang="en-US" sz="1999">
                <a:gradFill>
                  <a:gsLst>
                    <a:gs pos="0">
                      <a:srgbClr val="FFFFFF"/>
                    </a:gs>
                    <a:gs pos="100000">
                      <a:srgbClr val="FFFFFF"/>
                    </a:gs>
                  </a:gsLst>
                  <a:lin ang="5400000" scaled="1"/>
                </a:gradFill>
                <a:latin typeface="72 Brand" panose="020B0504030603020204" pitchFamily="34" charset="0"/>
              </a:endParaRPr>
            </a:p>
          </p:txBody>
        </p:sp>
        <p:cxnSp>
          <p:nvCxnSpPr>
            <p:cNvPr id="894" name="Straight Connector 893">
              <a:extLst>
                <a:ext uri="{FF2B5EF4-FFF2-40B4-BE49-F238E27FC236}">
                  <a16:creationId xmlns:a16="http://schemas.microsoft.com/office/drawing/2014/main" id="{75F44024-8B6C-0102-DCBB-94FE48525E38}"/>
                </a:ext>
              </a:extLst>
            </p:cNvPr>
            <p:cNvCxnSpPr>
              <a:cxnSpLocks/>
            </p:cNvCxnSpPr>
            <p:nvPr/>
          </p:nvCxnSpPr>
          <p:spPr>
            <a:xfrm>
              <a:off x="5358093" y="2849415"/>
              <a:ext cx="576870" cy="0"/>
            </a:xfrm>
            <a:prstGeom prst="line">
              <a:avLst/>
            </a:prstGeom>
            <a:ln w="25400" cap="rnd">
              <a:solidFill>
                <a:srgbClr val="1B90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5" name="Straight Connector 894">
              <a:extLst>
                <a:ext uri="{FF2B5EF4-FFF2-40B4-BE49-F238E27FC236}">
                  <a16:creationId xmlns:a16="http://schemas.microsoft.com/office/drawing/2014/main" id="{E8C13B61-A6B8-B9CA-6894-1257F7AF4901}"/>
                </a:ext>
              </a:extLst>
            </p:cNvPr>
            <p:cNvCxnSpPr>
              <a:cxnSpLocks/>
            </p:cNvCxnSpPr>
            <p:nvPr/>
          </p:nvCxnSpPr>
          <p:spPr>
            <a:xfrm>
              <a:off x="5358093" y="2964308"/>
              <a:ext cx="467609" cy="0"/>
            </a:xfrm>
            <a:prstGeom prst="line">
              <a:avLst/>
            </a:prstGeom>
            <a:ln w="9525" cap="rnd">
              <a:solidFill>
                <a:srgbClr val="1B90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96" name="Rectangle: Rounded Corners 586">
              <a:extLst>
                <a:ext uri="{FF2B5EF4-FFF2-40B4-BE49-F238E27FC236}">
                  <a16:creationId xmlns:a16="http://schemas.microsoft.com/office/drawing/2014/main" id="{90D1821E-E0B7-2708-79D1-0E1A048038AF}"/>
                </a:ext>
              </a:extLst>
            </p:cNvPr>
            <p:cNvSpPr/>
            <p:nvPr/>
          </p:nvSpPr>
          <p:spPr bwMode="auto">
            <a:xfrm>
              <a:off x="5975235" y="2375757"/>
              <a:ext cx="564801" cy="103266"/>
            </a:xfrm>
            <a:prstGeom prst="roundRect">
              <a:avLst>
                <a:gd name="adj" fmla="val 47982"/>
              </a:avLst>
            </a:prstGeom>
            <a:solidFill>
              <a:srgbClr val="1B9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897" name="Rectangle: Rounded Corners 587">
              <a:extLst>
                <a:ext uri="{FF2B5EF4-FFF2-40B4-BE49-F238E27FC236}">
                  <a16:creationId xmlns:a16="http://schemas.microsoft.com/office/drawing/2014/main" id="{3702A60C-3005-E354-5CB8-64A4FD731267}"/>
                </a:ext>
              </a:extLst>
            </p:cNvPr>
            <p:cNvSpPr/>
            <p:nvPr/>
          </p:nvSpPr>
          <p:spPr bwMode="auto">
            <a:xfrm>
              <a:off x="5375073" y="2119293"/>
              <a:ext cx="433648" cy="433648"/>
            </a:xfrm>
            <a:prstGeom prst="roundRect">
              <a:avLst/>
            </a:prstGeom>
            <a:solidFill>
              <a:srgbClr val="1B90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grpSp>
      <p:pic>
        <p:nvPicPr>
          <p:cNvPr id="898" name="Picture 897">
            <a:extLst>
              <a:ext uri="{FF2B5EF4-FFF2-40B4-BE49-F238E27FC236}">
                <a16:creationId xmlns:a16="http://schemas.microsoft.com/office/drawing/2014/main" id="{200A61DE-C7E4-6D5C-394D-65842EDB1999}"/>
              </a:ext>
            </a:extLst>
          </p:cNvPr>
          <p:cNvPicPr>
            <a:picLocks noChangeAspect="1"/>
          </p:cNvPicPr>
          <p:nvPr/>
        </p:nvPicPr>
        <p:blipFill>
          <a:blip r:embed="rId13"/>
          <a:stretch>
            <a:fillRect/>
          </a:stretch>
        </p:blipFill>
        <p:spPr>
          <a:xfrm>
            <a:off x="2450977" y="4743605"/>
            <a:ext cx="423192" cy="423192"/>
          </a:xfrm>
          <a:prstGeom prst="rect">
            <a:avLst/>
          </a:prstGeom>
        </p:spPr>
      </p:pic>
      <p:pic>
        <p:nvPicPr>
          <p:cNvPr id="899" name="Picture 898">
            <a:extLst>
              <a:ext uri="{FF2B5EF4-FFF2-40B4-BE49-F238E27FC236}">
                <a16:creationId xmlns:a16="http://schemas.microsoft.com/office/drawing/2014/main" id="{04AF13FF-4AE4-1F20-048C-9BE92CF82624}"/>
              </a:ext>
            </a:extLst>
          </p:cNvPr>
          <p:cNvPicPr>
            <a:picLocks noChangeAspect="1"/>
          </p:cNvPicPr>
          <p:nvPr/>
        </p:nvPicPr>
        <p:blipFill>
          <a:blip r:embed="rId13"/>
          <a:stretch>
            <a:fillRect/>
          </a:stretch>
        </p:blipFill>
        <p:spPr>
          <a:xfrm>
            <a:off x="7198770" y="1923515"/>
            <a:ext cx="423192" cy="423192"/>
          </a:xfrm>
          <a:prstGeom prst="rect">
            <a:avLst/>
          </a:prstGeom>
        </p:spPr>
      </p:pic>
      <p:pic>
        <p:nvPicPr>
          <p:cNvPr id="900" name="Picture 899">
            <a:extLst>
              <a:ext uri="{FF2B5EF4-FFF2-40B4-BE49-F238E27FC236}">
                <a16:creationId xmlns:a16="http://schemas.microsoft.com/office/drawing/2014/main" id="{78B69E8C-F3F7-560D-0DE8-E3B366761327}"/>
              </a:ext>
            </a:extLst>
          </p:cNvPr>
          <p:cNvPicPr>
            <a:picLocks noChangeAspect="1"/>
          </p:cNvPicPr>
          <p:nvPr/>
        </p:nvPicPr>
        <p:blipFill>
          <a:blip r:embed="rId14"/>
          <a:stretch>
            <a:fillRect/>
          </a:stretch>
        </p:blipFill>
        <p:spPr>
          <a:xfrm>
            <a:off x="1653087" y="4717256"/>
            <a:ext cx="490228" cy="475890"/>
          </a:xfrm>
          <a:prstGeom prst="rect">
            <a:avLst/>
          </a:prstGeom>
        </p:spPr>
      </p:pic>
      <p:pic>
        <p:nvPicPr>
          <p:cNvPr id="901" name="Picture 900">
            <a:extLst>
              <a:ext uri="{FF2B5EF4-FFF2-40B4-BE49-F238E27FC236}">
                <a16:creationId xmlns:a16="http://schemas.microsoft.com/office/drawing/2014/main" id="{FCA886DB-13DC-626D-F714-A2FD996DF73E}"/>
              </a:ext>
            </a:extLst>
          </p:cNvPr>
          <p:cNvPicPr>
            <a:picLocks noChangeAspect="1"/>
          </p:cNvPicPr>
          <p:nvPr/>
        </p:nvPicPr>
        <p:blipFill>
          <a:blip r:embed="rId14"/>
          <a:stretch>
            <a:fillRect/>
          </a:stretch>
        </p:blipFill>
        <p:spPr>
          <a:xfrm>
            <a:off x="6400879" y="1897166"/>
            <a:ext cx="490228" cy="475890"/>
          </a:xfrm>
          <a:prstGeom prst="rect">
            <a:avLst/>
          </a:prstGeom>
        </p:spPr>
      </p:pic>
    </p:spTree>
    <p:extLst>
      <p:ext uri="{BB962C8B-B14F-4D97-AF65-F5344CB8AC3E}">
        <p14:creationId xmlns:p14="http://schemas.microsoft.com/office/powerpoint/2010/main" val="10781908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3F23ED-52EA-014E-FFBE-74C6800099C8}"/>
            </a:ext>
          </a:extLst>
        </p:cNvPr>
        <p:cNvGrpSpPr/>
        <p:nvPr/>
      </p:nvGrpSpPr>
      <p:grpSpPr>
        <a:xfrm>
          <a:off x="0" y="0"/>
          <a:ext cx="0" cy="0"/>
          <a:chOff x="0" y="0"/>
          <a:chExt cx="0" cy="0"/>
        </a:xfrm>
      </p:grpSpPr>
      <p:sp>
        <p:nvSpPr>
          <p:cNvPr id="2070" name="Rectangle: Rounded Corners 2069">
            <a:extLst>
              <a:ext uri="{FF2B5EF4-FFF2-40B4-BE49-F238E27FC236}">
                <a16:creationId xmlns:a16="http://schemas.microsoft.com/office/drawing/2014/main" id="{435A4AB0-C32A-8F25-4912-B90F0619D2F7}"/>
              </a:ext>
            </a:extLst>
          </p:cNvPr>
          <p:cNvSpPr/>
          <p:nvPr/>
        </p:nvSpPr>
        <p:spPr bwMode="gray">
          <a:xfrm rot="5400000">
            <a:off x="3179755" y="-126203"/>
            <a:ext cx="4778477" cy="8180408"/>
          </a:xfrm>
          <a:prstGeom prst="roundRect">
            <a:avLst>
              <a:gd name="adj" fmla="val 2038"/>
            </a:avLst>
          </a:prstGeom>
          <a:gradFill>
            <a:gsLst>
              <a:gs pos="0">
                <a:srgbClr val="D1EFFF">
                  <a:alpha val="50000"/>
                </a:srgbClr>
              </a:gs>
              <a:gs pos="100000">
                <a:srgbClr val="89D1FF">
                  <a:alpha val="50000"/>
                </a:srgbClr>
              </a:gs>
            </a:gsLst>
            <a:lin ang="5400000" scaled="1"/>
          </a:gradFill>
          <a:ln w="25400" algn="ctr">
            <a:noFill/>
            <a:miter lim="800000"/>
            <a:headEnd/>
            <a:tailEnd/>
          </a:ln>
          <a:effectLst/>
        </p:spPr>
        <p:txBody>
          <a:bodyPr lIns="182784" tIns="146228" rIns="182784" bIns="146228" rtlCol="0" anchor="t"/>
          <a:lstStyle/>
          <a:p>
            <a:pPr defTabSz="913852" fontAlgn="base">
              <a:spcBef>
                <a:spcPct val="50000"/>
              </a:spcBef>
              <a:spcAft>
                <a:spcPct val="0"/>
              </a:spcAft>
              <a:buClr>
                <a:srgbClr val="F0AB00"/>
              </a:buClr>
              <a:buSzPct val="80000"/>
            </a:pPr>
            <a:endParaRPr lang="en-US" sz="1200" kern="0">
              <a:solidFill>
                <a:srgbClr val="000000"/>
              </a:solidFill>
              <a:latin typeface="72 Brand"/>
              <a:ea typeface="72 Brand" pitchFamily="34" charset="-128"/>
              <a:cs typeface="72 Brand" pitchFamily="34" charset="-128"/>
            </a:endParaRPr>
          </a:p>
        </p:txBody>
      </p:sp>
      <p:graphicFrame>
        <p:nvGraphicFramePr>
          <p:cNvPr id="7" name="think-cell data - do not delete" hidden="1">
            <a:extLst>
              <a:ext uri="{FF2B5EF4-FFF2-40B4-BE49-F238E27FC236}">
                <a16:creationId xmlns:a16="http://schemas.microsoft.com/office/drawing/2014/main" id="{1C82C135-C765-B2DB-7634-97BBFA3C3C36}"/>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3617" y="45643"/>
          <a:ext cx="341" cy="44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1C82C135-C765-B2DB-7634-97BBFA3C3C36}"/>
                          </a:ext>
                          <a:ext uri="{C183D7F6-B498-43B3-948B-1728B52AA6E4}">
                            <adec:decorative xmlns:adec="http://schemas.microsoft.com/office/drawing/2017/decorative" val="1"/>
                          </a:ext>
                        </a:extLst>
                      </p:cNvPr>
                      <p:cNvPicPr/>
                      <p:nvPr/>
                    </p:nvPicPr>
                    <p:blipFill>
                      <a:blip r:embed="rId5"/>
                      <a:stretch>
                        <a:fillRect/>
                      </a:stretch>
                    </p:blipFill>
                    <p:spPr>
                      <a:xfrm>
                        <a:off x="3617" y="45643"/>
                        <a:ext cx="341" cy="441"/>
                      </a:xfrm>
                      <a:prstGeom prst="rect">
                        <a:avLst/>
                      </a:prstGeom>
                    </p:spPr>
                  </p:pic>
                </p:oleObj>
              </mc:Fallback>
            </mc:AlternateContent>
          </a:graphicData>
        </a:graphic>
      </p:graphicFrame>
      <p:sp>
        <p:nvSpPr>
          <p:cNvPr id="1845" name="TextBox 1844">
            <a:extLst>
              <a:ext uri="{FF2B5EF4-FFF2-40B4-BE49-F238E27FC236}">
                <a16:creationId xmlns:a16="http://schemas.microsoft.com/office/drawing/2014/main" id="{CD4559D2-15C1-8CF8-B67A-6D42668CA273}"/>
              </a:ext>
            </a:extLst>
          </p:cNvPr>
          <p:cNvSpPr txBox="1"/>
          <p:nvPr/>
        </p:nvSpPr>
        <p:spPr>
          <a:xfrm>
            <a:off x="561710" y="955288"/>
            <a:ext cx="7528012" cy="215332"/>
          </a:xfrm>
          <a:prstGeom prst="rect">
            <a:avLst/>
          </a:prstGeom>
          <a:noFill/>
        </p:spPr>
        <p:txBody>
          <a:bodyPr wrap="none" lIns="0" tIns="0" rIns="0" bIns="0" anchor="t">
            <a:spAutoFit/>
          </a:bodyPr>
          <a:lstStyle/>
          <a:p>
            <a:pPr defTabSz="1073129">
              <a:defRPr/>
            </a:pPr>
            <a:r>
              <a:rPr lang="en-US" sz="1400">
                <a:gradFill>
                  <a:gsLst>
                    <a:gs pos="100000">
                      <a:srgbClr val="000000"/>
                    </a:gs>
                    <a:gs pos="0">
                      <a:srgbClr val="000000"/>
                    </a:gs>
                  </a:gsLst>
                  <a:lin ang="2700000" scaled="1"/>
                </a:gradFill>
                <a:latin typeface="72 Brand"/>
              </a:rPr>
              <a:t>SAP brings all components together to lead the way into the next era of enterprise management</a:t>
            </a:r>
          </a:p>
        </p:txBody>
      </p:sp>
      <p:sp>
        <p:nvSpPr>
          <p:cNvPr id="4" name="Title 3">
            <a:extLst>
              <a:ext uri="{FF2B5EF4-FFF2-40B4-BE49-F238E27FC236}">
                <a16:creationId xmlns:a16="http://schemas.microsoft.com/office/drawing/2014/main" id="{989FC1E6-5BFD-0C40-5B93-DC197B5ED84F}"/>
              </a:ext>
            </a:extLst>
          </p:cNvPr>
          <p:cNvSpPr>
            <a:spLocks noGrp="1"/>
          </p:cNvSpPr>
          <p:nvPr>
            <p:ph type="title" idx="4294967295"/>
          </p:nvPr>
        </p:nvSpPr>
        <p:spPr>
          <a:xfrm>
            <a:off x="509309" y="517264"/>
            <a:ext cx="9704388" cy="369888"/>
          </a:xfrm>
        </p:spPr>
        <p:txBody>
          <a:bodyPr wrap="none"/>
          <a:lstStyle/>
          <a:p>
            <a:r>
              <a:rPr lang="en-GB" b="1" dirty="0">
                <a:gradFill>
                  <a:gsLst>
                    <a:gs pos="0">
                      <a:srgbClr val="000000"/>
                    </a:gs>
                    <a:gs pos="100000">
                      <a:srgbClr val="000000"/>
                    </a:gs>
                  </a:gsLst>
                  <a:lin ang="18900000" scaled="1"/>
                </a:gradFill>
                <a:latin typeface="+mj-lt"/>
              </a:rPr>
              <a:t>Realizing our vision by bringing together applications, data, and AI</a:t>
            </a:r>
          </a:p>
        </p:txBody>
      </p:sp>
      <p:sp>
        <p:nvSpPr>
          <p:cNvPr id="2" name="Rectangle 1">
            <a:extLst>
              <a:ext uri="{FF2B5EF4-FFF2-40B4-BE49-F238E27FC236}">
                <a16:creationId xmlns:a16="http://schemas.microsoft.com/office/drawing/2014/main" id="{611D58A2-BA01-53AB-B3C9-EB5A645C4199}"/>
              </a:ext>
            </a:extLst>
          </p:cNvPr>
          <p:cNvSpPr/>
          <p:nvPr/>
        </p:nvSpPr>
        <p:spPr bwMode="auto">
          <a:xfrm>
            <a:off x="10158063" y="5013030"/>
            <a:ext cx="1754534" cy="9382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1087470">
              <a:spcAft>
                <a:spcPts val="600"/>
              </a:spcAft>
              <a:defRPr/>
            </a:pPr>
            <a:r>
              <a:rPr lang="en-US" sz="1600">
                <a:gradFill>
                  <a:gsLst>
                    <a:gs pos="0">
                      <a:srgbClr val="000000"/>
                    </a:gs>
                    <a:gs pos="100000">
                      <a:srgbClr val="00144A"/>
                    </a:gs>
                  </a:gsLst>
                  <a:lin ang="5400000" scaled="1"/>
                </a:gradFill>
                <a:latin typeface="72 Brand Medium"/>
                <a:ea typeface="+mn-lt"/>
                <a:cs typeface="+mn-lt"/>
              </a:rPr>
              <a:t>Unparalleled Applications</a:t>
            </a:r>
          </a:p>
          <a:p>
            <a:pPr defTabSz="1087796">
              <a:defRPr/>
            </a:pPr>
            <a:r>
              <a:rPr lang="en-US" sz="1200">
                <a:gradFill>
                  <a:gsLst>
                    <a:gs pos="0">
                      <a:srgbClr val="00144A"/>
                    </a:gs>
                    <a:gs pos="100000">
                      <a:srgbClr val="00144A"/>
                    </a:gs>
                  </a:gsLst>
                  <a:lin ang="2700000" scaled="1"/>
                </a:gradFill>
                <a:latin typeface="72 Brand"/>
                <a:cs typeface="72"/>
              </a:rPr>
              <a:t>Integrated Suite across SAP &amp; non-SAP apps</a:t>
            </a:r>
          </a:p>
        </p:txBody>
      </p:sp>
      <p:sp>
        <p:nvSpPr>
          <p:cNvPr id="3" name="Rectangle 2">
            <a:extLst>
              <a:ext uri="{FF2B5EF4-FFF2-40B4-BE49-F238E27FC236}">
                <a16:creationId xmlns:a16="http://schemas.microsoft.com/office/drawing/2014/main" id="{4D07DF4B-40A7-BE9C-54A3-FAED97823074}"/>
              </a:ext>
            </a:extLst>
          </p:cNvPr>
          <p:cNvSpPr/>
          <p:nvPr/>
        </p:nvSpPr>
        <p:spPr bwMode="auto">
          <a:xfrm>
            <a:off x="10158063" y="3603233"/>
            <a:ext cx="1754534" cy="9382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87470">
              <a:spcAft>
                <a:spcPts val="600"/>
              </a:spcAft>
              <a:defRPr/>
            </a:pPr>
            <a:r>
              <a:rPr lang="en-US" sz="1600">
                <a:gradFill>
                  <a:gsLst>
                    <a:gs pos="0">
                      <a:srgbClr val="000000"/>
                    </a:gs>
                    <a:gs pos="100000">
                      <a:srgbClr val="00144A"/>
                    </a:gs>
                  </a:gsLst>
                  <a:lin ang="5400000" scaled="1"/>
                </a:gradFill>
                <a:latin typeface="72 Brand Medium"/>
                <a:ea typeface="+mn-lt"/>
                <a:cs typeface="+mn-lt"/>
              </a:rPr>
              <a:t>Unmatched </a:t>
            </a:r>
            <a:br>
              <a:rPr lang="en-US" sz="1600">
                <a:gradFill>
                  <a:gsLst>
                    <a:gs pos="0">
                      <a:srgbClr val="000000"/>
                    </a:gs>
                    <a:gs pos="100000">
                      <a:srgbClr val="00144A"/>
                    </a:gs>
                  </a:gsLst>
                  <a:lin ang="5400000" scaled="1"/>
                </a:gradFill>
                <a:latin typeface="72 Brand Medium"/>
                <a:ea typeface="+mn-lt"/>
                <a:cs typeface="+mn-lt"/>
              </a:rPr>
            </a:br>
            <a:r>
              <a:rPr lang="en-US" sz="1600">
                <a:gradFill>
                  <a:gsLst>
                    <a:gs pos="0">
                      <a:srgbClr val="000000"/>
                    </a:gs>
                    <a:gs pos="100000">
                      <a:srgbClr val="00144A"/>
                    </a:gs>
                  </a:gsLst>
                  <a:lin ang="5400000" scaled="1"/>
                </a:gradFill>
                <a:latin typeface="72 Brand Medium"/>
                <a:ea typeface="+mn-lt"/>
                <a:cs typeface="+mn-lt"/>
              </a:rPr>
              <a:t>Data</a:t>
            </a:r>
          </a:p>
          <a:p>
            <a:pPr defTabSz="1087470">
              <a:defRPr/>
            </a:pPr>
            <a:r>
              <a:rPr lang="en-US" sz="1200">
                <a:gradFill>
                  <a:gsLst>
                    <a:gs pos="0">
                      <a:srgbClr val="000000"/>
                    </a:gs>
                    <a:gs pos="100000">
                      <a:srgbClr val="00144A"/>
                    </a:gs>
                  </a:gsLst>
                  <a:lin ang="5400000" scaled="1"/>
                </a:gradFill>
                <a:latin typeface="72 Brand"/>
                <a:ea typeface="+mn-lt"/>
                <a:cs typeface="+mn-lt"/>
              </a:rPr>
              <a:t>100% accurate and secure business data</a:t>
            </a:r>
          </a:p>
        </p:txBody>
      </p:sp>
      <p:sp>
        <p:nvSpPr>
          <p:cNvPr id="11" name="Rectangle 10">
            <a:extLst>
              <a:ext uri="{FF2B5EF4-FFF2-40B4-BE49-F238E27FC236}">
                <a16:creationId xmlns:a16="http://schemas.microsoft.com/office/drawing/2014/main" id="{97ED16FB-FA43-17BD-EE42-F0FBE5AA9C5E}"/>
              </a:ext>
            </a:extLst>
          </p:cNvPr>
          <p:cNvSpPr/>
          <p:nvPr/>
        </p:nvSpPr>
        <p:spPr bwMode="auto">
          <a:xfrm>
            <a:off x="10158063" y="1962369"/>
            <a:ext cx="1754534" cy="9382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87470">
              <a:spcAft>
                <a:spcPts val="600"/>
              </a:spcAft>
              <a:defRPr/>
            </a:pPr>
            <a:r>
              <a:rPr lang="en-US" sz="1600" dirty="0">
                <a:gradFill>
                  <a:gsLst>
                    <a:gs pos="0">
                      <a:srgbClr val="000000"/>
                    </a:gs>
                    <a:gs pos="100000">
                      <a:srgbClr val="00144A"/>
                    </a:gs>
                  </a:gsLst>
                  <a:lin ang="5400000" scaled="1"/>
                </a:gradFill>
                <a:latin typeface="72 Brand Medium"/>
                <a:ea typeface="+mn-lt"/>
                <a:cs typeface="+mn-lt"/>
              </a:rPr>
              <a:t>Unrivaled </a:t>
            </a:r>
            <a:br>
              <a:rPr lang="en-US" sz="1600" dirty="0">
                <a:gradFill>
                  <a:gsLst>
                    <a:gs pos="0">
                      <a:srgbClr val="000000"/>
                    </a:gs>
                    <a:gs pos="100000">
                      <a:srgbClr val="00144A"/>
                    </a:gs>
                  </a:gsLst>
                  <a:lin ang="5400000" scaled="1"/>
                </a:gradFill>
                <a:latin typeface="72 Brand Medium"/>
                <a:ea typeface="+mn-lt"/>
                <a:cs typeface="+mn-lt"/>
              </a:rPr>
            </a:br>
            <a:r>
              <a:rPr lang="en-US" sz="1600" dirty="0">
                <a:gradFill>
                  <a:gsLst>
                    <a:gs pos="0">
                      <a:srgbClr val="000000"/>
                    </a:gs>
                    <a:gs pos="100000">
                      <a:srgbClr val="00144A"/>
                    </a:gs>
                  </a:gsLst>
                  <a:lin ang="5400000" scaled="1"/>
                </a:gradFill>
                <a:latin typeface="72 Brand Medium"/>
                <a:ea typeface="+mn-lt"/>
                <a:cs typeface="+mn-lt"/>
              </a:rPr>
              <a:t>AI</a:t>
            </a:r>
          </a:p>
          <a:p>
            <a:pPr defTabSz="1087470">
              <a:spcAft>
                <a:spcPts val="600"/>
              </a:spcAft>
              <a:defRPr/>
            </a:pPr>
            <a:r>
              <a:rPr lang="en-US" sz="1200" dirty="0">
                <a:gradFill>
                  <a:gsLst>
                    <a:gs pos="0">
                      <a:srgbClr val="000000"/>
                    </a:gs>
                    <a:gs pos="100000">
                      <a:srgbClr val="00144A"/>
                    </a:gs>
                  </a:gsLst>
                  <a:lin ang="5400000" scaled="1"/>
                </a:gradFill>
                <a:latin typeface="72 Brand"/>
                <a:ea typeface="+mn-lt"/>
                <a:cs typeface="+mn-lt"/>
              </a:rPr>
              <a:t>AI embedded in </a:t>
            </a:r>
            <a:br>
              <a:rPr lang="en-US" sz="1200" dirty="0">
                <a:gradFill>
                  <a:gsLst>
                    <a:gs pos="0">
                      <a:srgbClr val="000000"/>
                    </a:gs>
                    <a:gs pos="100000">
                      <a:srgbClr val="00144A"/>
                    </a:gs>
                  </a:gsLst>
                  <a:lin ang="5400000" scaled="1"/>
                </a:gradFill>
                <a:latin typeface="72 Brand"/>
                <a:ea typeface="+mn-lt"/>
                <a:cs typeface="+mn-lt"/>
              </a:rPr>
            </a:br>
            <a:r>
              <a:rPr lang="en-US" sz="1200" dirty="0">
                <a:gradFill>
                  <a:gsLst>
                    <a:gs pos="0">
                      <a:srgbClr val="000000"/>
                    </a:gs>
                    <a:gs pos="100000">
                      <a:srgbClr val="00144A"/>
                    </a:gs>
                  </a:gsLst>
                  <a:lin ang="5400000" scaled="1"/>
                </a:gradFill>
                <a:latin typeface="72 Brand"/>
                <a:ea typeface="+mn-lt"/>
                <a:cs typeface="+mn-lt"/>
              </a:rPr>
              <a:t>business processes</a:t>
            </a:r>
          </a:p>
        </p:txBody>
      </p:sp>
      <p:grpSp>
        <p:nvGrpSpPr>
          <p:cNvPr id="18" name="Group 17">
            <a:extLst>
              <a:ext uri="{FF2B5EF4-FFF2-40B4-BE49-F238E27FC236}">
                <a16:creationId xmlns:a16="http://schemas.microsoft.com/office/drawing/2014/main" id="{1A83C6F4-577A-B34F-79E4-B4841862E193}"/>
              </a:ext>
            </a:extLst>
          </p:cNvPr>
          <p:cNvGrpSpPr/>
          <p:nvPr/>
        </p:nvGrpSpPr>
        <p:grpSpPr>
          <a:xfrm>
            <a:off x="2811049" y="2607365"/>
            <a:ext cx="5166984" cy="1994601"/>
            <a:chOff x="2703577" y="2691893"/>
            <a:chExt cx="3866451" cy="1492559"/>
          </a:xfrm>
        </p:grpSpPr>
        <p:sp>
          <p:nvSpPr>
            <p:cNvPr id="1215" name="Freeform: Shape 1214">
              <a:extLst>
                <a:ext uri="{FF2B5EF4-FFF2-40B4-BE49-F238E27FC236}">
                  <a16:creationId xmlns:a16="http://schemas.microsoft.com/office/drawing/2014/main" id="{D78E17CE-E96F-A4B4-291E-CB324FC29060}"/>
                </a:ext>
              </a:extLst>
            </p:cNvPr>
            <p:cNvSpPr/>
            <p:nvPr/>
          </p:nvSpPr>
          <p:spPr>
            <a:xfrm>
              <a:off x="2703577" y="2691893"/>
              <a:ext cx="3866451" cy="1485308"/>
            </a:xfrm>
            <a:custGeom>
              <a:avLst/>
              <a:gdLst>
                <a:gd name="connsiteX0" fmla="*/ 15039 w 3866451"/>
                <a:gd name="connsiteY0" fmla="*/ 252224 h 1485308"/>
                <a:gd name="connsiteX1" fmla="*/ 146200 w 3866451"/>
                <a:gd name="connsiteY1" fmla="*/ 424420 h 1485308"/>
                <a:gd name="connsiteX2" fmla="*/ 146200 w 3866451"/>
                <a:gd name="connsiteY2" fmla="*/ 424420 h 1485308"/>
                <a:gd name="connsiteX3" fmla="*/ 587592 w 3866451"/>
                <a:gd name="connsiteY3" fmla="*/ 1406945 h 1485308"/>
                <a:gd name="connsiteX4" fmla="*/ 778908 w 3866451"/>
                <a:gd name="connsiteY4" fmla="*/ 716873 h 1485308"/>
                <a:gd name="connsiteX5" fmla="*/ 1466241 w 3866451"/>
                <a:gd name="connsiteY5" fmla="*/ 1308547 h 1485308"/>
                <a:gd name="connsiteX6" fmla="*/ 1512700 w 3866451"/>
                <a:gd name="connsiteY6" fmla="*/ 277361 h 1485308"/>
                <a:gd name="connsiteX7" fmla="*/ 977046 w 3866451"/>
                <a:gd name="connsiteY7" fmla="*/ 521421 h 1485308"/>
                <a:gd name="connsiteX8" fmla="*/ 628573 w 3866451"/>
                <a:gd name="connsiteY8" fmla="*/ 15845 h 1485308"/>
                <a:gd name="connsiteX9" fmla="*/ 0 w 3866451"/>
                <a:gd name="connsiteY9" fmla="*/ 547417 h 1485308"/>
                <a:gd name="connsiteX10" fmla="*/ 977046 w 3866451"/>
                <a:gd name="connsiteY10" fmla="*/ 521421 h 1485308"/>
                <a:gd name="connsiteX11" fmla="*/ 148294 w 3866451"/>
                <a:gd name="connsiteY11" fmla="*/ 422003 h 1485308"/>
                <a:gd name="connsiteX12" fmla="*/ 775847 w 3866451"/>
                <a:gd name="connsiteY12" fmla="*/ 714456 h 1485308"/>
                <a:gd name="connsiteX13" fmla="*/ 778908 w 3866451"/>
                <a:gd name="connsiteY13" fmla="*/ 716873 h 1485308"/>
                <a:gd name="connsiteX14" fmla="*/ 977046 w 3866451"/>
                <a:gd name="connsiteY14" fmla="*/ 521475 h 1485308"/>
                <a:gd name="connsiteX15" fmla="*/ 587592 w 3866451"/>
                <a:gd name="connsiteY15" fmla="*/ 1406945 h 1485308"/>
                <a:gd name="connsiteX16" fmla="*/ 1512700 w 3866451"/>
                <a:gd name="connsiteY16" fmla="*/ 277361 h 1485308"/>
                <a:gd name="connsiteX17" fmla="*/ 148294 w 3866451"/>
                <a:gd name="connsiteY17" fmla="*/ 422003 h 1485308"/>
                <a:gd name="connsiteX18" fmla="*/ 0 w 3866451"/>
                <a:gd name="connsiteY18" fmla="*/ 1014536 h 1485308"/>
                <a:gd name="connsiteX19" fmla="*/ 587592 w 3866451"/>
                <a:gd name="connsiteY19" fmla="*/ 1406945 h 1485308"/>
                <a:gd name="connsiteX20" fmla="*/ 1954093 w 3866451"/>
                <a:gd name="connsiteY20" fmla="*/ 1014536 h 1485308"/>
                <a:gd name="connsiteX21" fmla="*/ 587592 w 3866451"/>
                <a:gd name="connsiteY21" fmla="*/ 1406945 h 1485308"/>
                <a:gd name="connsiteX22" fmla="*/ 1466241 w 3866451"/>
                <a:gd name="connsiteY22" fmla="*/ 1308547 h 1485308"/>
                <a:gd name="connsiteX23" fmla="*/ 1954093 w 3866451"/>
                <a:gd name="connsiteY23" fmla="*/ 1014536 h 1485308"/>
                <a:gd name="connsiteX24" fmla="*/ 2780105 w 3866451"/>
                <a:gd name="connsiteY24" fmla="*/ 101728 h 1485308"/>
                <a:gd name="connsiteX25" fmla="*/ 2734988 w 3866451"/>
                <a:gd name="connsiteY25" fmla="*/ 422057 h 1485308"/>
                <a:gd name="connsiteX26" fmla="*/ 2236932 w 3866451"/>
                <a:gd name="connsiteY26" fmla="*/ 1485308 h 1485308"/>
                <a:gd name="connsiteX27" fmla="*/ 2165228 w 3866451"/>
                <a:gd name="connsiteY27" fmla="*/ 15845 h 1485308"/>
                <a:gd name="connsiteX28" fmla="*/ 1954093 w 3866451"/>
                <a:gd name="connsiteY28" fmla="*/ 1014536 h 1485308"/>
                <a:gd name="connsiteX29" fmla="*/ 2235589 w 3866451"/>
                <a:gd name="connsiteY29" fmla="*/ 1482193 h 1485308"/>
                <a:gd name="connsiteX30" fmla="*/ 3866452 w 3866451"/>
                <a:gd name="connsiteY30" fmla="*/ 598549 h 1485308"/>
                <a:gd name="connsiteX31" fmla="*/ 3269998 w 3866451"/>
                <a:gd name="connsiteY31" fmla="*/ 473511 h 1485308"/>
                <a:gd name="connsiteX32" fmla="*/ 2735042 w 3866451"/>
                <a:gd name="connsiteY32" fmla="*/ 422057 h 1485308"/>
                <a:gd name="connsiteX33" fmla="*/ 2047065 w 3866451"/>
                <a:gd name="connsiteY33" fmla="*/ 574863 h 1485308"/>
                <a:gd name="connsiteX34" fmla="*/ 977100 w 3866451"/>
                <a:gd name="connsiteY34" fmla="*/ 521475 h 1485308"/>
                <a:gd name="connsiteX35" fmla="*/ 3802913 w 3866451"/>
                <a:gd name="connsiteY35" fmla="*/ 1432780 h 1485308"/>
                <a:gd name="connsiteX36" fmla="*/ 3712733 w 3866451"/>
                <a:gd name="connsiteY36" fmla="*/ 1254461 h 1485308"/>
                <a:gd name="connsiteX37" fmla="*/ 2047011 w 3866451"/>
                <a:gd name="connsiteY37" fmla="*/ 574863 h 1485308"/>
                <a:gd name="connsiteX38" fmla="*/ 1512700 w 3866451"/>
                <a:gd name="connsiteY38" fmla="*/ 277414 h 1485308"/>
                <a:gd name="connsiteX39" fmla="*/ 1982774 w 3866451"/>
                <a:gd name="connsiteY39" fmla="*/ 110751 h 1485308"/>
                <a:gd name="connsiteX40" fmla="*/ 2735042 w 3866451"/>
                <a:gd name="connsiteY40" fmla="*/ 422057 h 1485308"/>
                <a:gd name="connsiteX41" fmla="*/ 1954093 w 3866451"/>
                <a:gd name="connsiteY41" fmla="*/ 1014536 h 1485308"/>
                <a:gd name="connsiteX42" fmla="*/ 1512700 w 3866451"/>
                <a:gd name="connsiteY42" fmla="*/ 277361 h 1485308"/>
                <a:gd name="connsiteX43" fmla="*/ 1460118 w 3866451"/>
                <a:gd name="connsiteY43" fmla="*/ 0 h 1485308"/>
                <a:gd name="connsiteX44" fmla="*/ 1595361 w 3866451"/>
                <a:gd name="connsiteY44" fmla="*/ 1485255 h 1485308"/>
                <a:gd name="connsiteX45" fmla="*/ 1466241 w 3866451"/>
                <a:gd name="connsiteY45" fmla="*/ 1308547 h 1485308"/>
                <a:gd name="connsiteX46" fmla="*/ 2236932 w 3866451"/>
                <a:gd name="connsiteY46" fmla="*/ 1485255 h 1485308"/>
                <a:gd name="connsiteX47" fmla="*/ 977046 w 3866451"/>
                <a:gd name="connsiteY47" fmla="*/ 521421 h 1485308"/>
                <a:gd name="connsiteX48" fmla="*/ 1954093 w 3866451"/>
                <a:gd name="connsiteY48" fmla="*/ 1014483 h 1485308"/>
                <a:gd name="connsiteX49" fmla="*/ 1512700 w 3866451"/>
                <a:gd name="connsiteY49" fmla="*/ 277361 h 1485308"/>
                <a:gd name="connsiteX50" fmla="*/ 3226976 w 3866451"/>
                <a:gd name="connsiteY50" fmla="*/ 1406891 h 1485308"/>
                <a:gd name="connsiteX51" fmla="*/ 2735042 w 3866451"/>
                <a:gd name="connsiteY51" fmla="*/ 422003 h 1485308"/>
                <a:gd name="connsiteX52" fmla="*/ 3571313 w 3866451"/>
                <a:gd name="connsiteY52" fmla="*/ 0 h 1485308"/>
                <a:gd name="connsiteX53" fmla="*/ 3269998 w 3866451"/>
                <a:gd name="connsiteY53" fmla="*/ 473511 h 1485308"/>
                <a:gd name="connsiteX54" fmla="*/ 1982774 w 3866451"/>
                <a:gd name="connsiteY54" fmla="*/ 110697 h 1485308"/>
                <a:gd name="connsiteX55" fmla="*/ 2735042 w 3866451"/>
                <a:gd name="connsiteY55" fmla="*/ 422003 h 1485308"/>
                <a:gd name="connsiteX56" fmla="*/ 3712786 w 3866451"/>
                <a:gd name="connsiteY56" fmla="*/ 1254407 h 1485308"/>
                <a:gd name="connsiteX57" fmla="*/ 3270051 w 3866451"/>
                <a:gd name="connsiteY57" fmla="*/ 473457 h 1485308"/>
                <a:gd name="connsiteX58" fmla="*/ 3866452 w 3866451"/>
                <a:gd name="connsiteY58" fmla="*/ 992085 h 1485308"/>
                <a:gd name="connsiteX59" fmla="*/ 3712733 w 3866451"/>
                <a:gd name="connsiteY59" fmla="*/ 1254461 h 1485308"/>
                <a:gd name="connsiteX60" fmla="*/ 3226922 w 3866451"/>
                <a:gd name="connsiteY60" fmla="*/ 1406945 h 1485308"/>
                <a:gd name="connsiteX61" fmla="*/ 3269944 w 3866451"/>
                <a:gd name="connsiteY61" fmla="*/ 473511 h 1485308"/>
                <a:gd name="connsiteX62" fmla="*/ 2236878 w 3866451"/>
                <a:gd name="connsiteY62" fmla="*/ 1485255 h 1485308"/>
                <a:gd name="connsiteX63" fmla="*/ 3712679 w 3866451"/>
                <a:gd name="connsiteY63" fmla="*/ 1254407 h 1485308"/>
                <a:gd name="connsiteX64" fmla="*/ 1954039 w 3866451"/>
                <a:gd name="connsiteY64" fmla="*/ 1014483 h 1485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866451" h="1485308">
                  <a:moveTo>
                    <a:pt x="15039" y="252224"/>
                  </a:moveTo>
                  <a:lnTo>
                    <a:pt x="146200" y="424420"/>
                  </a:lnTo>
                  <a:moveTo>
                    <a:pt x="146200" y="424420"/>
                  </a:moveTo>
                  <a:lnTo>
                    <a:pt x="587592" y="1406945"/>
                  </a:lnTo>
                  <a:lnTo>
                    <a:pt x="778908" y="716873"/>
                  </a:lnTo>
                  <a:lnTo>
                    <a:pt x="1466241" y="1308547"/>
                  </a:lnTo>
                  <a:lnTo>
                    <a:pt x="1512700" y="277361"/>
                  </a:lnTo>
                  <a:lnTo>
                    <a:pt x="977046" y="521421"/>
                  </a:lnTo>
                  <a:lnTo>
                    <a:pt x="628573" y="15845"/>
                  </a:lnTo>
                  <a:lnTo>
                    <a:pt x="0" y="547417"/>
                  </a:lnTo>
                  <a:moveTo>
                    <a:pt x="977046" y="521421"/>
                  </a:moveTo>
                  <a:lnTo>
                    <a:pt x="148294" y="422003"/>
                  </a:lnTo>
                  <a:lnTo>
                    <a:pt x="775847" y="714456"/>
                  </a:lnTo>
                  <a:moveTo>
                    <a:pt x="778908" y="716873"/>
                  </a:moveTo>
                  <a:lnTo>
                    <a:pt x="977046" y="521475"/>
                  </a:lnTo>
                  <a:lnTo>
                    <a:pt x="587592" y="1406945"/>
                  </a:lnTo>
                  <a:lnTo>
                    <a:pt x="1512700" y="277361"/>
                  </a:lnTo>
                  <a:lnTo>
                    <a:pt x="148294" y="422003"/>
                  </a:lnTo>
                  <a:moveTo>
                    <a:pt x="0" y="1014536"/>
                  </a:moveTo>
                  <a:lnTo>
                    <a:pt x="587592" y="1406945"/>
                  </a:lnTo>
                  <a:lnTo>
                    <a:pt x="1954093" y="1014536"/>
                  </a:lnTo>
                  <a:moveTo>
                    <a:pt x="587592" y="1406945"/>
                  </a:moveTo>
                  <a:lnTo>
                    <a:pt x="1466241" y="1308547"/>
                  </a:lnTo>
                  <a:lnTo>
                    <a:pt x="1954093" y="1014536"/>
                  </a:lnTo>
                  <a:moveTo>
                    <a:pt x="2780105" y="101728"/>
                  </a:moveTo>
                  <a:lnTo>
                    <a:pt x="2734988" y="422057"/>
                  </a:lnTo>
                  <a:lnTo>
                    <a:pt x="2236932" y="1485308"/>
                  </a:lnTo>
                  <a:lnTo>
                    <a:pt x="2165228" y="15845"/>
                  </a:lnTo>
                  <a:lnTo>
                    <a:pt x="1954093" y="1014536"/>
                  </a:lnTo>
                  <a:lnTo>
                    <a:pt x="2235589" y="1482193"/>
                  </a:lnTo>
                  <a:moveTo>
                    <a:pt x="3866452" y="598549"/>
                  </a:moveTo>
                  <a:lnTo>
                    <a:pt x="3269998" y="473511"/>
                  </a:lnTo>
                  <a:lnTo>
                    <a:pt x="2735042" y="422057"/>
                  </a:lnTo>
                  <a:lnTo>
                    <a:pt x="2047065" y="574863"/>
                  </a:lnTo>
                  <a:lnTo>
                    <a:pt x="977100" y="521475"/>
                  </a:lnTo>
                  <a:moveTo>
                    <a:pt x="3802913" y="1432780"/>
                  </a:moveTo>
                  <a:lnTo>
                    <a:pt x="3712733" y="1254461"/>
                  </a:lnTo>
                  <a:lnTo>
                    <a:pt x="2047011" y="574863"/>
                  </a:lnTo>
                  <a:lnTo>
                    <a:pt x="1512700" y="277414"/>
                  </a:lnTo>
                  <a:lnTo>
                    <a:pt x="1982774" y="110751"/>
                  </a:lnTo>
                  <a:lnTo>
                    <a:pt x="2735042" y="422057"/>
                  </a:lnTo>
                  <a:lnTo>
                    <a:pt x="1954093" y="1014536"/>
                  </a:lnTo>
                  <a:moveTo>
                    <a:pt x="1512700" y="277361"/>
                  </a:moveTo>
                  <a:lnTo>
                    <a:pt x="1460118" y="0"/>
                  </a:lnTo>
                  <a:moveTo>
                    <a:pt x="1595361" y="1485255"/>
                  </a:moveTo>
                  <a:lnTo>
                    <a:pt x="1466241" y="1308547"/>
                  </a:lnTo>
                  <a:lnTo>
                    <a:pt x="2236932" y="1485255"/>
                  </a:lnTo>
                  <a:lnTo>
                    <a:pt x="977046" y="521421"/>
                  </a:lnTo>
                  <a:lnTo>
                    <a:pt x="1954093" y="1014483"/>
                  </a:lnTo>
                  <a:lnTo>
                    <a:pt x="1512700" y="277361"/>
                  </a:lnTo>
                  <a:lnTo>
                    <a:pt x="3226976" y="1406891"/>
                  </a:lnTo>
                  <a:lnTo>
                    <a:pt x="2735042" y="422003"/>
                  </a:lnTo>
                  <a:lnTo>
                    <a:pt x="3571313" y="0"/>
                  </a:lnTo>
                  <a:lnTo>
                    <a:pt x="3269998" y="473511"/>
                  </a:lnTo>
                  <a:lnTo>
                    <a:pt x="1982774" y="110697"/>
                  </a:lnTo>
                  <a:moveTo>
                    <a:pt x="2735042" y="422003"/>
                  </a:moveTo>
                  <a:lnTo>
                    <a:pt x="3712786" y="1254407"/>
                  </a:lnTo>
                  <a:lnTo>
                    <a:pt x="3270051" y="473457"/>
                  </a:lnTo>
                  <a:moveTo>
                    <a:pt x="3866452" y="992085"/>
                  </a:moveTo>
                  <a:lnTo>
                    <a:pt x="3712733" y="1254461"/>
                  </a:lnTo>
                  <a:lnTo>
                    <a:pt x="3226922" y="1406945"/>
                  </a:lnTo>
                  <a:lnTo>
                    <a:pt x="3269944" y="473511"/>
                  </a:lnTo>
                  <a:lnTo>
                    <a:pt x="2236878" y="1485255"/>
                  </a:lnTo>
                  <a:lnTo>
                    <a:pt x="3712679" y="1254407"/>
                  </a:lnTo>
                  <a:lnTo>
                    <a:pt x="1954039" y="1014483"/>
                  </a:lnTo>
                </a:path>
              </a:pathLst>
            </a:custGeom>
            <a:noFill/>
            <a:ln w="2686" cap="flat">
              <a:gradFill flip="none" rotWithShape="1">
                <a:gsLst>
                  <a:gs pos="0">
                    <a:schemeClr val="accent1">
                      <a:lumMod val="5000"/>
                      <a:lumOff val="95000"/>
                    </a:schemeClr>
                  </a:gs>
                  <a:gs pos="84000">
                    <a:srgbClr val="E2D8FF">
                      <a:lumMod val="86711"/>
                    </a:srgbClr>
                  </a:gs>
                  <a:gs pos="16000">
                    <a:srgbClr val="E2D8FF"/>
                  </a:gs>
                  <a:gs pos="100000">
                    <a:schemeClr val="bg1">
                      <a:alpha val="0"/>
                    </a:schemeClr>
                  </a:gs>
                </a:gsLst>
                <a:lin ang="0" scaled="1"/>
                <a:tileRect/>
              </a:gradFill>
              <a:prstDash val="solid"/>
              <a:miter/>
            </a:ln>
          </p:spPr>
          <p:txBody>
            <a:bodyPr rtlCol="0" anchor="ctr"/>
            <a:lstStyle/>
            <a:p>
              <a:pPr defTabSz="913852">
                <a:defRPr/>
              </a:pPr>
              <a:endParaRPr lang="en-US" sz="1798">
                <a:solidFill>
                  <a:srgbClr val="000000"/>
                </a:solidFill>
                <a:latin typeface="72 Brand"/>
              </a:endParaRPr>
            </a:p>
          </p:txBody>
        </p:sp>
        <p:grpSp>
          <p:nvGrpSpPr>
            <p:cNvPr id="2056" name="Graphic 103">
              <a:extLst>
                <a:ext uri="{FF2B5EF4-FFF2-40B4-BE49-F238E27FC236}">
                  <a16:creationId xmlns:a16="http://schemas.microsoft.com/office/drawing/2014/main" id="{56E9C9B0-FF99-12DB-93D2-74C33946CEF1}"/>
                </a:ext>
              </a:extLst>
            </p:cNvPr>
            <p:cNvGrpSpPr/>
            <p:nvPr/>
          </p:nvGrpSpPr>
          <p:grpSpPr>
            <a:xfrm>
              <a:off x="2842902" y="2962379"/>
              <a:ext cx="3580281" cy="1222073"/>
              <a:chOff x="2842902" y="2962379"/>
              <a:chExt cx="3580281" cy="1222073"/>
            </a:xfrm>
            <a:solidFill>
              <a:srgbClr val="B894FF"/>
            </a:solidFill>
          </p:grpSpPr>
          <p:sp>
            <p:nvSpPr>
              <p:cNvPr id="2057" name="Freeform: Shape 2056">
                <a:extLst>
                  <a:ext uri="{FF2B5EF4-FFF2-40B4-BE49-F238E27FC236}">
                    <a16:creationId xmlns:a16="http://schemas.microsoft.com/office/drawing/2014/main" id="{9FE59803-AE7C-A0D3-2B95-1C7CF0035261}"/>
                  </a:ext>
                </a:extLst>
              </p:cNvPr>
              <p:cNvSpPr/>
              <p:nvPr/>
            </p:nvSpPr>
            <p:spPr>
              <a:xfrm>
                <a:off x="3673748" y="3206439"/>
                <a:ext cx="13749" cy="13749"/>
              </a:xfrm>
              <a:custGeom>
                <a:avLst/>
                <a:gdLst>
                  <a:gd name="connsiteX0" fmla="*/ 13750 w 13749"/>
                  <a:gd name="connsiteY0" fmla="*/ 6875 h 13749"/>
                  <a:gd name="connsiteX1" fmla="*/ 6875 w 13749"/>
                  <a:gd name="connsiteY1" fmla="*/ 13750 h 13749"/>
                  <a:gd name="connsiteX2" fmla="*/ 0 w 13749"/>
                  <a:gd name="connsiteY2" fmla="*/ 6875 h 13749"/>
                  <a:gd name="connsiteX3" fmla="*/ 6875 w 13749"/>
                  <a:gd name="connsiteY3" fmla="*/ 0 h 13749"/>
                  <a:gd name="connsiteX4" fmla="*/ 13750 w 13749"/>
                  <a:gd name="connsiteY4" fmla="*/ 6875 h 1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9" h="13749">
                    <a:moveTo>
                      <a:pt x="13750" y="6875"/>
                    </a:moveTo>
                    <a:cubicBezTo>
                      <a:pt x="13750" y="10672"/>
                      <a:pt x="10672" y="13750"/>
                      <a:pt x="6875" y="13750"/>
                    </a:cubicBezTo>
                    <a:cubicBezTo>
                      <a:pt x="3078" y="13750"/>
                      <a:pt x="0" y="10672"/>
                      <a:pt x="0" y="6875"/>
                    </a:cubicBezTo>
                    <a:cubicBezTo>
                      <a:pt x="0" y="3078"/>
                      <a:pt x="3078" y="0"/>
                      <a:pt x="6875" y="0"/>
                    </a:cubicBezTo>
                    <a:cubicBezTo>
                      <a:pt x="10672" y="0"/>
                      <a:pt x="13750" y="3078"/>
                      <a:pt x="13750" y="6875"/>
                    </a:cubicBezTo>
                    <a:close/>
                  </a:path>
                </a:pathLst>
              </a:custGeom>
              <a:grpFill/>
              <a:ln w="15875" cap="flat">
                <a:solidFill>
                  <a:srgbClr val="B894FF"/>
                </a:solidFill>
                <a:prstDash val="solid"/>
                <a:miter/>
              </a:ln>
            </p:spPr>
            <p:txBody>
              <a:bodyPr rtlCol="0" anchor="ctr"/>
              <a:lstStyle/>
              <a:p>
                <a:pPr defTabSz="913852">
                  <a:defRPr/>
                </a:pPr>
                <a:endParaRPr lang="en-US" sz="1798">
                  <a:solidFill>
                    <a:srgbClr val="000000"/>
                  </a:solidFill>
                  <a:latin typeface="72 Brand"/>
                </a:endParaRPr>
              </a:p>
            </p:txBody>
          </p:sp>
          <p:sp>
            <p:nvSpPr>
              <p:cNvPr id="2058" name="Freeform: Shape 2057">
                <a:extLst>
                  <a:ext uri="{FF2B5EF4-FFF2-40B4-BE49-F238E27FC236}">
                    <a16:creationId xmlns:a16="http://schemas.microsoft.com/office/drawing/2014/main" id="{2D0B2982-B0AA-39DB-A735-01191515701D}"/>
                  </a:ext>
                </a:extLst>
              </p:cNvPr>
              <p:cNvSpPr/>
              <p:nvPr/>
            </p:nvSpPr>
            <p:spPr>
              <a:xfrm>
                <a:off x="3475288" y="3401408"/>
                <a:ext cx="13749" cy="13749"/>
              </a:xfrm>
              <a:custGeom>
                <a:avLst/>
                <a:gdLst>
                  <a:gd name="connsiteX0" fmla="*/ 13750 w 13749"/>
                  <a:gd name="connsiteY0" fmla="*/ 6875 h 13749"/>
                  <a:gd name="connsiteX1" fmla="*/ 6875 w 13749"/>
                  <a:gd name="connsiteY1" fmla="*/ 13750 h 13749"/>
                  <a:gd name="connsiteX2" fmla="*/ 0 w 13749"/>
                  <a:gd name="connsiteY2" fmla="*/ 6875 h 13749"/>
                  <a:gd name="connsiteX3" fmla="*/ 6875 w 13749"/>
                  <a:gd name="connsiteY3" fmla="*/ 0 h 13749"/>
                  <a:gd name="connsiteX4" fmla="*/ 13750 w 13749"/>
                  <a:gd name="connsiteY4" fmla="*/ 6875 h 1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9" h="13749">
                    <a:moveTo>
                      <a:pt x="13750" y="6875"/>
                    </a:moveTo>
                    <a:cubicBezTo>
                      <a:pt x="13750" y="10672"/>
                      <a:pt x="10672" y="13750"/>
                      <a:pt x="6875" y="13750"/>
                    </a:cubicBezTo>
                    <a:cubicBezTo>
                      <a:pt x="3078" y="13750"/>
                      <a:pt x="0" y="10672"/>
                      <a:pt x="0" y="6875"/>
                    </a:cubicBezTo>
                    <a:cubicBezTo>
                      <a:pt x="0" y="3078"/>
                      <a:pt x="3078" y="0"/>
                      <a:pt x="6875" y="0"/>
                    </a:cubicBezTo>
                    <a:cubicBezTo>
                      <a:pt x="10672" y="0"/>
                      <a:pt x="13750" y="3078"/>
                      <a:pt x="13750" y="6875"/>
                    </a:cubicBezTo>
                    <a:close/>
                  </a:path>
                </a:pathLst>
              </a:custGeom>
              <a:grpFill/>
              <a:ln w="15875" cap="flat">
                <a:solidFill>
                  <a:srgbClr val="B894FF"/>
                </a:solidFill>
                <a:prstDash val="solid"/>
                <a:miter/>
              </a:ln>
            </p:spPr>
            <p:txBody>
              <a:bodyPr rtlCol="0" anchor="ctr"/>
              <a:lstStyle/>
              <a:p>
                <a:pPr defTabSz="913852">
                  <a:defRPr/>
                </a:pPr>
                <a:endParaRPr lang="en-US" sz="1798">
                  <a:solidFill>
                    <a:srgbClr val="000000"/>
                  </a:solidFill>
                  <a:latin typeface="72 Brand"/>
                </a:endParaRPr>
              </a:p>
            </p:txBody>
          </p:sp>
          <p:sp>
            <p:nvSpPr>
              <p:cNvPr id="2059" name="Freeform: Shape 2058">
                <a:extLst>
                  <a:ext uri="{FF2B5EF4-FFF2-40B4-BE49-F238E27FC236}">
                    <a16:creationId xmlns:a16="http://schemas.microsoft.com/office/drawing/2014/main" id="{AD0C79A0-FAC1-ABB0-C018-646AEBC6426A}"/>
                  </a:ext>
                </a:extLst>
              </p:cNvPr>
              <p:cNvSpPr/>
              <p:nvPr/>
            </p:nvSpPr>
            <p:spPr>
              <a:xfrm>
                <a:off x="2842902" y="3107021"/>
                <a:ext cx="13749" cy="13749"/>
              </a:xfrm>
              <a:custGeom>
                <a:avLst/>
                <a:gdLst>
                  <a:gd name="connsiteX0" fmla="*/ 13750 w 13749"/>
                  <a:gd name="connsiteY0" fmla="*/ 6875 h 13749"/>
                  <a:gd name="connsiteX1" fmla="*/ 6875 w 13749"/>
                  <a:gd name="connsiteY1" fmla="*/ 13750 h 13749"/>
                  <a:gd name="connsiteX2" fmla="*/ 0 w 13749"/>
                  <a:gd name="connsiteY2" fmla="*/ 6875 h 13749"/>
                  <a:gd name="connsiteX3" fmla="*/ 6875 w 13749"/>
                  <a:gd name="connsiteY3" fmla="*/ 0 h 13749"/>
                  <a:gd name="connsiteX4" fmla="*/ 13750 w 13749"/>
                  <a:gd name="connsiteY4" fmla="*/ 6875 h 1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9" h="13749">
                    <a:moveTo>
                      <a:pt x="13750" y="6875"/>
                    </a:moveTo>
                    <a:cubicBezTo>
                      <a:pt x="13750" y="10672"/>
                      <a:pt x="10672" y="13750"/>
                      <a:pt x="6875" y="13750"/>
                    </a:cubicBezTo>
                    <a:cubicBezTo>
                      <a:pt x="3078" y="13750"/>
                      <a:pt x="0" y="10672"/>
                      <a:pt x="0" y="6875"/>
                    </a:cubicBezTo>
                    <a:cubicBezTo>
                      <a:pt x="0" y="3078"/>
                      <a:pt x="3078" y="0"/>
                      <a:pt x="6875" y="0"/>
                    </a:cubicBezTo>
                    <a:cubicBezTo>
                      <a:pt x="10672" y="0"/>
                      <a:pt x="13750" y="3078"/>
                      <a:pt x="13750" y="6875"/>
                    </a:cubicBezTo>
                    <a:close/>
                  </a:path>
                </a:pathLst>
              </a:custGeom>
              <a:grpFill/>
              <a:ln w="15875" cap="flat">
                <a:solidFill>
                  <a:srgbClr val="B894FF"/>
                </a:solidFill>
                <a:prstDash val="solid"/>
                <a:miter/>
              </a:ln>
            </p:spPr>
            <p:txBody>
              <a:bodyPr rtlCol="0" anchor="ctr"/>
              <a:lstStyle/>
              <a:p>
                <a:pPr defTabSz="913852">
                  <a:defRPr/>
                </a:pPr>
                <a:endParaRPr lang="en-US" sz="1798">
                  <a:solidFill>
                    <a:srgbClr val="000000"/>
                  </a:solidFill>
                  <a:latin typeface="72 Brand"/>
                </a:endParaRPr>
              </a:p>
            </p:txBody>
          </p:sp>
          <p:sp>
            <p:nvSpPr>
              <p:cNvPr id="2060" name="Freeform: Shape 2059">
                <a:extLst>
                  <a:ext uri="{FF2B5EF4-FFF2-40B4-BE49-F238E27FC236}">
                    <a16:creationId xmlns:a16="http://schemas.microsoft.com/office/drawing/2014/main" id="{64F6001E-2920-30C4-651C-67FF15D3C518}"/>
                  </a:ext>
                </a:extLst>
              </p:cNvPr>
              <p:cNvSpPr/>
              <p:nvPr/>
            </p:nvSpPr>
            <p:spPr>
              <a:xfrm>
                <a:off x="3284294" y="4091265"/>
                <a:ext cx="13749" cy="13749"/>
              </a:xfrm>
              <a:custGeom>
                <a:avLst/>
                <a:gdLst>
                  <a:gd name="connsiteX0" fmla="*/ 13750 w 13749"/>
                  <a:gd name="connsiteY0" fmla="*/ 6875 h 13749"/>
                  <a:gd name="connsiteX1" fmla="*/ 6875 w 13749"/>
                  <a:gd name="connsiteY1" fmla="*/ 13750 h 13749"/>
                  <a:gd name="connsiteX2" fmla="*/ 0 w 13749"/>
                  <a:gd name="connsiteY2" fmla="*/ 6875 h 13749"/>
                  <a:gd name="connsiteX3" fmla="*/ 6875 w 13749"/>
                  <a:gd name="connsiteY3" fmla="*/ 0 h 13749"/>
                  <a:gd name="connsiteX4" fmla="*/ 13750 w 13749"/>
                  <a:gd name="connsiteY4" fmla="*/ 6875 h 1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9" h="13749">
                    <a:moveTo>
                      <a:pt x="13750" y="6875"/>
                    </a:moveTo>
                    <a:cubicBezTo>
                      <a:pt x="13750" y="10672"/>
                      <a:pt x="10672" y="13750"/>
                      <a:pt x="6875" y="13750"/>
                    </a:cubicBezTo>
                    <a:cubicBezTo>
                      <a:pt x="3078" y="13750"/>
                      <a:pt x="0" y="10672"/>
                      <a:pt x="0" y="6875"/>
                    </a:cubicBezTo>
                    <a:cubicBezTo>
                      <a:pt x="0" y="3078"/>
                      <a:pt x="3078" y="0"/>
                      <a:pt x="6875" y="0"/>
                    </a:cubicBezTo>
                    <a:cubicBezTo>
                      <a:pt x="10672" y="0"/>
                      <a:pt x="13750" y="3078"/>
                      <a:pt x="13750" y="6875"/>
                    </a:cubicBezTo>
                    <a:close/>
                  </a:path>
                </a:pathLst>
              </a:custGeom>
              <a:grpFill/>
              <a:ln w="15875" cap="flat">
                <a:solidFill>
                  <a:srgbClr val="B894FF"/>
                </a:solidFill>
                <a:prstDash val="solid"/>
                <a:miter/>
              </a:ln>
            </p:spPr>
            <p:txBody>
              <a:bodyPr rtlCol="0" anchor="ctr"/>
              <a:lstStyle/>
              <a:p>
                <a:pPr defTabSz="913852">
                  <a:defRPr/>
                </a:pPr>
                <a:endParaRPr lang="en-US" sz="1798">
                  <a:solidFill>
                    <a:srgbClr val="000000"/>
                  </a:solidFill>
                  <a:latin typeface="72 Brand"/>
                </a:endParaRPr>
              </a:p>
            </p:txBody>
          </p:sp>
          <p:sp>
            <p:nvSpPr>
              <p:cNvPr id="2061" name="Freeform: Shape 2060">
                <a:extLst>
                  <a:ext uri="{FF2B5EF4-FFF2-40B4-BE49-F238E27FC236}">
                    <a16:creationId xmlns:a16="http://schemas.microsoft.com/office/drawing/2014/main" id="{6BADE3B9-DA2F-B7DA-7664-D8084B1F205E}"/>
                  </a:ext>
                </a:extLst>
              </p:cNvPr>
              <p:cNvSpPr/>
              <p:nvPr/>
            </p:nvSpPr>
            <p:spPr>
              <a:xfrm>
                <a:off x="4208758" y="2962379"/>
                <a:ext cx="13749" cy="13749"/>
              </a:xfrm>
              <a:custGeom>
                <a:avLst/>
                <a:gdLst>
                  <a:gd name="connsiteX0" fmla="*/ 13750 w 13749"/>
                  <a:gd name="connsiteY0" fmla="*/ 6875 h 13749"/>
                  <a:gd name="connsiteX1" fmla="*/ 6875 w 13749"/>
                  <a:gd name="connsiteY1" fmla="*/ 13750 h 13749"/>
                  <a:gd name="connsiteX2" fmla="*/ 0 w 13749"/>
                  <a:gd name="connsiteY2" fmla="*/ 6875 h 13749"/>
                  <a:gd name="connsiteX3" fmla="*/ 6875 w 13749"/>
                  <a:gd name="connsiteY3" fmla="*/ 0 h 13749"/>
                  <a:gd name="connsiteX4" fmla="*/ 13750 w 13749"/>
                  <a:gd name="connsiteY4" fmla="*/ 6875 h 1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9" h="13749">
                    <a:moveTo>
                      <a:pt x="13750" y="6875"/>
                    </a:moveTo>
                    <a:cubicBezTo>
                      <a:pt x="13750" y="10672"/>
                      <a:pt x="10672" y="13750"/>
                      <a:pt x="6875" y="13750"/>
                    </a:cubicBezTo>
                    <a:cubicBezTo>
                      <a:pt x="3078" y="13750"/>
                      <a:pt x="0" y="10672"/>
                      <a:pt x="0" y="6875"/>
                    </a:cubicBezTo>
                    <a:cubicBezTo>
                      <a:pt x="0" y="3078"/>
                      <a:pt x="3078" y="0"/>
                      <a:pt x="6875" y="0"/>
                    </a:cubicBezTo>
                    <a:cubicBezTo>
                      <a:pt x="10672" y="0"/>
                      <a:pt x="13750" y="3078"/>
                      <a:pt x="13750" y="6875"/>
                    </a:cubicBezTo>
                    <a:close/>
                  </a:path>
                </a:pathLst>
              </a:custGeom>
              <a:grpFill/>
              <a:ln w="15875" cap="flat">
                <a:solidFill>
                  <a:srgbClr val="B894FF"/>
                </a:solidFill>
                <a:prstDash val="solid"/>
                <a:miter/>
              </a:ln>
            </p:spPr>
            <p:txBody>
              <a:bodyPr rtlCol="0" anchor="ctr"/>
              <a:lstStyle/>
              <a:p>
                <a:pPr defTabSz="913852">
                  <a:defRPr/>
                </a:pPr>
                <a:endParaRPr lang="en-US" sz="1798">
                  <a:solidFill>
                    <a:srgbClr val="000000"/>
                  </a:solidFill>
                  <a:latin typeface="72 Brand"/>
                </a:endParaRPr>
              </a:p>
            </p:txBody>
          </p:sp>
          <p:sp>
            <p:nvSpPr>
              <p:cNvPr id="2062" name="Freeform: Shape 2061">
                <a:extLst>
                  <a:ext uri="{FF2B5EF4-FFF2-40B4-BE49-F238E27FC236}">
                    <a16:creationId xmlns:a16="http://schemas.microsoft.com/office/drawing/2014/main" id="{D2E60F9C-AAF9-FBDD-27AE-85D0873CBEEF}"/>
                  </a:ext>
                </a:extLst>
              </p:cNvPr>
              <p:cNvSpPr/>
              <p:nvPr/>
            </p:nvSpPr>
            <p:spPr>
              <a:xfrm>
                <a:off x="4742908" y="3259022"/>
                <a:ext cx="13749" cy="13749"/>
              </a:xfrm>
              <a:custGeom>
                <a:avLst/>
                <a:gdLst>
                  <a:gd name="connsiteX0" fmla="*/ 13750 w 13749"/>
                  <a:gd name="connsiteY0" fmla="*/ 6875 h 13749"/>
                  <a:gd name="connsiteX1" fmla="*/ 6875 w 13749"/>
                  <a:gd name="connsiteY1" fmla="*/ 13750 h 13749"/>
                  <a:gd name="connsiteX2" fmla="*/ 0 w 13749"/>
                  <a:gd name="connsiteY2" fmla="*/ 6875 h 13749"/>
                  <a:gd name="connsiteX3" fmla="*/ 6875 w 13749"/>
                  <a:gd name="connsiteY3" fmla="*/ 0 h 13749"/>
                  <a:gd name="connsiteX4" fmla="*/ 13750 w 13749"/>
                  <a:gd name="connsiteY4" fmla="*/ 6875 h 1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9" h="13749">
                    <a:moveTo>
                      <a:pt x="13750" y="6875"/>
                    </a:moveTo>
                    <a:cubicBezTo>
                      <a:pt x="13750" y="10672"/>
                      <a:pt x="10672" y="13750"/>
                      <a:pt x="6875" y="13750"/>
                    </a:cubicBezTo>
                    <a:cubicBezTo>
                      <a:pt x="3078" y="13750"/>
                      <a:pt x="0" y="10672"/>
                      <a:pt x="0" y="6875"/>
                    </a:cubicBezTo>
                    <a:cubicBezTo>
                      <a:pt x="0" y="3078"/>
                      <a:pt x="3078" y="0"/>
                      <a:pt x="6875" y="0"/>
                    </a:cubicBezTo>
                    <a:cubicBezTo>
                      <a:pt x="10672" y="0"/>
                      <a:pt x="13750" y="3078"/>
                      <a:pt x="13750" y="6875"/>
                    </a:cubicBezTo>
                    <a:close/>
                  </a:path>
                </a:pathLst>
              </a:custGeom>
              <a:grpFill/>
              <a:ln w="15875" cap="flat">
                <a:solidFill>
                  <a:srgbClr val="B894FF"/>
                </a:solidFill>
                <a:prstDash val="solid"/>
                <a:miter/>
              </a:ln>
            </p:spPr>
            <p:txBody>
              <a:bodyPr rtlCol="0" anchor="ctr"/>
              <a:lstStyle/>
              <a:p>
                <a:pPr defTabSz="913852">
                  <a:defRPr/>
                </a:pPr>
                <a:endParaRPr lang="en-US" sz="1798">
                  <a:solidFill>
                    <a:srgbClr val="000000"/>
                  </a:solidFill>
                  <a:latin typeface="72 Brand"/>
                </a:endParaRPr>
              </a:p>
            </p:txBody>
          </p:sp>
          <p:sp>
            <p:nvSpPr>
              <p:cNvPr id="2063" name="Freeform: Shape 2062">
                <a:extLst>
                  <a:ext uri="{FF2B5EF4-FFF2-40B4-BE49-F238E27FC236}">
                    <a16:creationId xmlns:a16="http://schemas.microsoft.com/office/drawing/2014/main" id="{FD96E010-2085-0F65-2A7F-9C6395CBE3E1}"/>
                  </a:ext>
                </a:extLst>
              </p:cNvPr>
              <p:cNvSpPr/>
              <p:nvPr/>
            </p:nvSpPr>
            <p:spPr>
              <a:xfrm>
                <a:off x="4649398" y="3699555"/>
                <a:ext cx="13749" cy="13749"/>
              </a:xfrm>
              <a:custGeom>
                <a:avLst/>
                <a:gdLst>
                  <a:gd name="connsiteX0" fmla="*/ 13750 w 13749"/>
                  <a:gd name="connsiteY0" fmla="*/ 6875 h 13749"/>
                  <a:gd name="connsiteX1" fmla="*/ 6875 w 13749"/>
                  <a:gd name="connsiteY1" fmla="*/ 13750 h 13749"/>
                  <a:gd name="connsiteX2" fmla="*/ 0 w 13749"/>
                  <a:gd name="connsiteY2" fmla="*/ 6875 h 13749"/>
                  <a:gd name="connsiteX3" fmla="*/ 6875 w 13749"/>
                  <a:gd name="connsiteY3" fmla="*/ 0 h 13749"/>
                  <a:gd name="connsiteX4" fmla="*/ 13750 w 13749"/>
                  <a:gd name="connsiteY4" fmla="*/ 6875 h 1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9" h="13749">
                    <a:moveTo>
                      <a:pt x="13750" y="6875"/>
                    </a:moveTo>
                    <a:cubicBezTo>
                      <a:pt x="13750" y="10672"/>
                      <a:pt x="10672" y="13750"/>
                      <a:pt x="6875" y="13750"/>
                    </a:cubicBezTo>
                    <a:cubicBezTo>
                      <a:pt x="3078" y="13750"/>
                      <a:pt x="0" y="10672"/>
                      <a:pt x="0" y="6875"/>
                    </a:cubicBezTo>
                    <a:cubicBezTo>
                      <a:pt x="0" y="3078"/>
                      <a:pt x="3078" y="0"/>
                      <a:pt x="6875" y="0"/>
                    </a:cubicBezTo>
                    <a:cubicBezTo>
                      <a:pt x="10672" y="0"/>
                      <a:pt x="13750" y="3078"/>
                      <a:pt x="13750" y="6875"/>
                    </a:cubicBezTo>
                    <a:close/>
                  </a:path>
                </a:pathLst>
              </a:custGeom>
              <a:grpFill/>
              <a:ln w="15875" cap="flat">
                <a:solidFill>
                  <a:srgbClr val="B894FF"/>
                </a:solidFill>
                <a:prstDash val="solid"/>
                <a:miter/>
              </a:ln>
            </p:spPr>
            <p:txBody>
              <a:bodyPr rtlCol="0" anchor="ctr"/>
              <a:lstStyle/>
              <a:p>
                <a:pPr defTabSz="913852">
                  <a:defRPr/>
                </a:pPr>
                <a:endParaRPr lang="en-US" sz="1798">
                  <a:solidFill>
                    <a:srgbClr val="000000"/>
                  </a:solidFill>
                  <a:latin typeface="72 Brand"/>
                </a:endParaRPr>
              </a:p>
            </p:txBody>
          </p:sp>
          <p:sp>
            <p:nvSpPr>
              <p:cNvPr id="2064" name="Freeform: Shape 2063">
                <a:extLst>
                  <a:ext uri="{FF2B5EF4-FFF2-40B4-BE49-F238E27FC236}">
                    <a16:creationId xmlns:a16="http://schemas.microsoft.com/office/drawing/2014/main" id="{FAF54954-1E32-B8E3-6331-3E8F39A26EA6}"/>
                  </a:ext>
                </a:extLst>
              </p:cNvPr>
              <p:cNvSpPr/>
              <p:nvPr/>
            </p:nvSpPr>
            <p:spPr>
              <a:xfrm>
                <a:off x="4162620" y="3993351"/>
                <a:ext cx="13749" cy="13749"/>
              </a:xfrm>
              <a:custGeom>
                <a:avLst/>
                <a:gdLst>
                  <a:gd name="connsiteX0" fmla="*/ 13750 w 13749"/>
                  <a:gd name="connsiteY0" fmla="*/ 6875 h 13749"/>
                  <a:gd name="connsiteX1" fmla="*/ 6875 w 13749"/>
                  <a:gd name="connsiteY1" fmla="*/ 13750 h 13749"/>
                  <a:gd name="connsiteX2" fmla="*/ 0 w 13749"/>
                  <a:gd name="connsiteY2" fmla="*/ 6875 h 13749"/>
                  <a:gd name="connsiteX3" fmla="*/ 6875 w 13749"/>
                  <a:gd name="connsiteY3" fmla="*/ 0 h 13749"/>
                  <a:gd name="connsiteX4" fmla="*/ 13750 w 13749"/>
                  <a:gd name="connsiteY4" fmla="*/ 6875 h 1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9" h="13749">
                    <a:moveTo>
                      <a:pt x="13750" y="6875"/>
                    </a:moveTo>
                    <a:cubicBezTo>
                      <a:pt x="13750" y="10672"/>
                      <a:pt x="10672" y="13750"/>
                      <a:pt x="6875" y="13750"/>
                    </a:cubicBezTo>
                    <a:cubicBezTo>
                      <a:pt x="3078" y="13750"/>
                      <a:pt x="0" y="10672"/>
                      <a:pt x="0" y="6875"/>
                    </a:cubicBezTo>
                    <a:cubicBezTo>
                      <a:pt x="0" y="3078"/>
                      <a:pt x="3078" y="0"/>
                      <a:pt x="6875" y="0"/>
                    </a:cubicBezTo>
                    <a:cubicBezTo>
                      <a:pt x="10672" y="0"/>
                      <a:pt x="13750" y="3078"/>
                      <a:pt x="13750" y="6875"/>
                    </a:cubicBezTo>
                    <a:close/>
                  </a:path>
                </a:pathLst>
              </a:custGeom>
              <a:grpFill/>
              <a:ln w="15875" cap="flat">
                <a:solidFill>
                  <a:srgbClr val="B894FF"/>
                </a:solidFill>
                <a:prstDash val="solid"/>
                <a:miter/>
              </a:ln>
            </p:spPr>
            <p:txBody>
              <a:bodyPr rtlCol="0" anchor="ctr"/>
              <a:lstStyle/>
              <a:p>
                <a:pPr defTabSz="913852">
                  <a:defRPr/>
                </a:pPr>
                <a:endParaRPr lang="en-US" sz="1798">
                  <a:solidFill>
                    <a:srgbClr val="000000"/>
                  </a:solidFill>
                  <a:latin typeface="72 Brand"/>
                </a:endParaRPr>
              </a:p>
            </p:txBody>
          </p:sp>
          <p:sp>
            <p:nvSpPr>
              <p:cNvPr id="2065" name="Freeform: Shape 2064">
                <a:extLst>
                  <a:ext uri="{FF2B5EF4-FFF2-40B4-BE49-F238E27FC236}">
                    <a16:creationId xmlns:a16="http://schemas.microsoft.com/office/drawing/2014/main" id="{EC241E5B-8175-1F1B-0BCC-3DCB8D5AF3D6}"/>
                  </a:ext>
                </a:extLst>
              </p:cNvPr>
              <p:cNvSpPr/>
              <p:nvPr/>
            </p:nvSpPr>
            <p:spPr>
              <a:xfrm>
                <a:off x="4933526" y="4170703"/>
                <a:ext cx="13749" cy="13749"/>
              </a:xfrm>
              <a:custGeom>
                <a:avLst/>
                <a:gdLst>
                  <a:gd name="connsiteX0" fmla="*/ 13750 w 13749"/>
                  <a:gd name="connsiteY0" fmla="*/ 6875 h 13749"/>
                  <a:gd name="connsiteX1" fmla="*/ 6875 w 13749"/>
                  <a:gd name="connsiteY1" fmla="*/ 13750 h 13749"/>
                  <a:gd name="connsiteX2" fmla="*/ 0 w 13749"/>
                  <a:gd name="connsiteY2" fmla="*/ 6875 h 13749"/>
                  <a:gd name="connsiteX3" fmla="*/ 6875 w 13749"/>
                  <a:gd name="connsiteY3" fmla="*/ 0 h 13749"/>
                  <a:gd name="connsiteX4" fmla="*/ 13750 w 13749"/>
                  <a:gd name="connsiteY4" fmla="*/ 6875 h 1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9" h="13749">
                    <a:moveTo>
                      <a:pt x="13750" y="6875"/>
                    </a:moveTo>
                    <a:cubicBezTo>
                      <a:pt x="13750" y="10672"/>
                      <a:pt x="10672" y="13750"/>
                      <a:pt x="6875" y="13750"/>
                    </a:cubicBezTo>
                    <a:cubicBezTo>
                      <a:pt x="3078" y="13750"/>
                      <a:pt x="0" y="10672"/>
                      <a:pt x="0" y="6875"/>
                    </a:cubicBezTo>
                    <a:cubicBezTo>
                      <a:pt x="0" y="3078"/>
                      <a:pt x="3078" y="0"/>
                      <a:pt x="6875" y="0"/>
                    </a:cubicBezTo>
                    <a:cubicBezTo>
                      <a:pt x="10672" y="0"/>
                      <a:pt x="13750" y="3078"/>
                      <a:pt x="13750" y="6875"/>
                    </a:cubicBezTo>
                    <a:close/>
                  </a:path>
                </a:pathLst>
              </a:custGeom>
              <a:grpFill/>
              <a:ln w="15875" cap="flat">
                <a:solidFill>
                  <a:srgbClr val="B894FF"/>
                </a:solidFill>
                <a:prstDash val="solid"/>
                <a:miter/>
              </a:ln>
            </p:spPr>
            <p:txBody>
              <a:bodyPr rtlCol="0" anchor="ctr"/>
              <a:lstStyle/>
              <a:p>
                <a:pPr defTabSz="913852">
                  <a:defRPr/>
                </a:pPr>
                <a:endParaRPr lang="en-US" sz="1798">
                  <a:solidFill>
                    <a:srgbClr val="000000"/>
                  </a:solidFill>
                  <a:latin typeface="72 Brand"/>
                </a:endParaRPr>
              </a:p>
            </p:txBody>
          </p:sp>
          <p:sp>
            <p:nvSpPr>
              <p:cNvPr id="2066" name="Freeform: Shape 2065">
                <a:extLst>
                  <a:ext uri="{FF2B5EF4-FFF2-40B4-BE49-F238E27FC236}">
                    <a16:creationId xmlns:a16="http://schemas.microsoft.com/office/drawing/2014/main" id="{3BCB67E9-A6DA-A7E6-3BD5-09AE885765D4}"/>
                  </a:ext>
                </a:extLst>
              </p:cNvPr>
              <p:cNvSpPr/>
              <p:nvPr/>
            </p:nvSpPr>
            <p:spPr>
              <a:xfrm>
                <a:off x="5923087" y="4091319"/>
                <a:ext cx="13749" cy="13749"/>
              </a:xfrm>
              <a:custGeom>
                <a:avLst/>
                <a:gdLst>
                  <a:gd name="connsiteX0" fmla="*/ 13750 w 13749"/>
                  <a:gd name="connsiteY0" fmla="*/ 6875 h 13749"/>
                  <a:gd name="connsiteX1" fmla="*/ 6875 w 13749"/>
                  <a:gd name="connsiteY1" fmla="*/ 13750 h 13749"/>
                  <a:gd name="connsiteX2" fmla="*/ 0 w 13749"/>
                  <a:gd name="connsiteY2" fmla="*/ 6875 h 13749"/>
                  <a:gd name="connsiteX3" fmla="*/ 6875 w 13749"/>
                  <a:gd name="connsiteY3" fmla="*/ 0 h 13749"/>
                  <a:gd name="connsiteX4" fmla="*/ 13750 w 13749"/>
                  <a:gd name="connsiteY4" fmla="*/ 6875 h 1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9" h="13749">
                    <a:moveTo>
                      <a:pt x="13750" y="6875"/>
                    </a:moveTo>
                    <a:cubicBezTo>
                      <a:pt x="13750" y="10672"/>
                      <a:pt x="10672" y="13750"/>
                      <a:pt x="6875" y="13750"/>
                    </a:cubicBezTo>
                    <a:cubicBezTo>
                      <a:pt x="3078" y="13750"/>
                      <a:pt x="0" y="10672"/>
                      <a:pt x="0" y="6875"/>
                    </a:cubicBezTo>
                    <a:cubicBezTo>
                      <a:pt x="0" y="3078"/>
                      <a:pt x="3078" y="0"/>
                      <a:pt x="6875" y="0"/>
                    </a:cubicBezTo>
                    <a:cubicBezTo>
                      <a:pt x="10672" y="0"/>
                      <a:pt x="13750" y="3078"/>
                      <a:pt x="13750" y="6875"/>
                    </a:cubicBezTo>
                    <a:close/>
                  </a:path>
                </a:pathLst>
              </a:custGeom>
              <a:grpFill/>
              <a:ln w="15875" cap="flat">
                <a:solidFill>
                  <a:srgbClr val="B894FF"/>
                </a:solidFill>
                <a:prstDash val="solid"/>
                <a:miter/>
              </a:ln>
            </p:spPr>
            <p:txBody>
              <a:bodyPr rtlCol="0" anchor="ctr"/>
              <a:lstStyle/>
              <a:p>
                <a:pPr defTabSz="913852">
                  <a:defRPr/>
                </a:pPr>
                <a:endParaRPr lang="en-US" sz="1798">
                  <a:solidFill>
                    <a:srgbClr val="000000"/>
                  </a:solidFill>
                  <a:latin typeface="72 Brand"/>
                </a:endParaRPr>
              </a:p>
            </p:txBody>
          </p:sp>
          <p:sp>
            <p:nvSpPr>
              <p:cNvPr id="2067" name="Freeform: Shape 2066">
                <a:extLst>
                  <a:ext uri="{FF2B5EF4-FFF2-40B4-BE49-F238E27FC236}">
                    <a16:creationId xmlns:a16="http://schemas.microsoft.com/office/drawing/2014/main" id="{32E1559B-75E6-D460-975B-B700FC4BD0C0}"/>
                  </a:ext>
                </a:extLst>
              </p:cNvPr>
              <p:cNvSpPr/>
              <p:nvPr/>
            </p:nvSpPr>
            <p:spPr>
              <a:xfrm>
                <a:off x="5431744" y="3107021"/>
                <a:ext cx="13749" cy="13749"/>
              </a:xfrm>
              <a:custGeom>
                <a:avLst/>
                <a:gdLst>
                  <a:gd name="connsiteX0" fmla="*/ 13750 w 13749"/>
                  <a:gd name="connsiteY0" fmla="*/ 6875 h 13749"/>
                  <a:gd name="connsiteX1" fmla="*/ 6875 w 13749"/>
                  <a:gd name="connsiteY1" fmla="*/ 13750 h 13749"/>
                  <a:gd name="connsiteX2" fmla="*/ 0 w 13749"/>
                  <a:gd name="connsiteY2" fmla="*/ 6875 h 13749"/>
                  <a:gd name="connsiteX3" fmla="*/ 6875 w 13749"/>
                  <a:gd name="connsiteY3" fmla="*/ 0 h 13749"/>
                  <a:gd name="connsiteX4" fmla="*/ 13750 w 13749"/>
                  <a:gd name="connsiteY4" fmla="*/ 6875 h 1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9" h="13749">
                    <a:moveTo>
                      <a:pt x="13750" y="6875"/>
                    </a:moveTo>
                    <a:cubicBezTo>
                      <a:pt x="13750" y="10672"/>
                      <a:pt x="10672" y="13750"/>
                      <a:pt x="6875" y="13750"/>
                    </a:cubicBezTo>
                    <a:cubicBezTo>
                      <a:pt x="3078" y="13750"/>
                      <a:pt x="0" y="10672"/>
                      <a:pt x="0" y="6875"/>
                    </a:cubicBezTo>
                    <a:cubicBezTo>
                      <a:pt x="0" y="3078"/>
                      <a:pt x="3078" y="0"/>
                      <a:pt x="6875" y="0"/>
                    </a:cubicBezTo>
                    <a:cubicBezTo>
                      <a:pt x="10672" y="0"/>
                      <a:pt x="13750" y="3078"/>
                      <a:pt x="13750" y="6875"/>
                    </a:cubicBezTo>
                    <a:close/>
                  </a:path>
                </a:pathLst>
              </a:custGeom>
              <a:grpFill/>
              <a:ln w="15875" cap="flat">
                <a:solidFill>
                  <a:srgbClr val="B894FF"/>
                </a:solidFill>
                <a:prstDash val="solid"/>
                <a:miter/>
              </a:ln>
            </p:spPr>
            <p:txBody>
              <a:bodyPr rtlCol="0" anchor="ctr"/>
              <a:lstStyle/>
              <a:p>
                <a:pPr defTabSz="913852">
                  <a:defRPr/>
                </a:pPr>
                <a:endParaRPr lang="en-US" sz="1798">
                  <a:solidFill>
                    <a:srgbClr val="000000"/>
                  </a:solidFill>
                  <a:latin typeface="72 Brand"/>
                </a:endParaRPr>
              </a:p>
            </p:txBody>
          </p:sp>
          <p:sp>
            <p:nvSpPr>
              <p:cNvPr id="2068" name="Freeform: Shape 2067">
                <a:extLst>
                  <a:ext uri="{FF2B5EF4-FFF2-40B4-BE49-F238E27FC236}">
                    <a16:creationId xmlns:a16="http://schemas.microsoft.com/office/drawing/2014/main" id="{DA19E637-B51A-5877-2BA1-1E6BAE8429B9}"/>
                  </a:ext>
                </a:extLst>
              </p:cNvPr>
              <p:cNvSpPr/>
              <p:nvPr/>
            </p:nvSpPr>
            <p:spPr>
              <a:xfrm>
                <a:off x="5966162" y="3158529"/>
                <a:ext cx="13749" cy="13749"/>
              </a:xfrm>
              <a:custGeom>
                <a:avLst/>
                <a:gdLst>
                  <a:gd name="connsiteX0" fmla="*/ 13750 w 13749"/>
                  <a:gd name="connsiteY0" fmla="*/ 6875 h 13749"/>
                  <a:gd name="connsiteX1" fmla="*/ 6875 w 13749"/>
                  <a:gd name="connsiteY1" fmla="*/ 13750 h 13749"/>
                  <a:gd name="connsiteX2" fmla="*/ 0 w 13749"/>
                  <a:gd name="connsiteY2" fmla="*/ 6875 h 13749"/>
                  <a:gd name="connsiteX3" fmla="*/ 6875 w 13749"/>
                  <a:gd name="connsiteY3" fmla="*/ 0 h 13749"/>
                  <a:gd name="connsiteX4" fmla="*/ 13750 w 13749"/>
                  <a:gd name="connsiteY4" fmla="*/ 6875 h 1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9" h="13749">
                    <a:moveTo>
                      <a:pt x="13750" y="6875"/>
                    </a:moveTo>
                    <a:cubicBezTo>
                      <a:pt x="13750" y="10672"/>
                      <a:pt x="10672" y="13750"/>
                      <a:pt x="6875" y="13750"/>
                    </a:cubicBezTo>
                    <a:cubicBezTo>
                      <a:pt x="3078" y="13750"/>
                      <a:pt x="0" y="10672"/>
                      <a:pt x="0" y="6875"/>
                    </a:cubicBezTo>
                    <a:cubicBezTo>
                      <a:pt x="0" y="3078"/>
                      <a:pt x="3077" y="0"/>
                      <a:pt x="6875" y="0"/>
                    </a:cubicBezTo>
                    <a:cubicBezTo>
                      <a:pt x="10671" y="0"/>
                      <a:pt x="13750" y="3078"/>
                      <a:pt x="13750" y="6875"/>
                    </a:cubicBezTo>
                    <a:close/>
                  </a:path>
                </a:pathLst>
              </a:custGeom>
              <a:grpFill/>
              <a:ln w="15875" cap="flat">
                <a:solidFill>
                  <a:srgbClr val="B894FF"/>
                </a:solidFill>
                <a:prstDash val="solid"/>
                <a:miter/>
              </a:ln>
            </p:spPr>
            <p:txBody>
              <a:bodyPr rtlCol="0" anchor="ctr"/>
              <a:lstStyle/>
              <a:p>
                <a:pPr defTabSz="913852">
                  <a:defRPr/>
                </a:pPr>
                <a:endParaRPr lang="en-US" sz="1798">
                  <a:solidFill>
                    <a:srgbClr val="000000"/>
                  </a:solidFill>
                  <a:latin typeface="72 Brand"/>
                </a:endParaRPr>
              </a:p>
            </p:txBody>
          </p:sp>
          <p:sp>
            <p:nvSpPr>
              <p:cNvPr id="2069" name="Freeform: Shape 2068">
                <a:extLst>
                  <a:ext uri="{FF2B5EF4-FFF2-40B4-BE49-F238E27FC236}">
                    <a16:creationId xmlns:a16="http://schemas.microsoft.com/office/drawing/2014/main" id="{FDBBEB1D-954F-70A7-22B3-383649EA9D51}"/>
                  </a:ext>
                </a:extLst>
              </p:cNvPr>
              <p:cNvSpPr/>
              <p:nvPr/>
            </p:nvSpPr>
            <p:spPr>
              <a:xfrm>
                <a:off x="6409434" y="3938297"/>
                <a:ext cx="13749" cy="13749"/>
              </a:xfrm>
              <a:custGeom>
                <a:avLst/>
                <a:gdLst>
                  <a:gd name="connsiteX0" fmla="*/ 13750 w 13749"/>
                  <a:gd name="connsiteY0" fmla="*/ 6875 h 13749"/>
                  <a:gd name="connsiteX1" fmla="*/ 6875 w 13749"/>
                  <a:gd name="connsiteY1" fmla="*/ 13750 h 13749"/>
                  <a:gd name="connsiteX2" fmla="*/ 0 w 13749"/>
                  <a:gd name="connsiteY2" fmla="*/ 6875 h 13749"/>
                  <a:gd name="connsiteX3" fmla="*/ 6875 w 13749"/>
                  <a:gd name="connsiteY3" fmla="*/ 0 h 13749"/>
                  <a:gd name="connsiteX4" fmla="*/ 13750 w 13749"/>
                  <a:gd name="connsiteY4" fmla="*/ 6875 h 13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9" h="13749">
                    <a:moveTo>
                      <a:pt x="13750" y="6875"/>
                    </a:moveTo>
                    <a:cubicBezTo>
                      <a:pt x="13750" y="10672"/>
                      <a:pt x="10672" y="13750"/>
                      <a:pt x="6875" y="13750"/>
                    </a:cubicBezTo>
                    <a:cubicBezTo>
                      <a:pt x="3078" y="13750"/>
                      <a:pt x="0" y="10672"/>
                      <a:pt x="0" y="6875"/>
                    </a:cubicBezTo>
                    <a:cubicBezTo>
                      <a:pt x="0" y="3078"/>
                      <a:pt x="3078" y="0"/>
                      <a:pt x="6875" y="0"/>
                    </a:cubicBezTo>
                    <a:cubicBezTo>
                      <a:pt x="10672" y="0"/>
                      <a:pt x="13750" y="3078"/>
                      <a:pt x="13750" y="6875"/>
                    </a:cubicBezTo>
                    <a:close/>
                  </a:path>
                </a:pathLst>
              </a:custGeom>
              <a:grpFill/>
              <a:ln w="15875" cap="flat">
                <a:solidFill>
                  <a:srgbClr val="B894FF"/>
                </a:solidFill>
                <a:prstDash val="solid"/>
                <a:miter/>
              </a:ln>
            </p:spPr>
            <p:txBody>
              <a:bodyPr rtlCol="0" anchor="ctr"/>
              <a:lstStyle/>
              <a:p>
                <a:pPr defTabSz="913852">
                  <a:defRPr/>
                </a:pPr>
                <a:endParaRPr lang="en-US" sz="1798">
                  <a:solidFill>
                    <a:srgbClr val="000000"/>
                  </a:solidFill>
                  <a:latin typeface="72 Brand"/>
                </a:endParaRPr>
              </a:p>
            </p:txBody>
          </p:sp>
        </p:grpSp>
      </p:grpSp>
      <p:sp>
        <p:nvSpPr>
          <p:cNvPr id="19" name="Rectangle 18">
            <a:extLst>
              <a:ext uri="{FF2B5EF4-FFF2-40B4-BE49-F238E27FC236}">
                <a16:creationId xmlns:a16="http://schemas.microsoft.com/office/drawing/2014/main" id="{87A43754-A7C6-7979-2FEF-F1B3785D2046}"/>
              </a:ext>
            </a:extLst>
          </p:cNvPr>
          <p:cNvSpPr/>
          <p:nvPr/>
        </p:nvSpPr>
        <p:spPr bwMode="gray">
          <a:xfrm>
            <a:off x="8465123" y="4536582"/>
            <a:ext cx="922414" cy="392479"/>
          </a:xfrm>
          <a:prstGeom prst="rect">
            <a:avLst/>
          </a:prstGeom>
          <a:gradFill flip="none" rotWithShape="1">
            <a:gsLst>
              <a:gs pos="4000">
                <a:srgbClr val="0070F3">
                  <a:alpha val="0"/>
                </a:srgbClr>
              </a:gs>
              <a:gs pos="62000">
                <a:srgbClr val="0070F3"/>
              </a:gs>
            </a:gsLst>
            <a:lin ang="16200000" scaled="1"/>
            <a:tileRect/>
          </a:gradFill>
          <a:ln w="25400" algn="ctr">
            <a:noFill/>
            <a:miter lim="800000"/>
            <a:headEnd/>
            <a:tailEnd/>
          </a:ln>
        </p:spPr>
        <p:txBody>
          <a:bodyPr lIns="22488" tIns="17990" rIns="22488" bIns="17990" rtlCol="0" anchor="ctr"/>
          <a:lstStyle/>
          <a:p>
            <a:pPr algn="ctr" defTabSz="253868" fontAlgn="base">
              <a:spcBef>
                <a:spcPct val="50000"/>
              </a:spcBef>
              <a:spcAft>
                <a:spcPct val="0"/>
              </a:spcAft>
              <a:buClr>
                <a:srgbClr val="F0AB00"/>
              </a:buClr>
              <a:buSzPct val="80000"/>
              <a:defRPr/>
            </a:pPr>
            <a:endParaRPr lang="en-GB" sz="500" kern="0">
              <a:solidFill>
                <a:srgbClr val="000000"/>
              </a:solidFill>
              <a:latin typeface="72 Brand"/>
            </a:endParaRPr>
          </a:p>
        </p:txBody>
      </p:sp>
      <p:sp>
        <p:nvSpPr>
          <p:cNvPr id="25" name="Rounded Rectangle 1290">
            <a:extLst>
              <a:ext uri="{FF2B5EF4-FFF2-40B4-BE49-F238E27FC236}">
                <a16:creationId xmlns:a16="http://schemas.microsoft.com/office/drawing/2014/main" id="{B894A971-DE41-C2A5-2A04-0545779974EF}"/>
              </a:ext>
            </a:extLst>
          </p:cNvPr>
          <p:cNvSpPr/>
          <p:nvPr/>
        </p:nvSpPr>
        <p:spPr bwMode="gray">
          <a:xfrm>
            <a:off x="1247686" y="1463781"/>
            <a:ext cx="8687886" cy="4061832"/>
          </a:xfrm>
          <a:prstGeom prst="roundRect">
            <a:avLst>
              <a:gd name="adj" fmla="val 2348"/>
            </a:avLst>
          </a:prstGeom>
          <a:noFill/>
          <a:ln w="11430" algn="ctr">
            <a:gradFill>
              <a:gsLst>
                <a:gs pos="0">
                  <a:srgbClr val="89D1FF"/>
                </a:gs>
                <a:gs pos="100000">
                  <a:srgbClr val="1B90FF"/>
                </a:gs>
              </a:gsLst>
              <a:lin ang="5400000" scaled="1"/>
            </a:gradFill>
            <a:miter lim="800000"/>
            <a:headEnd/>
            <a:tailEnd type="arrow" w="med" len="sm"/>
          </a:ln>
        </p:spPr>
        <p:txBody>
          <a:bodyPr lIns="162380" tIns="129904" rIns="162380" bIns="129904" rtlCol="0" anchor="t"/>
          <a:lstStyle/>
          <a:p>
            <a:pPr defTabSz="1074375" fontAlgn="base">
              <a:spcBef>
                <a:spcPct val="50000"/>
              </a:spcBef>
              <a:spcAft>
                <a:spcPct val="0"/>
              </a:spcAft>
              <a:buClr>
                <a:srgbClr val="F0AB00"/>
              </a:buClr>
              <a:buSzPct val="80000"/>
              <a:defRPr/>
            </a:pPr>
            <a:endParaRPr lang="en-GB" sz="1086" kern="0">
              <a:solidFill>
                <a:srgbClr val="000000"/>
              </a:solidFill>
              <a:latin typeface="72 Brand"/>
            </a:endParaRPr>
          </a:p>
        </p:txBody>
      </p:sp>
      <p:sp>
        <p:nvSpPr>
          <p:cNvPr id="27" name="Rectangle: Rounded Corners 7">
            <a:extLst>
              <a:ext uri="{FF2B5EF4-FFF2-40B4-BE49-F238E27FC236}">
                <a16:creationId xmlns:a16="http://schemas.microsoft.com/office/drawing/2014/main" id="{A1FD21BA-FD3E-1935-9E74-EB9AEA3605EA}"/>
              </a:ext>
            </a:extLst>
          </p:cNvPr>
          <p:cNvSpPr/>
          <p:nvPr/>
        </p:nvSpPr>
        <p:spPr bwMode="gray">
          <a:xfrm>
            <a:off x="989432" y="3521792"/>
            <a:ext cx="8809958" cy="1101112"/>
          </a:xfrm>
          <a:prstGeom prst="roundRect">
            <a:avLst>
              <a:gd name="adj" fmla="val 8420"/>
            </a:avLst>
          </a:prstGeom>
          <a:solidFill>
            <a:srgbClr val="0070F2"/>
          </a:solidFill>
          <a:ln w="15238" cap="flat">
            <a:noFill/>
            <a:prstDash val="solid"/>
            <a:miter/>
          </a:ln>
        </p:spPr>
        <p:txBody>
          <a:bodyPr lIns="22848" tIns="11424" rIns="22848" bIns="11424" rtlCol="0" anchor="ctr"/>
          <a:lstStyle/>
          <a:p>
            <a:pPr defTabSz="1073409">
              <a:defRPr/>
            </a:pPr>
            <a:endParaRPr lang="en-US" sz="1973">
              <a:solidFill>
                <a:srgbClr val="000000"/>
              </a:solidFill>
              <a:latin typeface="72 Brand" panose="020B0504030603020204" pitchFamily="34" charset="0"/>
            </a:endParaRPr>
          </a:p>
        </p:txBody>
      </p:sp>
      <p:sp>
        <p:nvSpPr>
          <p:cNvPr id="28" name="Rectangle: Rounded Corners 1740">
            <a:extLst>
              <a:ext uri="{FF2B5EF4-FFF2-40B4-BE49-F238E27FC236}">
                <a16:creationId xmlns:a16="http://schemas.microsoft.com/office/drawing/2014/main" id="{F19B5770-54DA-F63E-A50B-E05E6E19C47D}"/>
              </a:ext>
            </a:extLst>
          </p:cNvPr>
          <p:cNvSpPr/>
          <p:nvPr/>
        </p:nvSpPr>
        <p:spPr bwMode="gray">
          <a:xfrm>
            <a:off x="989432" y="4931588"/>
            <a:ext cx="8809958" cy="1101112"/>
          </a:xfrm>
          <a:prstGeom prst="roundRect">
            <a:avLst>
              <a:gd name="adj" fmla="val 8420"/>
            </a:avLst>
          </a:prstGeom>
          <a:gradFill flip="none" rotWithShape="1">
            <a:gsLst>
              <a:gs pos="0">
                <a:srgbClr val="A6E0FF"/>
              </a:gs>
              <a:gs pos="100000">
                <a:srgbClr val="89D1FF"/>
              </a:gs>
            </a:gsLst>
            <a:lin ang="2700000" scaled="1"/>
            <a:tileRect/>
          </a:gradFill>
          <a:ln w="15238" cap="flat">
            <a:noFill/>
            <a:prstDash val="solid"/>
            <a:miter/>
          </a:ln>
        </p:spPr>
        <p:txBody>
          <a:bodyPr lIns="81190" tIns="81190" rIns="81190" bIns="81190" rtlCol="0" anchor="t"/>
          <a:lstStyle/>
          <a:p>
            <a:pPr defTabSz="901584" fontAlgn="base">
              <a:spcAft>
                <a:spcPts val="593"/>
              </a:spcAft>
              <a:buClr>
                <a:srgbClr val="F0AB00"/>
              </a:buClr>
              <a:buSzPct val="80000"/>
              <a:defRPr/>
            </a:pPr>
            <a:endParaRPr lang="en-US" sz="1037" kern="0">
              <a:gradFill>
                <a:gsLst>
                  <a:gs pos="0">
                    <a:srgbClr val="000000"/>
                  </a:gs>
                  <a:gs pos="100000">
                    <a:srgbClr val="000000"/>
                  </a:gs>
                </a:gsLst>
              </a:gradFill>
              <a:latin typeface="72 Brand"/>
            </a:endParaRPr>
          </a:p>
        </p:txBody>
      </p:sp>
      <p:sp>
        <p:nvSpPr>
          <p:cNvPr id="29" name="Rectangle: Rounded Corners 8">
            <a:extLst>
              <a:ext uri="{FF2B5EF4-FFF2-40B4-BE49-F238E27FC236}">
                <a16:creationId xmlns:a16="http://schemas.microsoft.com/office/drawing/2014/main" id="{6410DA55-9366-3BC6-6624-FF1FCDB46100}"/>
              </a:ext>
            </a:extLst>
          </p:cNvPr>
          <p:cNvSpPr/>
          <p:nvPr/>
        </p:nvSpPr>
        <p:spPr bwMode="gray">
          <a:xfrm>
            <a:off x="1135031" y="5067347"/>
            <a:ext cx="6730373" cy="807422"/>
          </a:xfrm>
          <a:prstGeom prst="roundRect">
            <a:avLst>
              <a:gd name="adj" fmla="val 5575"/>
            </a:avLst>
          </a:prstGeom>
          <a:solidFill>
            <a:srgbClr val="FFFFFF">
              <a:alpha val="40000"/>
            </a:srgbClr>
          </a:solidFill>
          <a:ln w="15238" cap="flat">
            <a:noFill/>
            <a:prstDash val="solid"/>
            <a:miter/>
          </a:ln>
        </p:spPr>
        <p:txBody>
          <a:bodyPr lIns="81190" tIns="81190" rIns="81190" bIns="81190" rtlCol="0" anchor="t"/>
          <a:lstStyle/>
          <a:p>
            <a:pPr defTabSz="901584" fontAlgn="base">
              <a:spcAft>
                <a:spcPts val="593"/>
              </a:spcAft>
              <a:buClr>
                <a:srgbClr val="F0AB00"/>
              </a:buClr>
              <a:buSzPct val="80000"/>
              <a:defRPr/>
            </a:pPr>
            <a:endParaRPr lang="en-US" sz="1037" kern="0">
              <a:gradFill>
                <a:gsLst>
                  <a:gs pos="0">
                    <a:srgbClr val="000000"/>
                  </a:gs>
                  <a:gs pos="100000">
                    <a:srgbClr val="000000"/>
                  </a:gs>
                </a:gsLst>
              </a:gradFill>
              <a:latin typeface="72 Brand"/>
            </a:endParaRPr>
          </a:p>
        </p:txBody>
      </p:sp>
      <p:sp>
        <p:nvSpPr>
          <p:cNvPr id="30" name="Rectangle: Rounded Corners 1766">
            <a:extLst>
              <a:ext uri="{FF2B5EF4-FFF2-40B4-BE49-F238E27FC236}">
                <a16:creationId xmlns:a16="http://schemas.microsoft.com/office/drawing/2014/main" id="{90E6795E-6493-431D-71EE-D8EA2871370E}"/>
              </a:ext>
            </a:extLst>
          </p:cNvPr>
          <p:cNvSpPr/>
          <p:nvPr/>
        </p:nvSpPr>
        <p:spPr bwMode="gray">
          <a:xfrm>
            <a:off x="7979669" y="5067347"/>
            <a:ext cx="1698758" cy="807422"/>
          </a:xfrm>
          <a:prstGeom prst="roundRect">
            <a:avLst>
              <a:gd name="adj" fmla="val 5835"/>
            </a:avLst>
          </a:prstGeom>
          <a:solidFill>
            <a:srgbClr val="FBFBFB"/>
          </a:solidFill>
          <a:ln w="25400" algn="ctr">
            <a:noFill/>
            <a:miter lim="800000"/>
            <a:headEnd/>
            <a:tailEnd/>
          </a:ln>
        </p:spPr>
        <p:txBody>
          <a:bodyPr lIns="162380" tIns="129904" rIns="162380" bIns="129904" rtlCol="0" anchor="t"/>
          <a:lstStyle/>
          <a:p>
            <a:pPr defTabSz="1074375"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sp>
        <p:nvSpPr>
          <p:cNvPr id="31" name="TextBox 30">
            <a:extLst>
              <a:ext uri="{FF2B5EF4-FFF2-40B4-BE49-F238E27FC236}">
                <a16:creationId xmlns:a16="http://schemas.microsoft.com/office/drawing/2014/main" id="{BED5B0ED-E3C5-F746-16E1-E9E7AD53453C}"/>
              </a:ext>
            </a:extLst>
          </p:cNvPr>
          <p:cNvSpPr txBox="1"/>
          <p:nvPr/>
        </p:nvSpPr>
        <p:spPr>
          <a:xfrm>
            <a:off x="8099646" y="5137845"/>
            <a:ext cx="1458802" cy="344402"/>
          </a:xfrm>
          <a:prstGeom prst="rect">
            <a:avLst/>
          </a:prstGeom>
          <a:noFill/>
        </p:spPr>
        <p:txBody>
          <a:bodyPr wrap="squar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244" kern="0">
                <a:gradFill>
                  <a:gsLst>
                    <a:gs pos="0">
                      <a:srgbClr val="000000"/>
                    </a:gs>
                    <a:gs pos="100000">
                      <a:srgbClr val="000000"/>
                    </a:gs>
                  </a:gsLst>
                  <a:lin ang="5400000" scaled="1"/>
                </a:gradFill>
                <a:latin typeface="72 Brand Medium"/>
                <a:ea typeface="72 Brand" pitchFamily="34" charset="-128"/>
                <a:cs typeface="72 Brand" pitchFamily="34" charset="-128"/>
              </a:rPr>
              <a:t>Non-SAP</a:t>
            </a:r>
            <a:br>
              <a:rPr lang="en-US" sz="1244" kern="0">
                <a:gradFill>
                  <a:gsLst>
                    <a:gs pos="0">
                      <a:srgbClr val="000000"/>
                    </a:gs>
                    <a:gs pos="100000">
                      <a:srgbClr val="000000"/>
                    </a:gs>
                  </a:gsLst>
                  <a:lin ang="5400000" scaled="1"/>
                </a:gradFill>
                <a:latin typeface="72 Brand Medium"/>
                <a:ea typeface="72 Brand" pitchFamily="34" charset="-128"/>
                <a:cs typeface="72 Brand" pitchFamily="34" charset="-128"/>
              </a:rPr>
            </a:br>
            <a:r>
              <a:rPr lang="en-US" sz="1244" kern="0">
                <a:gradFill>
                  <a:gsLst>
                    <a:gs pos="0">
                      <a:srgbClr val="000000"/>
                    </a:gs>
                    <a:gs pos="100000">
                      <a:srgbClr val="000000"/>
                    </a:gs>
                  </a:gsLst>
                  <a:lin ang="5400000" scaled="1"/>
                </a:gradFill>
                <a:latin typeface="72 Brand Medium"/>
                <a:ea typeface="72 Brand" pitchFamily="34" charset="-128"/>
                <a:cs typeface="72 Brand" pitchFamily="34" charset="-128"/>
              </a:rPr>
              <a:t>applications</a:t>
            </a:r>
          </a:p>
        </p:txBody>
      </p:sp>
      <p:sp>
        <p:nvSpPr>
          <p:cNvPr id="32" name="Rectangle: Rounded Corners 189">
            <a:extLst>
              <a:ext uri="{FF2B5EF4-FFF2-40B4-BE49-F238E27FC236}">
                <a16:creationId xmlns:a16="http://schemas.microsoft.com/office/drawing/2014/main" id="{9771A69C-6D99-DBF0-F6C3-218F42D16600}"/>
              </a:ext>
            </a:extLst>
          </p:cNvPr>
          <p:cNvSpPr/>
          <p:nvPr/>
        </p:nvSpPr>
        <p:spPr bwMode="gray">
          <a:xfrm rot="5400000">
            <a:off x="3510161" y="1941270"/>
            <a:ext cx="163508" cy="3412906"/>
          </a:xfrm>
          <a:prstGeom prst="roundRect">
            <a:avLst>
              <a:gd name="adj" fmla="val 50000"/>
            </a:avLst>
          </a:prstGeom>
          <a:gradFill flip="none" rotWithShape="1">
            <a:gsLst>
              <a:gs pos="0">
                <a:srgbClr val="0070F2"/>
              </a:gs>
              <a:gs pos="100000">
                <a:srgbClr val="0070F2">
                  <a:alpha val="0"/>
                </a:srgbClr>
              </a:gs>
            </a:gsLst>
            <a:lin ang="0" scaled="1"/>
            <a:tileRect/>
          </a:gradFill>
          <a:ln w="25400" algn="ctr">
            <a:noFill/>
            <a:miter lim="800000"/>
            <a:headEnd/>
            <a:tailEnd/>
          </a:ln>
        </p:spPr>
        <p:txBody>
          <a:bodyPr lIns="162380" tIns="129904" rIns="162380" bIns="129904" rtlCol="0" anchor="t"/>
          <a:lstStyle/>
          <a:p>
            <a:pPr defTabSz="1074375"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sp>
        <p:nvSpPr>
          <p:cNvPr id="33" name="TextBox 32">
            <a:extLst>
              <a:ext uri="{FF2B5EF4-FFF2-40B4-BE49-F238E27FC236}">
                <a16:creationId xmlns:a16="http://schemas.microsoft.com/office/drawing/2014/main" id="{E0AA3653-2314-C6C4-7278-0E749ACAC368}"/>
              </a:ext>
            </a:extLst>
          </p:cNvPr>
          <p:cNvSpPr txBox="1"/>
          <p:nvPr/>
        </p:nvSpPr>
        <p:spPr>
          <a:xfrm>
            <a:off x="1266385" y="5470055"/>
            <a:ext cx="1536739" cy="276927"/>
          </a:xfrm>
          <a:prstGeom prst="rect">
            <a:avLst/>
          </a:prstGeom>
          <a:noFill/>
        </p:spPr>
        <p:txBody>
          <a:bodyPr wrap="square" lIns="0" tIns="0" rIns="0" bIns="0" rtlCol="0">
            <a:spAutoFit/>
          </a:bodyPr>
          <a:lstStyle>
            <a:defPPr>
              <a:defRPr lang="de-DE"/>
            </a:defPPr>
            <a:lvl1pPr marR="0" lvl="0" indent="0" defTabSz="3868600" fontAlgn="base">
              <a:lnSpc>
                <a:spcPct val="90000"/>
              </a:lnSpc>
              <a:spcBef>
                <a:spcPts val="0"/>
              </a:spcBef>
              <a:spcAft>
                <a:spcPct val="0"/>
              </a:spcAft>
              <a:buClr>
                <a:srgbClr val="000000"/>
              </a:buClr>
              <a:buSzPct val="100000"/>
              <a:buFontTx/>
              <a:buNone/>
              <a:tabLst/>
              <a:defRPr kumimoji="0" sz="3911" b="0" i="0" u="none" strike="noStrike" cap="none" spc="0" normalizeH="0" baseline="0">
                <a:ln>
                  <a:noFill/>
                </a:ln>
                <a:gradFill>
                  <a:gsLst>
                    <a:gs pos="0">
                      <a:srgbClr val="FFFFFF"/>
                    </a:gs>
                    <a:gs pos="100000">
                      <a:srgbClr val="FFFFFF"/>
                    </a:gs>
                  </a:gsLst>
                  <a:lin ang="2700000" scaled="1"/>
                </a:gradFill>
                <a:effectLst/>
                <a:uLnTx/>
                <a:uFillTx/>
                <a:latin typeface="72 Brand"/>
                <a:cs typeface="72"/>
              </a:defRPr>
            </a:lvl1pPr>
          </a:lstStyle>
          <a:p>
            <a:pPr defTabSz="1074053">
              <a:defRPr/>
            </a:pPr>
            <a:r>
              <a:rPr lang="en-US" sz="1000">
                <a:solidFill>
                  <a:srgbClr val="000000"/>
                </a:solidFill>
                <a:latin typeface="72 Brand" panose="020B0504030603020204" pitchFamily="34" charset="0"/>
              </a:rPr>
              <a:t>Cloud ERP and </a:t>
            </a:r>
            <a:br>
              <a:rPr lang="en-US" sz="1000">
                <a:solidFill>
                  <a:srgbClr val="000000"/>
                </a:solidFill>
                <a:latin typeface="72 Brand" panose="020B0504030603020204" pitchFamily="34" charset="0"/>
              </a:rPr>
            </a:br>
            <a:r>
              <a:rPr lang="en-US" sz="1000">
                <a:solidFill>
                  <a:srgbClr val="000000"/>
                </a:solidFill>
                <a:latin typeface="72 Brand" panose="020B0504030603020204" pitchFamily="34" charset="0"/>
              </a:rPr>
              <a:t>business applications</a:t>
            </a:r>
            <a:endParaRPr lang="en-US" sz="1000">
              <a:solidFill>
                <a:srgbClr val="000000"/>
              </a:solidFill>
            </a:endParaRPr>
          </a:p>
        </p:txBody>
      </p:sp>
      <p:sp>
        <p:nvSpPr>
          <p:cNvPr id="34" name="TextBox 33">
            <a:extLst>
              <a:ext uri="{FF2B5EF4-FFF2-40B4-BE49-F238E27FC236}">
                <a16:creationId xmlns:a16="http://schemas.microsoft.com/office/drawing/2014/main" id="{AA5C0D2D-5EA6-47C5-0BA0-2F6A5B91D662}"/>
              </a:ext>
            </a:extLst>
          </p:cNvPr>
          <p:cNvSpPr txBox="1"/>
          <p:nvPr/>
        </p:nvSpPr>
        <p:spPr>
          <a:xfrm>
            <a:off x="8089568" y="5513404"/>
            <a:ext cx="1478962" cy="276855"/>
          </a:xfrm>
          <a:prstGeom prst="rect">
            <a:avLst/>
          </a:prstGeom>
          <a:noFill/>
        </p:spPr>
        <p:txBody>
          <a:bodyPr wrap="squar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000">
                <a:gradFill>
                  <a:gsLst>
                    <a:gs pos="0">
                      <a:srgbClr val="00144A"/>
                    </a:gs>
                    <a:gs pos="100000">
                      <a:srgbClr val="00144A"/>
                    </a:gs>
                  </a:gsLst>
                  <a:lin ang="2700000" scaled="1"/>
                </a:gradFill>
                <a:latin typeface="72 Brand"/>
                <a:cs typeface="72"/>
              </a:rPr>
              <a:t>with structured and </a:t>
            </a:r>
            <a:br>
              <a:rPr lang="en-US" sz="1000">
                <a:gradFill>
                  <a:gsLst>
                    <a:gs pos="0">
                      <a:srgbClr val="00144A"/>
                    </a:gs>
                    <a:gs pos="100000">
                      <a:srgbClr val="00144A"/>
                    </a:gs>
                  </a:gsLst>
                  <a:lin ang="2700000" scaled="1"/>
                </a:gradFill>
                <a:latin typeface="72 Brand"/>
                <a:cs typeface="72"/>
              </a:rPr>
            </a:br>
            <a:r>
              <a:rPr lang="en-US" sz="1000">
                <a:gradFill>
                  <a:gsLst>
                    <a:gs pos="0">
                      <a:srgbClr val="00144A"/>
                    </a:gs>
                    <a:gs pos="100000">
                      <a:srgbClr val="00144A"/>
                    </a:gs>
                  </a:gsLst>
                  <a:lin ang="2700000" scaled="1"/>
                </a:gradFill>
                <a:latin typeface="72 Brand"/>
                <a:cs typeface="72"/>
              </a:rPr>
              <a:t>unstructured data </a:t>
            </a:r>
          </a:p>
        </p:txBody>
      </p:sp>
      <p:grpSp>
        <p:nvGrpSpPr>
          <p:cNvPr id="35" name="Group 34">
            <a:extLst>
              <a:ext uri="{FF2B5EF4-FFF2-40B4-BE49-F238E27FC236}">
                <a16:creationId xmlns:a16="http://schemas.microsoft.com/office/drawing/2014/main" id="{E0F1A54B-CF32-7FB4-75F8-6184D2B55097}"/>
              </a:ext>
            </a:extLst>
          </p:cNvPr>
          <p:cNvGrpSpPr/>
          <p:nvPr/>
        </p:nvGrpSpPr>
        <p:grpSpPr>
          <a:xfrm>
            <a:off x="3462817" y="4525633"/>
            <a:ext cx="1026536" cy="513534"/>
            <a:chOff x="-1082359" y="4902838"/>
            <a:chExt cx="1365623" cy="683142"/>
          </a:xfrm>
          <a:gradFill>
            <a:gsLst>
              <a:gs pos="35000">
                <a:srgbClr val="89D1FF"/>
              </a:gs>
              <a:gs pos="86000">
                <a:srgbClr val="A6E0FF">
                  <a:alpha val="0"/>
                </a:srgbClr>
              </a:gs>
            </a:gsLst>
            <a:lin ang="16200000" scaled="1"/>
          </a:gradFill>
        </p:grpSpPr>
        <p:sp>
          <p:nvSpPr>
            <p:cNvPr id="1198" name="Freeform: Shape 1734">
              <a:extLst>
                <a:ext uri="{FF2B5EF4-FFF2-40B4-BE49-F238E27FC236}">
                  <a16:creationId xmlns:a16="http://schemas.microsoft.com/office/drawing/2014/main" id="{47E6DB24-22F7-F2AA-127A-BD3648AFE673}"/>
                </a:ext>
              </a:extLst>
            </p:cNvPr>
            <p:cNvSpPr/>
            <p:nvPr/>
          </p:nvSpPr>
          <p:spPr>
            <a:xfrm>
              <a:off x="-1082359" y="4904705"/>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99" name="Freeform: Shape 1735">
              <a:extLst>
                <a:ext uri="{FF2B5EF4-FFF2-40B4-BE49-F238E27FC236}">
                  <a16:creationId xmlns:a16="http://schemas.microsoft.com/office/drawing/2014/main" id="{8C5BCB6E-CF78-91E3-0826-2ECA412D98C7}"/>
                </a:ext>
              </a:extLst>
            </p:cNvPr>
            <p:cNvSpPr/>
            <p:nvPr/>
          </p:nvSpPr>
          <p:spPr>
            <a:xfrm>
              <a:off x="-910535" y="4902840"/>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200" name="Freeform: Shape 1736">
              <a:extLst>
                <a:ext uri="{FF2B5EF4-FFF2-40B4-BE49-F238E27FC236}">
                  <a16:creationId xmlns:a16="http://schemas.microsoft.com/office/drawing/2014/main" id="{A11181AA-9C3F-7D2F-F2E5-74A4F91B8BC3}"/>
                </a:ext>
              </a:extLst>
            </p:cNvPr>
            <p:cNvSpPr/>
            <p:nvPr/>
          </p:nvSpPr>
          <p:spPr>
            <a:xfrm>
              <a:off x="-714186" y="4904705"/>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201" name="Freeform: Shape 1737">
              <a:extLst>
                <a:ext uri="{FF2B5EF4-FFF2-40B4-BE49-F238E27FC236}">
                  <a16:creationId xmlns:a16="http://schemas.microsoft.com/office/drawing/2014/main" id="{B58FE9D2-F4FC-5658-4D11-FD42694C5B16}"/>
                </a:ext>
              </a:extLst>
            </p:cNvPr>
            <p:cNvSpPr/>
            <p:nvPr/>
          </p:nvSpPr>
          <p:spPr>
            <a:xfrm>
              <a:off x="-530099" y="4904705"/>
              <a:ext cx="38880" cy="103950"/>
            </a:xfrm>
            <a:custGeom>
              <a:avLst/>
              <a:gdLst>
                <a:gd name="connsiteX0" fmla="*/ 26371 w 43395"/>
                <a:gd name="connsiteY0" fmla="*/ 16357 h 130188"/>
                <a:gd name="connsiteX1" fmla="*/ 26038 w 43395"/>
                <a:gd name="connsiteY1" fmla="*/ 16357 h 130188"/>
                <a:gd name="connsiteX2" fmla="*/ 3338 w 43395"/>
                <a:gd name="connsiteY2" fmla="*/ 28541 h 130188"/>
                <a:gd name="connsiteX3" fmla="*/ 0 w 43395"/>
                <a:gd name="connsiteY3" fmla="*/ 15189 h 130188"/>
                <a:gd name="connsiteX4" fmla="*/ 28374 w 43395"/>
                <a:gd name="connsiteY4" fmla="*/ 0 h 130188"/>
                <a:gd name="connsiteX5" fmla="*/ 43396 w 43395"/>
                <a:gd name="connsiteY5" fmla="*/ 0 h 130188"/>
                <a:gd name="connsiteX6" fmla="*/ 43396 w 43395"/>
                <a:gd name="connsiteY6" fmla="*/ 130188 h 130188"/>
                <a:gd name="connsiteX7" fmla="*/ 26371 w 43395"/>
                <a:gd name="connsiteY7" fmla="*/ 130188 h 130188"/>
                <a:gd name="connsiteX8" fmla="*/ 26371 w 43395"/>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5" h="130188">
                  <a:moveTo>
                    <a:pt x="26371" y="16357"/>
                  </a:moveTo>
                  <a:lnTo>
                    <a:pt x="26038" y="16357"/>
                  </a:lnTo>
                  <a:lnTo>
                    <a:pt x="3338" y="28541"/>
                  </a:lnTo>
                  <a:lnTo>
                    <a:pt x="0" y="15189"/>
                  </a:lnTo>
                  <a:lnTo>
                    <a:pt x="28374" y="0"/>
                  </a:lnTo>
                  <a:lnTo>
                    <a:pt x="43396" y="0"/>
                  </a:lnTo>
                  <a:lnTo>
                    <a:pt x="43396" y="130188"/>
                  </a:lnTo>
                  <a:lnTo>
                    <a:pt x="26371" y="130188"/>
                  </a:lnTo>
                  <a:lnTo>
                    <a:pt x="26371"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202" name="Freeform: Shape 1738">
              <a:extLst>
                <a:ext uri="{FF2B5EF4-FFF2-40B4-BE49-F238E27FC236}">
                  <a16:creationId xmlns:a16="http://schemas.microsoft.com/office/drawing/2014/main" id="{E01672F3-207F-C85E-3DA6-B269214FD63A}"/>
                </a:ext>
              </a:extLst>
            </p:cNvPr>
            <p:cNvSpPr/>
            <p:nvPr/>
          </p:nvSpPr>
          <p:spPr>
            <a:xfrm>
              <a:off x="-320141" y="4902840"/>
              <a:ext cx="79108" cy="107415"/>
            </a:xfrm>
            <a:custGeom>
              <a:avLst/>
              <a:gdLst>
                <a:gd name="connsiteX0" fmla="*/ 88295 w 88294"/>
                <a:gd name="connsiteY0" fmla="*/ 65929 h 134527"/>
                <a:gd name="connsiteX1" fmla="*/ 43063 w 88294"/>
                <a:gd name="connsiteY1" fmla="*/ 134528 h 134527"/>
                <a:gd name="connsiteX2" fmla="*/ 0 w 88294"/>
                <a:gd name="connsiteY2" fmla="*/ 67598 h 134527"/>
                <a:gd name="connsiteX3" fmla="*/ 45232 w 88294"/>
                <a:gd name="connsiteY3" fmla="*/ 0 h 134527"/>
                <a:gd name="connsiteX4" fmla="*/ 88295 w 88294"/>
                <a:gd name="connsiteY4" fmla="*/ 65929 h 134527"/>
                <a:gd name="connsiteX5" fmla="*/ 17526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693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5" y="65929"/>
                  </a:moveTo>
                  <a:cubicBezTo>
                    <a:pt x="88295" y="110159"/>
                    <a:pt x="71938" y="134528"/>
                    <a:pt x="43063" y="134528"/>
                  </a:cubicBezTo>
                  <a:cubicBezTo>
                    <a:pt x="17693" y="134528"/>
                    <a:pt x="501" y="110660"/>
                    <a:pt x="0" y="67598"/>
                  </a:cubicBezTo>
                  <a:cubicBezTo>
                    <a:pt x="0" y="24035"/>
                    <a:pt x="18861" y="0"/>
                    <a:pt x="45232" y="0"/>
                  </a:cubicBezTo>
                  <a:cubicBezTo>
                    <a:pt x="71604" y="0"/>
                    <a:pt x="88295" y="24369"/>
                    <a:pt x="88295" y="65929"/>
                  </a:cubicBezTo>
                  <a:close/>
                  <a:moveTo>
                    <a:pt x="17526" y="67932"/>
                  </a:moveTo>
                  <a:cubicBezTo>
                    <a:pt x="17526" y="101814"/>
                    <a:pt x="27874" y="121008"/>
                    <a:pt x="43897" y="121008"/>
                  </a:cubicBezTo>
                  <a:cubicBezTo>
                    <a:pt x="61923" y="121008"/>
                    <a:pt x="70602" y="99978"/>
                    <a:pt x="70602" y="66763"/>
                  </a:cubicBezTo>
                  <a:cubicBezTo>
                    <a:pt x="70602" y="33549"/>
                    <a:pt x="62424" y="13686"/>
                    <a:pt x="44231" y="13686"/>
                  </a:cubicBezTo>
                  <a:cubicBezTo>
                    <a:pt x="28875" y="13686"/>
                    <a:pt x="17693" y="32547"/>
                    <a:pt x="17693"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203" name="Freeform: Shape 1739">
              <a:extLst>
                <a:ext uri="{FF2B5EF4-FFF2-40B4-BE49-F238E27FC236}">
                  <a16:creationId xmlns:a16="http://schemas.microsoft.com/office/drawing/2014/main" id="{FD569DF0-D5AA-A066-7894-3624CB75B145}"/>
                </a:ext>
              </a:extLst>
            </p:cNvPr>
            <p:cNvSpPr/>
            <p:nvPr/>
          </p:nvSpPr>
          <p:spPr>
            <a:xfrm>
              <a:off x="-136053" y="4902840"/>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204" name="Freeform: Shape 1743">
              <a:extLst>
                <a:ext uri="{FF2B5EF4-FFF2-40B4-BE49-F238E27FC236}">
                  <a16:creationId xmlns:a16="http://schemas.microsoft.com/office/drawing/2014/main" id="{57B81322-A9FE-232B-732C-233330574755}"/>
                </a:ext>
              </a:extLst>
            </p:cNvPr>
            <p:cNvSpPr/>
            <p:nvPr/>
          </p:nvSpPr>
          <p:spPr>
            <a:xfrm>
              <a:off x="48034" y="4902838"/>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8" y="13686"/>
                  </a:cubicBezTo>
                  <a:cubicBezTo>
                    <a:pt x="29042" y="13686"/>
                    <a:pt x="17692" y="32547"/>
                    <a:pt x="17692"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205" name="Freeform: Shape 1744">
              <a:extLst>
                <a:ext uri="{FF2B5EF4-FFF2-40B4-BE49-F238E27FC236}">
                  <a16:creationId xmlns:a16="http://schemas.microsoft.com/office/drawing/2014/main" id="{403202BC-22A5-E28F-1439-6E1B3B203B91}"/>
                </a:ext>
              </a:extLst>
            </p:cNvPr>
            <p:cNvSpPr/>
            <p:nvPr/>
          </p:nvSpPr>
          <p:spPr>
            <a:xfrm>
              <a:off x="244383" y="4904703"/>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206" name="Freeform: Shape 1750">
              <a:extLst>
                <a:ext uri="{FF2B5EF4-FFF2-40B4-BE49-F238E27FC236}">
                  <a16:creationId xmlns:a16="http://schemas.microsoft.com/office/drawing/2014/main" id="{771167C1-0D0E-BB85-2D9A-3960FA32D2CB}"/>
                </a:ext>
              </a:extLst>
            </p:cNvPr>
            <p:cNvSpPr/>
            <p:nvPr/>
          </p:nvSpPr>
          <p:spPr>
            <a:xfrm>
              <a:off x="-136053" y="5094746"/>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207" name="Freeform: Shape 1751">
              <a:extLst>
                <a:ext uri="{FF2B5EF4-FFF2-40B4-BE49-F238E27FC236}">
                  <a16:creationId xmlns:a16="http://schemas.microsoft.com/office/drawing/2014/main" id="{248DB687-4DE8-643C-A7A6-42DCFBCF4FA8}"/>
                </a:ext>
              </a:extLst>
            </p:cNvPr>
            <p:cNvSpPr/>
            <p:nvPr/>
          </p:nvSpPr>
          <p:spPr>
            <a:xfrm>
              <a:off x="48034" y="5094748"/>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8" y="13686"/>
                  </a:cubicBezTo>
                  <a:cubicBezTo>
                    <a:pt x="29042" y="13686"/>
                    <a:pt x="17692" y="32547"/>
                    <a:pt x="17692"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208" name="Freeform: Shape 1752">
              <a:extLst>
                <a:ext uri="{FF2B5EF4-FFF2-40B4-BE49-F238E27FC236}">
                  <a16:creationId xmlns:a16="http://schemas.microsoft.com/office/drawing/2014/main" id="{6D09E6FD-EE84-637D-711C-8612F7B01295}"/>
                </a:ext>
              </a:extLst>
            </p:cNvPr>
            <p:cNvSpPr/>
            <p:nvPr/>
          </p:nvSpPr>
          <p:spPr>
            <a:xfrm>
              <a:off x="244383" y="5096615"/>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209" name="Freeform: Shape 1758">
              <a:extLst>
                <a:ext uri="{FF2B5EF4-FFF2-40B4-BE49-F238E27FC236}">
                  <a16:creationId xmlns:a16="http://schemas.microsoft.com/office/drawing/2014/main" id="{B92BE7D9-5FA6-2AF6-D752-176B75DC2FDB}"/>
                </a:ext>
              </a:extLst>
            </p:cNvPr>
            <p:cNvSpPr/>
            <p:nvPr/>
          </p:nvSpPr>
          <p:spPr>
            <a:xfrm>
              <a:off x="-136053" y="5286657"/>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210" name="Freeform: Shape 1759">
              <a:extLst>
                <a:ext uri="{FF2B5EF4-FFF2-40B4-BE49-F238E27FC236}">
                  <a16:creationId xmlns:a16="http://schemas.microsoft.com/office/drawing/2014/main" id="{7E1BB2A0-D90A-0703-E378-4973DDEC810D}"/>
                </a:ext>
              </a:extLst>
            </p:cNvPr>
            <p:cNvSpPr/>
            <p:nvPr/>
          </p:nvSpPr>
          <p:spPr>
            <a:xfrm>
              <a:off x="48034" y="5286654"/>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8" y="13686"/>
                  </a:cubicBezTo>
                  <a:cubicBezTo>
                    <a:pt x="29042" y="13686"/>
                    <a:pt x="17692" y="32547"/>
                    <a:pt x="17692"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211" name="Freeform: Shape 1760">
              <a:extLst>
                <a:ext uri="{FF2B5EF4-FFF2-40B4-BE49-F238E27FC236}">
                  <a16:creationId xmlns:a16="http://schemas.microsoft.com/office/drawing/2014/main" id="{5F6EE33B-B975-4EE3-9B6A-296D9E5C7544}"/>
                </a:ext>
              </a:extLst>
            </p:cNvPr>
            <p:cNvSpPr/>
            <p:nvPr/>
          </p:nvSpPr>
          <p:spPr>
            <a:xfrm>
              <a:off x="244383" y="5288519"/>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212" name="Freeform: Shape 1767">
              <a:extLst>
                <a:ext uri="{FF2B5EF4-FFF2-40B4-BE49-F238E27FC236}">
                  <a16:creationId xmlns:a16="http://schemas.microsoft.com/office/drawing/2014/main" id="{02499436-A71C-8843-686B-44614555D6E4}"/>
                </a:ext>
              </a:extLst>
            </p:cNvPr>
            <p:cNvSpPr/>
            <p:nvPr/>
          </p:nvSpPr>
          <p:spPr>
            <a:xfrm>
              <a:off x="-136053" y="5478561"/>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8"/>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213" name="Freeform: Shape 1769">
              <a:extLst>
                <a:ext uri="{FF2B5EF4-FFF2-40B4-BE49-F238E27FC236}">
                  <a16:creationId xmlns:a16="http://schemas.microsoft.com/office/drawing/2014/main" id="{9AB37D68-3141-6A1E-7F5E-5C6EE5174789}"/>
                </a:ext>
              </a:extLst>
            </p:cNvPr>
            <p:cNvSpPr/>
            <p:nvPr/>
          </p:nvSpPr>
          <p:spPr>
            <a:xfrm>
              <a:off x="48034" y="5478565"/>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8"/>
                    <a:pt x="62591" y="13686"/>
                    <a:pt x="44398" y="13686"/>
                  </a:cubicBezTo>
                  <a:cubicBezTo>
                    <a:pt x="29042" y="13686"/>
                    <a:pt x="17692" y="32547"/>
                    <a:pt x="17692"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214" name="Freeform: Shape 1770">
              <a:extLst>
                <a:ext uri="{FF2B5EF4-FFF2-40B4-BE49-F238E27FC236}">
                  <a16:creationId xmlns:a16="http://schemas.microsoft.com/office/drawing/2014/main" id="{66A80AE4-EFA1-ED9E-EF38-C9CF354514A4}"/>
                </a:ext>
              </a:extLst>
            </p:cNvPr>
            <p:cNvSpPr/>
            <p:nvPr/>
          </p:nvSpPr>
          <p:spPr>
            <a:xfrm>
              <a:off x="244383" y="5480432"/>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grpSp>
      <p:grpSp>
        <p:nvGrpSpPr>
          <p:cNvPr id="36" name="Group 35">
            <a:extLst>
              <a:ext uri="{FF2B5EF4-FFF2-40B4-BE49-F238E27FC236}">
                <a16:creationId xmlns:a16="http://schemas.microsoft.com/office/drawing/2014/main" id="{B9FC86A0-F014-45BC-1D6F-3A4B46B9C7E9}"/>
              </a:ext>
            </a:extLst>
          </p:cNvPr>
          <p:cNvGrpSpPr/>
          <p:nvPr/>
        </p:nvGrpSpPr>
        <p:grpSpPr>
          <a:xfrm>
            <a:off x="4286399" y="4527494"/>
            <a:ext cx="1176554" cy="513503"/>
            <a:chOff x="-1082359" y="4902842"/>
            <a:chExt cx="1565196" cy="683139"/>
          </a:xfrm>
          <a:gradFill>
            <a:gsLst>
              <a:gs pos="35000">
                <a:srgbClr val="89D1FF"/>
              </a:gs>
              <a:gs pos="86000">
                <a:srgbClr val="A6E0FF">
                  <a:alpha val="0"/>
                </a:srgbClr>
              </a:gs>
            </a:gsLst>
            <a:lin ang="16200000" scaled="1"/>
          </a:gradFill>
        </p:grpSpPr>
        <p:sp>
          <p:nvSpPr>
            <p:cNvPr id="1181" name="Freeform: Shape 1734">
              <a:extLst>
                <a:ext uri="{FF2B5EF4-FFF2-40B4-BE49-F238E27FC236}">
                  <a16:creationId xmlns:a16="http://schemas.microsoft.com/office/drawing/2014/main" id="{C9805115-7733-347D-076B-B66F4A998757}"/>
                </a:ext>
              </a:extLst>
            </p:cNvPr>
            <p:cNvSpPr/>
            <p:nvPr/>
          </p:nvSpPr>
          <p:spPr>
            <a:xfrm>
              <a:off x="-1082359" y="490470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82" name="Freeform: Shape 1735">
              <a:extLst>
                <a:ext uri="{FF2B5EF4-FFF2-40B4-BE49-F238E27FC236}">
                  <a16:creationId xmlns:a16="http://schemas.microsoft.com/office/drawing/2014/main" id="{5E188A4D-2244-7EF6-FE91-92D229E4FD4D}"/>
                </a:ext>
              </a:extLst>
            </p:cNvPr>
            <p:cNvSpPr/>
            <p:nvPr/>
          </p:nvSpPr>
          <p:spPr>
            <a:xfrm>
              <a:off x="-910535" y="4902842"/>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83" name="Freeform: Shape 1736">
              <a:extLst>
                <a:ext uri="{FF2B5EF4-FFF2-40B4-BE49-F238E27FC236}">
                  <a16:creationId xmlns:a16="http://schemas.microsoft.com/office/drawing/2014/main" id="{C2A36E3D-10D8-A4CF-1999-B89B5D3F1788}"/>
                </a:ext>
              </a:extLst>
            </p:cNvPr>
            <p:cNvSpPr/>
            <p:nvPr/>
          </p:nvSpPr>
          <p:spPr>
            <a:xfrm>
              <a:off x="-714186" y="490470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84" name="Freeform: Shape 1737">
              <a:extLst>
                <a:ext uri="{FF2B5EF4-FFF2-40B4-BE49-F238E27FC236}">
                  <a16:creationId xmlns:a16="http://schemas.microsoft.com/office/drawing/2014/main" id="{759DCAEF-F050-4FBD-7231-F02675A8C2BB}"/>
                </a:ext>
              </a:extLst>
            </p:cNvPr>
            <p:cNvSpPr/>
            <p:nvPr/>
          </p:nvSpPr>
          <p:spPr>
            <a:xfrm>
              <a:off x="-530099" y="4904707"/>
              <a:ext cx="38880" cy="103950"/>
            </a:xfrm>
            <a:custGeom>
              <a:avLst/>
              <a:gdLst>
                <a:gd name="connsiteX0" fmla="*/ 26371 w 43395"/>
                <a:gd name="connsiteY0" fmla="*/ 16357 h 130188"/>
                <a:gd name="connsiteX1" fmla="*/ 26038 w 43395"/>
                <a:gd name="connsiteY1" fmla="*/ 16357 h 130188"/>
                <a:gd name="connsiteX2" fmla="*/ 3338 w 43395"/>
                <a:gd name="connsiteY2" fmla="*/ 28541 h 130188"/>
                <a:gd name="connsiteX3" fmla="*/ 0 w 43395"/>
                <a:gd name="connsiteY3" fmla="*/ 15189 h 130188"/>
                <a:gd name="connsiteX4" fmla="*/ 28374 w 43395"/>
                <a:gd name="connsiteY4" fmla="*/ 0 h 130188"/>
                <a:gd name="connsiteX5" fmla="*/ 43396 w 43395"/>
                <a:gd name="connsiteY5" fmla="*/ 0 h 130188"/>
                <a:gd name="connsiteX6" fmla="*/ 43396 w 43395"/>
                <a:gd name="connsiteY6" fmla="*/ 130188 h 130188"/>
                <a:gd name="connsiteX7" fmla="*/ 26371 w 43395"/>
                <a:gd name="connsiteY7" fmla="*/ 130188 h 130188"/>
                <a:gd name="connsiteX8" fmla="*/ 26371 w 43395"/>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5" h="130188">
                  <a:moveTo>
                    <a:pt x="26371" y="16357"/>
                  </a:moveTo>
                  <a:lnTo>
                    <a:pt x="26038" y="16357"/>
                  </a:lnTo>
                  <a:lnTo>
                    <a:pt x="3338" y="28541"/>
                  </a:lnTo>
                  <a:lnTo>
                    <a:pt x="0" y="15189"/>
                  </a:lnTo>
                  <a:lnTo>
                    <a:pt x="28374" y="0"/>
                  </a:lnTo>
                  <a:lnTo>
                    <a:pt x="43396" y="0"/>
                  </a:lnTo>
                  <a:lnTo>
                    <a:pt x="43396" y="130188"/>
                  </a:lnTo>
                  <a:lnTo>
                    <a:pt x="26371" y="130188"/>
                  </a:lnTo>
                  <a:lnTo>
                    <a:pt x="26371"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85" name="Freeform: Shape 1738">
              <a:extLst>
                <a:ext uri="{FF2B5EF4-FFF2-40B4-BE49-F238E27FC236}">
                  <a16:creationId xmlns:a16="http://schemas.microsoft.com/office/drawing/2014/main" id="{DEF3C9D4-BB54-4AAE-AC83-C0B542EAB9A9}"/>
                </a:ext>
              </a:extLst>
            </p:cNvPr>
            <p:cNvSpPr/>
            <p:nvPr/>
          </p:nvSpPr>
          <p:spPr>
            <a:xfrm>
              <a:off x="-320141" y="4902842"/>
              <a:ext cx="79108" cy="107415"/>
            </a:xfrm>
            <a:custGeom>
              <a:avLst/>
              <a:gdLst>
                <a:gd name="connsiteX0" fmla="*/ 88295 w 88294"/>
                <a:gd name="connsiteY0" fmla="*/ 65929 h 134527"/>
                <a:gd name="connsiteX1" fmla="*/ 43063 w 88294"/>
                <a:gd name="connsiteY1" fmla="*/ 134528 h 134527"/>
                <a:gd name="connsiteX2" fmla="*/ 0 w 88294"/>
                <a:gd name="connsiteY2" fmla="*/ 67598 h 134527"/>
                <a:gd name="connsiteX3" fmla="*/ 45232 w 88294"/>
                <a:gd name="connsiteY3" fmla="*/ 0 h 134527"/>
                <a:gd name="connsiteX4" fmla="*/ 88295 w 88294"/>
                <a:gd name="connsiteY4" fmla="*/ 65929 h 134527"/>
                <a:gd name="connsiteX5" fmla="*/ 17526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693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5" y="65929"/>
                  </a:moveTo>
                  <a:cubicBezTo>
                    <a:pt x="88295" y="110159"/>
                    <a:pt x="71938" y="134528"/>
                    <a:pt x="43063" y="134528"/>
                  </a:cubicBezTo>
                  <a:cubicBezTo>
                    <a:pt x="17693" y="134528"/>
                    <a:pt x="501" y="110660"/>
                    <a:pt x="0" y="67598"/>
                  </a:cubicBezTo>
                  <a:cubicBezTo>
                    <a:pt x="0" y="24035"/>
                    <a:pt x="18861" y="0"/>
                    <a:pt x="45232" y="0"/>
                  </a:cubicBezTo>
                  <a:cubicBezTo>
                    <a:pt x="71604" y="0"/>
                    <a:pt x="88295" y="24369"/>
                    <a:pt x="88295" y="65929"/>
                  </a:cubicBezTo>
                  <a:close/>
                  <a:moveTo>
                    <a:pt x="17526" y="67932"/>
                  </a:moveTo>
                  <a:cubicBezTo>
                    <a:pt x="17526" y="101814"/>
                    <a:pt x="27874" y="121008"/>
                    <a:pt x="43897" y="121008"/>
                  </a:cubicBezTo>
                  <a:cubicBezTo>
                    <a:pt x="61923" y="121008"/>
                    <a:pt x="70602" y="99978"/>
                    <a:pt x="70602" y="66763"/>
                  </a:cubicBezTo>
                  <a:cubicBezTo>
                    <a:pt x="70602" y="33549"/>
                    <a:pt x="62424" y="13686"/>
                    <a:pt x="44231" y="13686"/>
                  </a:cubicBezTo>
                  <a:cubicBezTo>
                    <a:pt x="28875" y="13686"/>
                    <a:pt x="17693" y="32547"/>
                    <a:pt x="17693"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86" name="Freeform: Shape 1739">
              <a:extLst>
                <a:ext uri="{FF2B5EF4-FFF2-40B4-BE49-F238E27FC236}">
                  <a16:creationId xmlns:a16="http://schemas.microsoft.com/office/drawing/2014/main" id="{F9CC483C-CA46-3B57-62EE-8567109B4808}"/>
                </a:ext>
              </a:extLst>
            </p:cNvPr>
            <p:cNvSpPr/>
            <p:nvPr/>
          </p:nvSpPr>
          <p:spPr>
            <a:xfrm>
              <a:off x="-136053" y="4902842"/>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87" name="Freeform: Shape 1743">
              <a:extLst>
                <a:ext uri="{FF2B5EF4-FFF2-40B4-BE49-F238E27FC236}">
                  <a16:creationId xmlns:a16="http://schemas.microsoft.com/office/drawing/2014/main" id="{52B70B45-841D-8D79-74C5-43DF91CB1A60}"/>
                </a:ext>
              </a:extLst>
            </p:cNvPr>
            <p:cNvSpPr/>
            <p:nvPr/>
          </p:nvSpPr>
          <p:spPr>
            <a:xfrm>
              <a:off x="48034" y="4902842"/>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8" y="13686"/>
                  </a:cubicBezTo>
                  <a:cubicBezTo>
                    <a:pt x="29042" y="13686"/>
                    <a:pt x="17692" y="32547"/>
                    <a:pt x="17692"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88" name="Freeform: Shape 1744">
              <a:extLst>
                <a:ext uri="{FF2B5EF4-FFF2-40B4-BE49-F238E27FC236}">
                  <a16:creationId xmlns:a16="http://schemas.microsoft.com/office/drawing/2014/main" id="{7BA8ABE3-64B5-07EE-0D9E-D607D70CA845}"/>
                </a:ext>
              </a:extLst>
            </p:cNvPr>
            <p:cNvSpPr/>
            <p:nvPr/>
          </p:nvSpPr>
          <p:spPr>
            <a:xfrm>
              <a:off x="244383" y="490470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89" name="Freeform: Shape 1751">
              <a:extLst>
                <a:ext uri="{FF2B5EF4-FFF2-40B4-BE49-F238E27FC236}">
                  <a16:creationId xmlns:a16="http://schemas.microsoft.com/office/drawing/2014/main" id="{FE0BE5F4-A924-3760-931C-BD7EAF467F89}"/>
                </a:ext>
              </a:extLst>
            </p:cNvPr>
            <p:cNvSpPr/>
            <p:nvPr/>
          </p:nvSpPr>
          <p:spPr>
            <a:xfrm>
              <a:off x="48034" y="5094750"/>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8" y="13686"/>
                  </a:cubicBezTo>
                  <a:cubicBezTo>
                    <a:pt x="29042" y="13686"/>
                    <a:pt x="17692" y="32547"/>
                    <a:pt x="17692"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90" name="Freeform: Shape 1752">
              <a:extLst>
                <a:ext uri="{FF2B5EF4-FFF2-40B4-BE49-F238E27FC236}">
                  <a16:creationId xmlns:a16="http://schemas.microsoft.com/office/drawing/2014/main" id="{0CBE67A4-B184-CB9F-519D-B3E77BE3A8B4}"/>
                </a:ext>
              </a:extLst>
            </p:cNvPr>
            <p:cNvSpPr/>
            <p:nvPr/>
          </p:nvSpPr>
          <p:spPr>
            <a:xfrm>
              <a:off x="244383" y="5096616"/>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91" name="Freeform: Shape 1759">
              <a:extLst>
                <a:ext uri="{FF2B5EF4-FFF2-40B4-BE49-F238E27FC236}">
                  <a16:creationId xmlns:a16="http://schemas.microsoft.com/office/drawing/2014/main" id="{EA80E09C-B5EF-1DBF-FD7F-49EDEC7E792B}"/>
                </a:ext>
              </a:extLst>
            </p:cNvPr>
            <p:cNvSpPr/>
            <p:nvPr/>
          </p:nvSpPr>
          <p:spPr>
            <a:xfrm>
              <a:off x="48034" y="5286658"/>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8" y="13686"/>
                  </a:cubicBezTo>
                  <a:cubicBezTo>
                    <a:pt x="29042" y="13686"/>
                    <a:pt x="17692" y="32547"/>
                    <a:pt x="17692"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92" name="Freeform: Shape 1760">
              <a:extLst>
                <a:ext uri="{FF2B5EF4-FFF2-40B4-BE49-F238E27FC236}">
                  <a16:creationId xmlns:a16="http://schemas.microsoft.com/office/drawing/2014/main" id="{BED7954A-D47F-068D-4A78-552FC071F7BA}"/>
                </a:ext>
              </a:extLst>
            </p:cNvPr>
            <p:cNvSpPr/>
            <p:nvPr/>
          </p:nvSpPr>
          <p:spPr>
            <a:xfrm>
              <a:off x="244383" y="5288523"/>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93" name="Freeform: Shape 1769">
              <a:extLst>
                <a:ext uri="{FF2B5EF4-FFF2-40B4-BE49-F238E27FC236}">
                  <a16:creationId xmlns:a16="http://schemas.microsoft.com/office/drawing/2014/main" id="{E82A9157-62EE-2C7F-7F69-5CF2C88796FE}"/>
                </a:ext>
              </a:extLst>
            </p:cNvPr>
            <p:cNvSpPr/>
            <p:nvPr/>
          </p:nvSpPr>
          <p:spPr>
            <a:xfrm>
              <a:off x="48034" y="5478566"/>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8"/>
                    <a:pt x="62591" y="13686"/>
                    <a:pt x="44398" y="13686"/>
                  </a:cubicBezTo>
                  <a:cubicBezTo>
                    <a:pt x="29042" y="13686"/>
                    <a:pt x="17692" y="32547"/>
                    <a:pt x="17692"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94" name="Freeform: Shape 1770">
              <a:extLst>
                <a:ext uri="{FF2B5EF4-FFF2-40B4-BE49-F238E27FC236}">
                  <a16:creationId xmlns:a16="http://schemas.microsoft.com/office/drawing/2014/main" id="{BDA3471F-E24B-D3BC-A5A3-806407437D8F}"/>
                </a:ext>
              </a:extLst>
            </p:cNvPr>
            <p:cNvSpPr/>
            <p:nvPr/>
          </p:nvSpPr>
          <p:spPr>
            <a:xfrm>
              <a:off x="244383" y="5480432"/>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95" name="Freeform: Shape 1750">
              <a:extLst>
                <a:ext uri="{FF2B5EF4-FFF2-40B4-BE49-F238E27FC236}">
                  <a16:creationId xmlns:a16="http://schemas.microsoft.com/office/drawing/2014/main" id="{A3EB5C80-8C53-0C42-DA85-B2F3CDFDCD1E}"/>
                </a:ext>
              </a:extLst>
            </p:cNvPr>
            <p:cNvSpPr/>
            <p:nvPr/>
          </p:nvSpPr>
          <p:spPr>
            <a:xfrm>
              <a:off x="403730" y="5094750"/>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96" name="Freeform: Shape 1758">
              <a:extLst>
                <a:ext uri="{FF2B5EF4-FFF2-40B4-BE49-F238E27FC236}">
                  <a16:creationId xmlns:a16="http://schemas.microsoft.com/office/drawing/2014/main" id="{7EAB2C2D-8F5F-2C85-931B-AA3C33FE3CF3}"/>
                </a:ext>
              </a:extLst>
            </p:cNvPr>
            <p:cNvSpPr/>
            <p:nvPr/>
          </p:nvSpPr>
          <p:spPr>
            <a:xfrm>
              <a:off x="403730" y="5286658"/>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97" name="Freeform: Shape 1767">
              <a:extLst>
                <a:ext uri="{FF2B5EF4-FFF2-40B4-BE49-F238E27FC236}">
                  <a16:creationId xmlns:a16="http://schemas.microsoft.com/office/drawing/2014/main" id="{132EE0FD-5BDE-0628-1702-C318642999F7}"/>
                </a:ext>
              </a:extLst>
            </p:cNvPr>
            <p:cNvSpPr/>
            <p:nvPr/>
          </p:nvSpPr>
          <p:spPr>
            <a:xfrm>
              <a:off x="403730" y="5478566"/>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8"/>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grpSp>
      <p:grpSp>
        <p:nvGrpSpPr>
          <p:cNvPr id="37" name="Group 36">
            <a:extLst>
              <a:ext uri="{FF2B5EF4-FFF2-40B4-BE49-F238E27FC236}">
                <a16:creationId xmlns:a16="http://schemas.microsoft.com/office/drawing/2014/main" id="{984CBB0E-F5CD-0655-A1D6-18442BB082D8}"/>
              </a:ext>
            </a:extLst>
          </p:cNvPr>
          <p:cNvGrpSpPr/>
          <p:nvPr/>
        </p:nvGrpSpPr>
        <p:grpSpPr>
          <a:xfrm>
            <a:off x="7081189" y="4539028"/>
            <a:ext cx="1026536" cy="513503"/>
            <a:chOff x="-1082359" y="4902842"/>
            <a:chExt cx="1365623" cy="683139"/>
          </a:xfrm>
          <a:gradFill>
            <a:gsLst>
              <a:gs pos="35000">
                <a:srgbClr val="89D1FF"/>
              </a:gs>
              <a:gs pos="85000">
                <a:srgbClr val="A6E0FF">
                  <a:alpha val="0"/>
                </a:srgbClr>
              </a:gs>
            </a:gsLst>
            <a:lin ang="16200000" scaled="1"/>
          </a:gradFill>
        </p:grpSpPr>
        <p:sp>
          <p:nvSpPr>
            <p:cNvPr id="2029" name="Freeform: Shape 1734">
              <a:extLst>
                <a:ext uri="{FF2B5EF4-FFF2-40B4-BE49-F238E27FC236}">
                  <a16:creationId xmlns:a16="http://schemas.microsoft.com/office/drawing/2014/main" id="{A05EE235-DF1C-D391-4705-1FE3978F0E55}"/>
                </a:ext>
              </a:extLst>
            </p:cNvPr>
            <p:cNvSpPr/>
            <p:nvPr/>
          </p:nvSpPr>
          <p:spPr>
            <a:xfrm>
              <a:off x="-1082359" y="490470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2030" name="Freeform: Shape 1735">
              <a:extLst>
                <a:ext uri="{FF2B5EF4-FFF2-40B4-BE49-F238E27FC236}">
                  <a16:creationId xmlns:a16="http://schemas.microsoft.com/office/drawing/2014/main" id="{F42EF2CD-0C41-2F5A-FA3C-276B0CE4D4F8}"/>
                </a:ext>
              </a:extLst>
            </p:cNvPr>
            <p:cNvSpPr/>
            <p:nvPr/>
          </p:nvSpPr>
          <p:spPr>
            <a:xfrm>
              <a:off x="-910535" y="4902842"/>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2031" name="Freeform: Shape 1736">
              <a:extLst>
                <a:ext uri="{FF2B5EF4-FFF2-40B4-BE49-F238E27FC236}">
                  <a16:creationId xmlns:a16="http://schemas.microsoft.com/office/drawing/2014/main" id="{948C2E99-7950-AAE9-98C8-5274ABE34D78}"/>
                </a:ext>
              </a:extLst>
            </p:cNvPr>
            <p:cNvSpPr/>
            <p:nvPr/>
          </p:nvSpPr>
          <p:spPr>
            <a:xfrm>
              <a:off x="-714186" y="490470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66" name="Freeform: Shape 1737">
              <a:extLst>
                <a:ext uri="{FF2B5EF4-FFF2-40B4-BE49-F238E27FC236}">
                  <a16:creationId xmlns:a16="http://schemas.microsoft.com/office/drawing/2014/main" id="{1A2CA35B-5EE6-28BD-C3C0-945C6C4467F8}"/>
                </a:ext>
              </a:extLst>
            </p:cNvPr>
            <p:cNvSpPr/>
            <p:nvPr/>
          </p:nvSpPr>
          <p:spPr>
            <a:xfrm>
              <a:off x="-530099" y="4904707"/>
              <a:ext cx="38880" cy="103950"/>
            </a:xfrm>
            <a:custGeom>
              <a:avLst/>
              <a:gdLst>
                <a:gd name="connsiteX0" fmla="*/ 26371 w 43395"/>
                <a:gd name="connsiteY0" fmla="*/ 16357 h 130188"/>
                <a:gd name="connsiteX1" fmla="*/ 26038 w 43395"/>
                <a:gd name="connsiteY1" fmla="*/ 16357 h 130188"/>
                <a:gd name="connsiteX2" fmla="*/ 3338 w 43395"/>
                <a:gd name="connsiteY2" fmla="*/ 28541 h 130188"/>
                <a:gd name="connsiteX3" fmla="*/ 0 w 43395"/>
                <a:gd name="connsiteY3" fmla="*/ 15189 h 130188"/>
                <a:gd name="connsiteX4" fmla="*/ 28374 w 43395"/>
                <a:gd name="connsiteY4" fmla="*/ 0 h 130188"/>
                <a:gd name="connsiteX5" fmla="*/ 43396 w 43395"/>
                <a:gd name="connsiteY5" fmla="*/ 0 h 130188"/>
                <a:gd name="connsiteX6" fmla="*/ 43396 w 43395"/>
                <a:gd name="connsiteY6" fmla="*/ 130188 h 130188"/>
                <a:gd name="connsiteX7" fmla="*/ 26371 w 43395"/>
                <a:gd name="connsiteY7" fmla="*/ 130188 h 130188"/>
                <a:gd name="connsiteX8" fmla="*/ 26371 w 43395"/>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5" h="130188">
                  <a:moveTo>
                    <a:pt x="26371" y="16357"/>
                  </a:moveTo>
                  <a:lnTo>
                    <a:pt x="26038" y="16357"/>
                  </a:lnTo>
                  <a:lnTo>
                    <a:pt x="3338" y="28541"/>
                  </a:lnTo>
                  <a:lnTo>
                    <a:pt x="0" y="15189"/>
                  </a:lnTo>
                  <a:lnTo>
                    <a:pt x="28374" y="0"/>
                  </a:lnTo>
                  <a:lnTo>
                    <a:pt x="43396" y="0"/>
                  </a:lnTo>
                  <a:lnTo>
                    <a:pt x="43396" y="130188"/>
                  </a:lnTo>
                  <a:lnTo>
                    <a:pt x="26371" y="130188"/>
                  </a:lnTo>
                  <a:lnTo>
                    <a:pt x="26371"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68" name="Freeform: Shape 1738">
              <a:extLst>
                <a:ext uri="{FF2B5EF4-FFF2-40B4-BE49-F238E27FC236}">
                  <a16:creationId xmlns:a16="http://schemas.microsoft.com/office/drawing/2014/main" id="{F910621E-F6B3-47BF-90F5-00B15D539C77}"/>
                </a:ext>
              </a:extLst>
            </p:cNvPr>
            <p:cNvSpPr/>
            <p:nvPr/>
          </p:nvSpPr>
          <p:spPr>
            <a:xfrm>
              <a:off x="-320141" y="4902842"/>
              <a:ext cx="79108" cy="107415"/>
            </a:xfrm>
            <a:custGeom>
              <a:avLst/>
              <a:gdLst>
                <a:gd name="connsiteX0" fmla="*/ 88295 w 88294"/>
                <a:gd name="connsiteY0" fmla="*/ 65929 h 134527"/>
                <a:gd name="connsiteX1" fmla="*/ 43063 w 88294"/>
                <a:gd name="connsiteY1" fmla="*/ 134528 h 134527"/>
                <a:gd name="connsiteX2" fmla="*/ 0 w 88294"/>
                <a:gd name="connsiteY2" fmla="*/ 67598 h 134527"/>
                <a:gd name="connsiteX3" fmla="*/ 45232 w 88294"/>
                <a:gd name="connsiteY3" fmla="*/ 0 h 134527"/>
                <a:gd name="connsiteX4" fmla="*/ 88295 w 88294"/>
                <a:gd name="connsiteY4" fmla="*/ 65929 h 134527"/>
                <a:gd name="connsiteX5" fmla="*/ 17526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693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5" y="65929"/>
                  </a:moveTo>
                  <a:cubicBezTo>
                    <a:pt x="88295" y="110159"/>
                    <a:pt x="71938" y="134528"/>
                    <a:pt x="43063" y="134528"/>
                  </a:cubicBezTo>
                  <a:cubicBezTo>
                    <a:pt x="17693" y="134528"/>
                    <a:pt x="501" y="110660"/>
                    <a:pt x="0" y="67598"/>
                  </a:cubicBezTo>
                  <a:cubicBezTo>
                    <a:pt x="0" y="24035"/>
                    <a:pt x="18861" y="0"/>
                    <a:pt x="45232" y="0"/>
                  </a:cubicBezTo>
                  <a:cubicBezTo>
                    <a:pt x="71604" y="0"/>
                    <a:pt x="88295" y="24369"/>
                    <a:pt x="88295" y="65929"/>
                  </a:cubicBezTo>
                  <a:close/>
                  <a:moveTo>
                    <a:pt x="17526" y="67932"/>
                  </a:moveTo>
                  <a:cubicBezTo>
                    <a:pt x="17526" y="101814"/>
                    <a:pt x="27874" y="121008"/>
                    <a:pt x="43897" y="121008"/>
                  </a:cubicBezTo>
                  <a:cubicBezTo>
                    <a:pt x="61923" y="121008"/>
                    <a:pt x="70602" y="99978"/>
                    <a:pt x="70602" y="66763"/>
                  </a:cubicBezTo>
                  <a:cubicBezTo>
                    <a:pt x="70602" y="33549"/>
                    <a:pt x="62424" y="13686"/>
                    <a:pt x="44231" y="13686"/>
                  </a:cubicBezTo>
                  <a:cubicBezTo>
                    <a:pt x="28875" y="13686"/>
                    <a:pt x="17693" y="32547"/>
                    <a:pt x="17693"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69" name="Freeform: Shape 1739">
              <a:extLst>
                <a:ext uri="{FF2B5EF4-FFF2-40B4-BE49-F238E27FC236}">
                  <a16:creationId xmlns:a16="http://schemas.microsoft.com/office/drawing/2014/main" id="{BD11EB8A-4627-4487-54E0-855CEF57741F}"/>
                </a:ext>
              </a:extLst>
            </p:cNvPr>
            <p:cNvSpPr/>
            <p:nvPr/>
          </p:nvSpPr>
          <p:spPr>
            <a:xfrm>
              <a:off x="-136053" y="4902842"/>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70" name="Freeform: Shape 1743">
              <a:extLst>
                <a:ext uri="{FF2B5EF4-FFF2-40B4-BE49-F238E27FC236}">
                  <a16:creationId xmlns:a16="http://schemas.microsoft.com/office/drawing/2014/main" id="{814A1491-EE81-EBB0-CDDA-7D9405A11A5F}"/>
                </a:ext>
              </a:extLst>
            </p:cNvPr>
            <p:cNvSpPr/>
            <p:nvPr/>
          </p:nvSpPr>
          <p:spPr>
            <a:xfrm>
              <a:off x="48034" y="4902842"/>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8" y="13686"/>
                  </a:cubicBezTo>
                  <a:cubicBezTo>
                    <a:pt x="29042" y="13686"/>
                    <a:pt x="17692" y="32547"/>
                    <a:pt x="17692"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71" name="Freeform: Shape 1744">
              <a:extLst>
                <a:ext uri="{FF2B5EF4-FFF2-40B4-BE49-F238E27FC236}">
                  <a16:creationId xmlns:a16="http://schemas.microsoft.com/office/drawing/2014/main" id="{C07F9A2B-062E-E6F3-C706-844FFAE2A43A}"/>
                </a:ext>
              </a:extLst>
            </p:cNvPr>
            <p:cNvSpPr/>
            <p:nvPr/>
          </p:nvSpPr>
          <p:spPr>
            <a:xfrm>
              <a:off x="244383" y="490470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72" name="Freeform: Shape 1745">
              <a:extLst>
                <a:ext uri="{FF2B5EF4-FFF2-40B4-BE49-F238E27FC236}">
                  <a16:creationId xmlns:a16="http://schemas.microsoft.com/office/drawing/2014/main" id="{007D6C53-6A7B-F5D9-DD05-4BA9F20298B1}"/>
                </a:ext>
              </a:extLst>
            </p:cNvPr>
            <p:cNvSpPr/>
            <p:nvPr/>
          </p:nvSpPr>
          <p:spPr>
            <a:xfrm>
              <a:off x="-1082359" y="5096616"/>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73" name="Freeform: Shape 1746">
              <a:extLst>
                <a:ext uri="{FF2B5EF4-FFF2-40B4-BE49-F238E27FC236}">
                  <a16:creationId xmlns:a16="http://schemas.microsoft.com/office/drawing/2014/main" id="{D8786500-1FED-84A9-EFFE-4BCC907CE397}"/>
                </a:ext>
              </a:extLst>
            </p:cNvPr>
            <p:cNvSpPr/>
            <p:nvPr/>
          </p:nvSpPr>
          <p:spPr>
            <a:xfrm>
              <a:off x="-910535" y="5094750"/>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74" name="Freeform: Shape 1747">
              <a:extLst>
                <a:ext uri="{FF2B5EF4-FFF2-40B4-BE49-F238E27FC236}">
                  <a16:creationId xmlns:a16="http://schemas.microsoft.com/office/drawing/2014/main" id="{6D95DA3D-0457-60FE-308E-DCFDF5473CA8}"/>
                </a:ext>
              </a:extLst>
            </p:cNvPr>
            <p:cNvSpPr/>
            <p:nvPr/>
          </p:nvSpPr>
          <p:spPr>
            <a:xfrm>
              <a:off x="-714186" y="5096616"/>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75" name="Freeform: Shape 1753">
              <a:extLst>
                <a:ext uri="{FF2B5EF4-FFF2-40B4-BE49-F238E27FC236}">
                  <a16:creationId xmlns:a16="http://schemas.microsoft.com/office/drawing/2014/main" id="{774D0FD2-EB88-8204-D89C-E4161182FA39}"/>
                </a:ext>
              </a:extLst>
            </p:cNvPr>
            <p:cNvSpPr/>
            <p:nvPr/>
          </p:nvSpPr>
          <p:spPr>
            <a:xfrm>
              <a:off x="-1082359" y="5288523"/>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76" name="Freeform: Shape 1754">
              <a:extLst>
                <a:ext uri="{FF2B5EF4-FFF2-40B4-BE49-F238E27FC236}">
                  <a16:creationId xmlns:a16="http://schemas.microsoft.com/office/drawing/2014/main" id="{918A5B10-2E20-45DA-8C50-15598F9E3EBF}"/>
                </a:ext>
              </a:extLst>
            </p:cNvPr>
            <p:cNvSpPr/>
            <p:nvPr/>
          </p:nvSpPr>
          <p:spPr>
            <a:xfrm>
              <a:off x="-910535" y="5286658"/>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77" name="Freeform: Shape 1755">
              <a:extLst>
                <a:ext uri="{FF2B5EF4-FFF2-40B4-BE49-F238E27FC236}">
                  <a16:creationId xmlns:a16="http://schemas.microsoft.com/office/drawing/2014/main" id="{47954D83-D045-5C4A-45BC-C076E9382E9B}"/>
                </a:ext>
              </a:extLst>
            </p:cNvPr>
            <p:cNvSpPr/>
            <p:nvPr/>
          </p:nvSpPr>
          <p:spPr>
            <a:xfrm>
              <a:off x="-714186" y="5288523"/>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78" name="Freeform: Shape 1761">
              <a:extLst>
                <a:ext uri="{FF2B5EF4-FFF2-40B4-BE49-F238E27FC236}">
                  <a16:creationId xmlns:a16="http://schemas.microsoft.com/office/drawing/2014/main" id="{896855A4-5F16-4853-7AC2-727FB0EC60E9}"/>
                </a:ext>
              </a:extLst>
            </p:cNvPr>
            <p:cNvSpPr/>
            <p:nvPr/>
          </p:nvSpPr>
          <p:spPr>
            <a:xfrm>
              <a:off x="-1082359" y="5480432"/>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79" name="Freeform: Shape 1762">
              <a:extLst>
                <a:ext uri="{FF2B5EF4-FFF2-40B4-BE49-F238E27FC236}">
                  <a16:creationId xmlns:a16="http://schemas.microsoft.com/office/drawing/2014/main" id="{B85936B9-06A4-11DA-A5E1-89A56E4DF1F4}"/>
                </a:ext>
              </a:extLst>
            </p:cNvPr>
            <p:cNvSpPr/>
            <p:nvPr/>
          </p:nvSpPr>
          <p:spPr>
            <a:xfrm>
              <a:off x="-910535" y="5478566"/>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8"/>
                    <a:pt x="62423" y="13686"/>
                    <a:pt x="44231" y="13686"/>
                  </a:cubicBezTo>
                  <a:cubicBezTo>
                    <a:pt x="28875" y="13686"/>
                    <a:pt x="17525" y="32547"/>
                    <a:pt x="17525"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180" name="Freeform: Shape 1763">
              <a:extLst>
                <a:ext uri="{FF2B5EF4-FFF2-40B4-BE49-F238E27FC236}">
                  <a16:creationId xmlns:a16="http://schemas.microsoft.com/office/drawing/2014/main" id="{584F8855-DD80-9BD8-4DC6-103F09A3E4F4}"/>
                </a:ext>
              </a:extLst>
            </p:cNvPr>
            <p:cNvSpPr/>
            <p:nvPr/>
          </p:nvSpPr>
          <p:spPr>
            <a:xfrm>
              <a:off x="-714186" y="5480432"/>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grpSp>
      <p:grpSp>
        <p:nvGrpSpPr>
          <p:cNvPr id="38" name="Group 37">
            <a:extLst>
              <a:ext uri="{FF2B5EF4-FFF2-40B4-BE49-F238E27FC236}">
                <a16:creationId xmlns:a16="http://schemas.microsoft.com/office/drawing/2014/main" id="{1EC07D32-5F63-76E7-A8FD-63EED2A70255}"/>
              </a:ext>
            </a:extLst>
          </p:cNvPr>
          <p:cNvGrpSpPr/>
          <p:nvPr/>
        </p:nvGrpSpPr>
        <p:grpSpPr>
          <a:xfrm>
            <a:off x="5532348" y="4526493"/>
            <a:ext cx="1026536" cy="513534"/>
            <a:chOff x="-1082359" y="4902838"/>
            <a:chExt cx="1365623" cy="683142"/>
          </a:xfrm>
          <a:gradFill>
            <a:gsLst>
              <a:gs pos="42000">
                <a:srgbClr val="89D1FF"/>
              </a:gs>
              <a:gs pos="86000">
                <a:srgbClr val="A6E0FF">
                  <a:alpha val="0"/>
                </a:srgbClr>
              </a:gs>
            </a:gsLst>
            <a:lin ang="16200000" scaled="1"/>
          </a:gradFill>
        </p:grpSpPr>
        <p:sp>
          <p:nvSpPr>
            <p:cNvPr id="1994" name="Freeform: Shape 1734">
              <a:extLst>
                <a:ext uri="{FF2B5EF4-FFF2-40B4-BE49-F238E27FC236}">
                  <a16:creationId xmlns:a16="http://schemas.microsoft.com/office/drawing/2014/main" id="{4A78D017-67DC-6B2D-479F-21C0EAD5BD00}"/>
                </a:ext>
              </a:extLst>
            </p:cNvPr>
            <p:cNvSpPr/>
            <p:nvPr/>
          </p:nvSpPr>
          <p:spPr>
            <a:xfrm>
              <a:off x="-1082359" y="4904705"/>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95" name="Freeform: Shape 1735">
              <a:extLst>
                <a:ext uri="{FF2B5EF4-FFF2-40B4-BE49-F238E27FC236}">
                  <a16:creationId xmlns:a16="http://schemas.microsoft.com/office/drawing/2014/main" id="{4D3FC134-0D80-B88F-E922-CD4D9B838947}"/>
                </a:ext>
              </a:extLst>
            </p:cNvPr>
            <p:cNvSpPr/>
            <p:nvPr/>
          </p:nvSpPr>
          <p:spPr>
            <a:xfrm>
              <a:off x="-910535" y="4902840"/>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96" name="Freeform: Shape 1736">
              <a:extLst>
                <a:ext uri="{FF2B5EF4-FFF2-40B4-BE49-F238E27FC236}">
                  <a16:creationId xmlns:a16="http://schemas.microsoft.com/office/drawing/2014/main" id="{AF4C095C-6BFA-FEF3-A117-237A9B83B06A}"/>
                </a:ext>
              </a:extLst>
            </p:cNvPr>
            <p:cNvSpPr/>
            <p:nvPr/>
          </p:nvSpPr>
          <p:spPr>
            <a:xfrm>
              <a:off x="-714186" y="4904705"/>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97" name="Freeform: Shape 1737">
              <a:extLst>
                <a:ext uri="{FF2B5EF4-FFF2-40B4-BE49-F238E27FC236}">
                  <a16:creationId xmlns:a16="http://schemas.microsoft.com/office/drawing/2014/main" id="{4F90CB34-89D2-598C-D9EA-F6160FC3C62E}"/>
                </a:ext>
              </a:extLst>
            </p:cNvPr>
            <p:cNvSpPr/>
            <p:nvPr/>
          </p:nvSpPr>
          <p:spPr>
            <a:xfrm>
              <a:off x="-530099" y="4904705"/>
              <a:ext cx="38880" cy="103950"/>
            </a:xfrm>
            <a:custGeom>
              <a:avLst/>
              <a:gdLst>
                <a:gd name="connsiteX0" fmla="*/ 26371 w 43395"/>
                <a:gd name="connsiteY0" fmla="*/ 16357 h 130188"/>
                <a:gd name="connsiteX1" fmla="*/ 26038 w 43395"/>
                <a:gd name="connsiteY1" fmla="*/ 16357 h 130188"/>
                <a:gd name="connsiteX2" fmla="*/ 3338 w 43395"/>
                <a:gd name="connsiteY2" fmla="*/ 28541 h 130188"/>
                <a:gd name="connsiteX3" fmla="*/ 0 w 43395"/>
                <a:gd name="connsiteY3" fmla="*/ 15189 h 130188"/>
                <a:gd name="connsiteX4" fmla="*/ 28374 w 43395"/>
                <a:gd name="connsiteY4" fmla="*/ 0 h 130188"/>
                <a:gd name="connsiteX5" fmla="*/ 43396 w 43395"/>
                <a:gd name="connsiteY5" fmla="*/ 0 h 130188"/>
                <a:gd name="connsiteX6" fmla="*/ 43396 w 43395"/>
                <a:gd name="connsiteY6" fmla="*/ 130188 h 130188"/>
                <a:gd name="connsiteX7" fmla="*/ 26371 w 43395"/>
                <a:gd name="connsiteY7" fmla="*/ 130188 h 130188"/>
                <a:gd name="connsiteX8" fmla="*/ 26371 w 43395"/>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5" h="130188">
                  <a:moveTo>
                    <a:pt x="26371" y="16357"/>
                  </a:moveTo>
                  <a:lnTo>
                    <a:pt x="26038" y="16357"/>
                  </a:lnTo>
                  <a:lnTo>
                    <a:pt x="3338" y="28541"/>
                  </a:lnTo>
                  <a:lnTo>
                    <a:pt x="0" y="15189"/>
                  </a:lnTo>
                  <a:lnTo>
                    <a:pt x="28374" y="0"/>
                  </a:lnTo>
                  <a:lnTo>
                    <a:pt x="43396" y="0"/>
                  </a:lnTo>
                  <a:lnTo>
                    <a:pt x="43396" y="130188"/>
                  </a:lnTo>
                  <a:lnTo>
                    <a:pt x="26371" y="130188"/>
                  </a:lnTo>
                  <a:lnTo>
                    <a:pt x="26371"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2007" name="Freeform: Shape 1738">
              <a:extLst>
                <a:ext uri="{FF2B5EF4-FFF2-40B4-BE49-F238E27FC236}">
                  <a16:creationId xmlns:a16="http://schemas.microsoft.com/office/drawing/2014/main" id="{35F8B3A4-7BA2-8A5C-48D3-21B8BE4DDBBE}"/>
                </a:ext>
              </a:extLst>
            </p:cNvPr>
            <p:cNvSpPr/>
            <p:nvPr/>
          </p:nvSpPr>
          <p:spPr>
            <a:xfrm>
              <a:off x="-320141" y="4902840"/>
              <a:ext cx="79108" cy="107415"/>
            </a:xfrm>
            <a:custGeom>
              <a:avLst/>
              <a:gdLst>
                <a:gd name="connsiteX0" fmla="*/ 88295 w 88294"/>
                <a:gd name="connsiteY0" fmla="*/ 65929 h 134527"/>
                <a:gd name="connsiteX1" fmla="*/ 43063 w 88294"/>
                <a:gd name="connsiteY1" fmla="*/ 134528 h 134527"/>
                <a:gd name="connsiteX2" fmla="*/ 0 w 88294"/>
                <a:gd name="connsiteY2" fmla="*/ 67598 h 134527"/>
                <a:gd name="connsiteX3" fmla="*/ 45232 w 88294"/>
                <a:gd name="connsiteY3" fmla="*/ 0 h 134527"/>
                <a:gd name="connsiteX4" fmla="*/ 88295 w 88294"/>
                <a:gd name="connsiteY4" fmla="*/ 65929 h 134527"/>
                <a:gd name="connsiteX5" fmla="*/ 17526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693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5" y="65929"/>
                  </a:moveTo>
                  <a:cubicBezTo>
                    <a:pt x="88295" y="110159"/>
                    <a:pt x="71938" y="134528"/>
                    <a:pt x="43063" y="134528"/>
                  </a:cubicBezTo>
                  <a:cubicBezTo>
                    <a:pt x="17693" y="134528"/>
                    <a:pt x="501" y="110660"/>
                    <a:pt x="0" y="67598"/>
                  </a:cubicBezTo>
                  <a:cubicBezTo>
                    <a:pt x="0" y="24035"/>
                    <a:pt x="18861" y="0"/>
                    <a:pt x="45232" y="0"/>
                  </a:cubicBezTo>
                  <a:cubicBezTo>
                    <a:pt x="71604" y="0"/>
                    <a:pt x="88295" y="24369"/>
                    <a:pt x="88295" y="65929"/>
                  </a:cubicBezTo>
                  <a:close/>
                  <a:moveTo>
                    <a:pt x="17526" y="67932"/>
                  </a:moveTo>
                  <a:cubicBezTo>
                    <a:pt x="17526" y="101814"/>
                    <a:pt x="27874" y="121008"/>
                    <a:pt x="43897" y="121008"/>
                  </a:cubicBezTo>
                  <a:cubicBezTo>
                    <a:pt x="61923" y="121008"/>
                    <a:pt x="70602" y="99978"/>
                    <a:pt x="70602" y="66763"/>
                  </a:cubicBezTo>
                  <a:cubicBezTo>
                    <a:pt x="70602" y="33549"/>
                    <a:pt x="62424" y="13686"/>
                    <a:pt x="44231" y="13686"/>
                  </a:cubicBezTo>
                  <a:cubicBezTo>
                    <a:pt x="28875" y="13686"/>
                    <a:pt x="17693" y="32547"/>
                    <a:pt x="17693"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2008" name="Freeform: Shape 1739">
              <a:extLst>
                <a:ext uri="{FF2B5EF4-FFF2-40B4-BE49-F238E27FC236}">
                  <a16:creationId xmlns:a16="http://schemas.microsoft.com/office/drawing/2014/main" id="{663868C5-D814-0858-8B33-6256A36EE208}"/>
                </a:ext>
              </a:extLst>
            </p:cNvPr>
            <p:cNvSpPr/>
            <p:nvPr/>
          </p:nvSpPr>
          <p:spPr>
            <a:xfrm>
              <a:off x="-136053" y="4902840"/>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2009" name="Freeform: Shape 1743">
              <a:extLst>
                <a:ext uri="{FF2B5EF4-FFF2-40B4-BE49-F238E27FC236}">
                  <a16:creationId xmlns:a16="http://schemas.microsoft.com/office/drawing/2014/main" id="{89628036-3A21-B798-F136-D168F229C955}"/>
                </a:ext>
              </a:extLst>
            </p:cNvPr>
            <p:cNvSpPr/>
            <p:nvPr/>
          </p:nvSpPr>
          <p:spPr>
            <a:xfrm>
              <a:off x="48034" y="4902838"/>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8" y="13686"/>
                  </a:cubicBezTo>
                  <a:cubicBezTo>
                    <a:pt x="29042" y="13686"/>
                    <a:pt x="17692" y="32547"/>
                    <a:pt x="17692"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2010" name="Freeform: Shape 1744">
              <a:extLst>
                <a:ext uri="{FF2B5EF4-FFF2-40B4-BE49-F238E27FC236}">
                  <a16:creationId xmlns:a16="http://schemas.microsoft.com/office/drawing/2014/main" id="{0DA58B0C-3892-8841-106D-01B2DBCB7AA3}"/>
                </a:ext>
              </a:extLst>
            </p:cNvPr>
            <p:cNvSpPr/>
            <p:nvPr/>
          </p:nvSpPr>
          <p:spPr>
            <a:xfrm>
              <a:off x="244383" y="4904703"/>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2011" name="Freeform: Shape 1750">
              <a:extLst>
                <a:ext uri="{FF2B5EF4-FFF2-40B4-BE49-F238E27FC236}">
                  <a16:creationId xmlns:a16="http://schemas.microsoft.com/office/drawing/2014/main" id="{76E4852D-2EC5-1930-B672-CC4B19BD4912}"/>
                </a:ext>
              </a:extLst>
            </p:cNvPr>
            <p:cNvSpPr/>
            <p:nvPr/>
          </p:nvSpPr>
          <p:spPr>
            <a:xfrm>
              <a:off x="-136053" y="5094746"/>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2012" name="Freeform: Shape 1751">
              <a:extLst>
                <a:ext uri="{FF2B5EF4-FFF2-40B4-BE49-F238E27FC236}">
                  <a16:creationId xmlns:a16="http://schemas.microsoft.com/office/drawing/2014/main" id="{9B5FE8BE-7516-AAB0-53AA-44A7BCF3A1BE}"/>
                </a:ext>
              </a:extLst>
            </p:cNvPr>
            <p:cNvSpPr/>
            <p:nvPr/>
          </p:nvSpPr>
          <p:spPr>
            <a:xfrm>
              <a:off x="48034" y="5094748"/>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8" y="13686"/>
                  </a:cubicBezTo>
                  <a:cubicBezTo>
                    <a:pt x="29042" y="13686"/>
                    <a:pt x="17692" y="32547"/>
                    <a:pt x="17692"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2013" name="Freeform: Shape 1752">
              <a:extLst>
                <a:ext uri="{FF2B5EF4-FFF2-40B4-BE49-F238E27FC236}">
                  <a16:creationId xmlns:a16="http://schemas.microsoft.com/office/drawing/2014/main" id="{DF50D4ED-FB79-B05E-601F-7CF8E0F3E060}"/>
                </a:ext>
              </a:extLst>
            </p:cNvPr>
            <p:cNvSpPr/>
            <p:nvPr/>
          </p:nvSpPr>
          <p:spPr>
            <a:xfrm>
              <a:off x="-326325" y="5096615"/>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2014" name="Freeform: Shape 1758">
              <a:extLst>
                <a:ext uri="{FF2B5EF4-FFF2-40B4-BE49-F238E27FC236}">
                  <a16:creationId xmlns:a16="http://schemas.microsoft.com/office/drawing/2014/main" id="{2588DAD6-D1A4-5B9A-4EE5-7AA464265B6D}"/>
                </a:ext>
              </a:extLst>
            </p:cNvPr>
            <p:cNvSpPr/>
            <p:nvPr/>
          </p:nvSpPr>
          <p:spPr>
            <a:xfrm>
              <a:off x="-136053" y="5286657"/>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2024" name="Freeform: Shape 1759">
              <a:extLst>
                <a:ext uri="{FF2B5EF4-FFF2-40B4-BE49-F238E27FC236}">
                  <a16:creationId xmlns:a16="http://schemas.microsoft.com/office/drawing/2014/main" id="{6BC1DE3E-BCD2-D3EA-D60F-3AC07D6F08FD}"/>
                </a:ext>
              </a:extLst>
            </p:cNvPr>
            <p:cNvSpPr/>
            <p:nvPr/>
          </p:nvSpPr>
          <p:spPr>
            <a:xfrm>
              <a:off x="48034" y="5286654"/>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8" y="13686"/>
                  </a:cubicBezTo>
                  <a:cubicBezTo>
                    <a:pt x="29042" y="13686"/>
                    <a:pt x="17692" y="32547"/>
                    <a:pt x="17692"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2025" name="Freeform: Shape 1760">
              <a:extLst>
                <a:ext uri="{FF2B5EF4-FFF2-40B4-BE49-F238E27FC236}">
                  <a16:creationId xmlns:a16="http://schemas.microsoft.com/office/drawing/2014/main" id="{1198C948-C69A-BF01-5663-1D36836C59E7}"/>
                </a:ext>
              </a:extLst>
            </p:cNvPr>
            <p:cNvSpPr/>
            <p:nvPr/>
          </p:nvSpPr>
          <p:spPr>
            <a:xfrm>
              <a:off x="-326325" y="5288519"/>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2026" name="Freeform: Shape 1767">
              <a:extLst>
                <a:ext uri="{FF2B5EF4-FFF2-40B4-BE49-F238E27FC236}">
                  <a16:creationId xmlns:a16="http://schemas.microsoft.com/office/drawing/2014/main" id="{55842FE5-F136-83BA-5078-588B005C2D32}"/>
                </a:ext>
              </a:extLst>
            </p:cNvPr>
            <p:cNvSpPr/>
            <p:nvPr/>
          </p:nvSpPr>
          <p:spPr>
            <a:xfrm>
              <a:off x="-136053" y="5478561"/>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8"/>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2027" name="Freeform: Shape 1769">
              <a:extLst>
                <a:ext uri="{FF2B5EF4-FFF2-40B4-BE49-F238E27FC236}">
                  <a16:creationId xmlns:a16="http://schemas.microsoft.com/office/drawing/2014/main" id="{C178615C-BC3C-7504-1411-0E762C7832D0}"/>
                </a:ext>
              </a:extLst>
            </p:cNvPr>
            <p:cNvSpPr/>
            <p:nvPr/>
          </p:nvSpPr>
          <p:spPr>
            <a:xfrm>
              <a:off x="48034" y="5478565"/>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8"/>
                    <a:pt x="62591" y="13686"/>
                    <a:pt x="44398" y="13686"/>
                  </a:cubicBezTo>
                  <a:cubicBezTo>
                    <a:pt x="29042" y="13686"/>
                    <a:pt x="17692" y="32547"/>
                    <a:pt x="17692"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2028" name="Freeform: Shape 1770">
              <a:extLst>
                <a:ext uri="{FF2B5EF4-FFF2-40B4-BE49-F238E27FC236}">
                  <a16:creationId xmlns:a16="http://schemas.microsoft.com/office/drawing/2014/main" id="{11F3BA72-DE22-821F-95D9-7581BAD2B485}"/>
                </a:ext>
              </a:extLst>
            </p:cNvPr>
            <p:cNvSpPr/>
            <p:nvPr/>
          </p:nvSpPr>
          <p:spPr>
            <a:xfrm>
              <a:off x="-326325" y="5480432"/>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grpSp>
      <p:grpSp>
        <p:nvGrpSpPr>
          <p:cNvPr id="39" name="Group 38">
            <a:extLst>
              <a:ext uri="{FF2B5EF4-FFF2-40B4-BE49-F238E27FC236}">
                <a16:creationId xmlns:a16="http://schemas.microsoft.com/office/drawing/2014/main" id="{F9A7456F-9C42-85CC-808F-A3C9E6DB29ED}"/>
              </a:ext>
            </a:extLst>
          </p:cNvPr>
          <p:cNvGrpSpPr/>
          <p:nvPr/>
        </p:nvGrpSpPr>
        <p:grpSpPr>
          <a:xfrm>
            <a:off x="3208993" y="4529579"/>
            <a:ext cx="1026536" cy="513503"/>
            <a:chOff x="-1082359" y="4902842"/>
            <a:chExt cx="1365623" cy="683139"/>
          </a:xfrm>
          <a:gradFill>
            <a:gsLst>
              <a:gs pos="35000">
                <a:srgbClr val="89D1FF"/>
              </a:gs>
              <a:gs pos="86000">
                <a:srgbClr val="A6E0FF">
                  <a:alpha val="0"/>
                </a:srgbClr>
              </a:gs>
            </a:gsLst>
            <a:lin ang="16200000" scaled="1"/>
          </a:gradFill>
        </p:grpSpPr>
        <p:sp>
          <p:nvSpPr>
            <p:cNvPr id="1913" name="Freeform: Shape 1734">
              <a:extLst>
                <a:ext uri="{FF2B5EF4-FFF2-40B4-BE49-F238E27FC236}">
                  <a16:creationId xmlns:a16="http://schemas.microsoft.com/office/drawing/2014/main" id="{5455B151-DC18-5C36-D314-C99E255CD641}"/>
                </a:ext>
              </a:extLst>
            </p:cNvPr>
            <p:cNvSpPr/>
            <p:nvPr/>
          </p:nvSpPr>
          <p:spPr>
            <a:xfrm>
              <a:off x="-1082359" y="490470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14" name="Freeform: Shape 1735">
              <a:extLst>
                <a:ext uri="{FF2B5EF4-FFF2-40B4-BE49-F238E27FC236}">
                  <a16:creationId xmlns:a16="http://schemas.microsoft.com/office/drawing/2014/main" id="{63E7CE4A-2DFE-EA0B-A497-81A271CAA233}"/>
                </a:ext>
              </a:extLst>
            </p:cNvPr>
            <p:cNvSpPr/>
            <p:nvPr/>
          </p:nvSpPr>
          <p:spPr>
            <a:xfrm>
              <a:off x="-910535" y="4902842"/>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15" name="Freeform: Shape 1736">
              <a:extLst>
                <a:ext uri="{FF2B5EF4-FFF2-40B4-BE49-F238E27FC236}">
                  <a16:creationId xmlns:a16="http://schemas.microsoft.com/office/drawing/2014/main" id="{578E0046-205F-9FCD-9EDA-93A53B815EB2}"/>
                </a:ext>
              </a:extLst>
            </p:cNvPr>
            <p:cNvSpPr/>
            <p:nvPr/>
          </p:nvSpPr>
          <p:spPr>
            <a:xfrm>
              <a:off x="-714186" y="490470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16" name="Freeform: Shape 1737">
              <a:extLst>
                <a:ext uri="{FF2B5EF4-FFF2-40B4-BE49-F238E27FC236}">
                  <a16:creationId xmlns:a16="http://schemas.microsoft.com/office/drawing/2014/main" id="{7F108897-8C16-2DA4-74AC-6026DC3E18CC}"/>
                </a:ext>
              </a:extLst>
            </p:cNvPr>
            <p:cNvSpPr/>
            <p:nvPr/>
          </p:nvSpPr>
          <p:spPr>
            <a:xfrm>
              <a:off x="-530099" y="4904707"/>
              <a:ext cx="38880" cy="103950"/>
            </a:xfrm>
            <a:custGeom>
              <a:avLst/>
              <a:gdLst>
                <a:gd name="connsiteX0" fmla="*/ 26371 w 43395"/>
                <a:gd name="connsiteY0" fmla="*/ 16357 h 130188"/>
                <a:gd name="connsiteX1" fmla="*/ 26038 w 43395"/>
                <a:gd name="connsiteY1" fmla="*/ 16357 h 130188"/>
                <a:gd name="connsiteX2" fmla="*/ 3338 w 43395"/>
                <a:gd name="connsiteY2" fmla="*/ 28541 h 130188"/>
                <a:gd name="connsiteX3" fmla="*/ 0 w 43395"/>
                <a:gd name="connsiteY3" fmla="*/ 15189 h 130188"/>
                <a:gd name="connsiteX4" fmla="*/ 28374 w 43395"/>
                <a:gd name="connsiteY4" fmla="*/ 0 h 130188"/>
                <a:gd name="connsiteX5" fmla="*/ 43396 w 43395"/>
                <a:gd name="connsiteY5" fmla="*/ 0 h 130188"/>
                <a:gd name="connsiteX6" fmla="*/ 43396 w 43395"/>
                <a:gd name="connsiteY6" fmla="*/ 130188 h 130188"/>
                <a:gd name="connsiteX7" fmla="*/ 26371 w 43395"/>
                <a:gd name="connsiteY7" fmla="*/ 130188 h 130188"/>
                <a:gd name="connsiteX8" fmla="*/ 26371 w 43395"/>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5" h="130188">
                  <a:moveTo>
                    <a:pt x="26371" y="16357"/>
                  </a:moveTo>
                  <a:lnTo>
                    <a:pt x="26038" y="16357"/>
                  </a:lnTo>
                  <a:lnTo>
                    <a:pt x="3338" y="28541"/>
                  </a:lnTo>
                  <a:lnTo>
                    <a:pt x="0" y="15189"/>
                  </a:lnTo>
                  <a:lnTo>
                    <a:pt x="28374" y="0"/>
                  </a:lnTo>
                  <a:lnTo>
                    <a:pt x="43396" y="0"/>
                  </a:lnTo>
                  <a:lnTo>
                    <a:pt x="43396" y="130188"/>
                  </a:lnTo>
                  <a:lnTo>
                    <a:pt x="26371" y="130188"/>
                  </a:lnTo>
                  <a:lnTo>
                    <a:pt x="26371"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17" name="Freeform: Shape 1738">
              <a:extLst>
                <a:ext uri="{FF2B5EF4-FFF2-40B4-BE49-F238E27FC236}">
                  <a16:creationId xmlns:a16="http://schemas.microsoft.com/office/drawing/2014/main" id="{1E2B8272-65C2-0029-7499-A732825911B0}"/>
                </a:ext>
              </a:extLst>
            </p:cNvPr>
            <p:cNvSpPr/>
            <p:nvPr/>
          </p:nvSpPr>
          <p:spPr>
            <a:xfrm>
              <a:off x="-320141" y="4902842"/>
              <a:ext cx="79108" cy="107415"/>
            </a:xfrm>
            <a:custGeom>
              <a:avLst/>
              <a:gdLst>
                <a:gd name="connsiteX0" fmla="*/ 88295 w 88294"/>
                <a:gd name="connsiteY0" fmla="*/ 65929 h 134527"/>
                <a:gd name="connsiteX1" fmla="*/ 43063 w 88294"/>
                <a:gd name="connsiteY1" fmla="*/ 134528 h 134527"/>
                <a:gd name="connsiteX2" fmla="*/ 0 w 88294"/>
                <a:gd name="connsiteY2" fmla="*/ 67598 h 134527"/>
                <a:gd name="connsiteX3" fmla="*/ 45232 w 88294"/>
                <a:gd name="connsiteY3" fmla="*/ 0 h 134527"/>
                <a:gd name="connsiteX4" fmla="*/ 88295 w 88294"/>
                <a:gd name="connsiteY4" fmla="*/ 65929 h 134527"/>
                <a:gd name="connsiteX5" fmla="*/ 17526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693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5" y="65929"/>
                  </a:moveTo>
                  <a:cubicBezTo>
                    <a:pt x="88295" y="110159"/>
                    <a:pt x="71938" y="134528"/>
                    <a:pt x="43063" y="134528"/>
                  </a:cubicBezTo>
                  <a:cubicBezTo>
                    <a:pt x="17693" y="134528"/>
                    <a:pt x="501" y="110660"/>
                    <a:pt x="0" y="67598"/>
                  </a:cubicBezTo>
                  <a:cubicBezTo>
                    <a:pt x="0" y="24035"/>
                    <a:pt x="18861" y="0"/>
                    <a:pt x="45232" y="0"/>
                  </a:cubicBezTo>
                  <a:cubicBezTo>
                    <a:pt x="71604" y="0"/>
                    <a:pt x="88295" y="24369"/>
                    <a:pt x="88295" y="65929"/>
                  </a:cubicBezTo>
                  <a:close/>
                  <a:moveTo>
                    <a:pt x="17526" y="67932"/>
                  </a:moveTo>
                  <a:cubicBezTo>
                    <a:pt x="17526" y="101814"/>
                    <a:pt x="27874" y="121008"/>
                    <a:pt x="43897" y="121008"/>
                  </a:cubicBezTo>
                  <a:cubicBezTo>
                    <a:pt x="61923" y="121008"/>
                    <a:pt x="70602" y="99978"/>
                    <a:pt x="70602" y="66763"/>
                  </a:cubicBezTo>
                  <a:cubicBezTo>
                    <a:pt x="70602" y="33549"/>
                    <a:pt x="62424" y="13686"/>
                    <a:pt x="44231" y="13686"/>
                  </a:cubicBezTo>
                  <a:cubicBezTo>
                    <a:pt x="28875" y="13686"/>
                    <a:pt x="17693" y="32547"/>
                    <a:pt x="17693"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18" name="Freeform: Shape 1739">
              <a:extLst>
                <a:ext uri="{FF2B5EF4-FFF2-40B4-BE49-F238E27FC236}">
                  <a16:creationId xmlns:a16="http://schemas.microsoft.com/office/drawing/2014/main" id="{6D3E5E77-9C7B-A61E-567E-16A8D9EED34B}"/>
                </a:ext>
              </a:extLst>
            </p:cNvPr>
            <p:cNvSpPr/>
            <p:nvPr/>
          </p:nvSpPr>
          <p:spPr>
            <a:xfrm>
              <a:off x="-136053" y="4902842"/>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19" name="Freeform: Shape 1743">
              <a:extLst>
                <a:ext uri="{FF2B5EF4-FFF2-40B4-BE49-F238E27FC236}">
                  <a16:creationId xmlns:a16="http://schemas.microsoft.com/office/drawing/2014/main" id="{0B43C8BF-DA00-CE78-7BED-7A54C3609D25}"/>
                </a:ext>
              </a:extLst>
            </p:cNvPr>
            <p:cNvSpPr/>
            <p:nvPr/>
          </p:nvSpPr>
          <p:spPr>
            <a:xfrm>
              <a:off x="48034" y="4902842"/>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8 w 88293"/>
                <a:gd name="connsiteY8" fmla="*/ 13686 h 134527"/>
                <a:gd name="connsiteX9" fmla="*/ 17692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8" y="13686"/>
                  </a:cubicBezTo>
                  <a:cubicBezTo>
                    <a:pt x="29042" y="13686"/>
                    <a:pt x="17692" y="32547"/>
                    <a:pt x="17692"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20" name="Freeform: Shape 1744">
              <a:extLst>
                <a:ext uri="{FF2B5EF4-FFF2-40B4-BE49-F238E27FC236}">
                  <a16:creationId xmlns:a16="http://schemas.microsoft.com/office/drawing/2014/main" id="{4B0CA69C-E5AB-A7FF-C79F-73446C413D7F}"/>
                </a:ext>
              </a:extLst>
            </p:cNvPr>
            <p:cNvSpPr/>
            <p:nvPr/>
          </p:nvSpPr>
          <p:spPr>
            <a:xfrm>
              <a:off x="244383" y="490470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21" name="Freeform: Shape 1745">
              <a:extLst>
                <a:ext uri="{FF2B5EF4-FFF2-40B4-BE49-F238E27FC236}">
                  <a16:creationId xmlns:a16="http://schemas.microsoft.com/office/drawing/2014/main" id="{5A046DC2-C20E-D428-DE69-3F81A75D4EEA}"/>
                </a:ext>
              </a:extLst>
            </p:cNvPr>
            <p:cNvSpPr/>
            <p:nvPr/>
          </p:nvSpPr>
          <p:spPr>
            <a:xfrm>
              <a:off x="-1082359" y="5096616"/>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24" name="Freeform: Shape 1746">
              <a:extLst>
                <a:ext uri="{FF2B5EF4-FFF2-40B4-BE49-F238E27FC236}">
                  <a16:creationId xmlns:a16="http://schemas.microsoft.com/office/drawing/2014/main" id="{3CE76EA6-9EF1-F8E2-CD0A-A03DCC210208}"/>
                </a:ext>
              </a:extLst>
            </p:cNvPr>
            <p:cNvSpPr/>
            <p:nvPr/>
          </p:nvSpPr>
          <p:spPr>
            <a:xfrm>
              <a:off x="-910535" y="5094750"/>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30" name="Freeform: Shape 1747">
              <a:extLst>
                <a:ext uri="{FF2B5EF4-FFF2-40B4-BE49-F238E27FC236}">
                  <a16:creationId xmlns:a16="http://schemas.microsoft.com/office/drawing/2014/main" id="{61A197B4-F83C-7FC1-B6AB-498BC9943654}"/>
                </a:ext>
              </a:extLst>
            </p:cNvPr>
            <p:cNvSpPr/>
            <p:nvPr/>
          </p:nvSpPr>
          <p:spPr>
            <a:xfrm>
              <a:off x="-714186" y="5096616"/>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33" name="Freeform: Shape 1753">
              <a:extLst>
                <a:ext uri="{FF2B5EF4-FFF2-40B4-BE49-F238E27FC236}">
                  <a16:creationId xmlns:a16="http://schemas.microsoft.com/office/drawing/2014/main" id="{9248AC5B-528B-93E0-AEC1-837EA4B8EA51}"/>
                </a:ext>
              </a:extLst>
            </p:cNvPr>
            <p:cNvSpPr/>
            <p:nvPr/>
          </p:nvSpPr>
          <p:spPr>
            <a:xfrm>
              <a:off x="-1082359" y="5288523"/>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78" name="Freeform: Shape 1754">
              <a:extLst>
                <a:ext uri="{FF2B5EF4-FFF2-40B4-BE49-F238E27FC236}">
                  <a16:creationId xmlns:a16="http://schemas.microsoft.com/office/drawing/2014/main" id="{95892A38-E14F-DD1C-0E70-79C5CCB027FD}"/>
                </a:ext>
              </a:extLst>
            </p:cNvPr>
            <p:cNvSpPr/>
            <p:nvPr/>
          </p:nvSpPr>
          <p:spPr>
            <a:xfrm>
              <a:off x="-910535" y="5286658"/>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90" name="Freeform: Shape 1755">
              <a:extLst>
                <a:ext uri="{FF2B5EF4-FFF2-40B4-BE49-F238E27FC236}">
                  <a16:creationId xmlns:a16="http://schemas.microsoft.com/office/drawing/2014/main" id="{A7F8D113-BE4B-CD08-8DFC-C1C317168B6E}"/>
                </a:ext>
              </a:extLst>
            </p:cNvPr>
            <p:cNvSpPr/>
            <p:nvPr/>
          </p:nvSpPr>
          <p:spPr>
            <a:xfrm>
              <a:off x="-714186" y="5288523"/>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91" name="Freeform: Shape 1761">
              <a:extLst>
                <a:ext uri="{FF2B5EF4-FFF2-40B4-BE49-F238E27FC236}">
                  <a16:creationId xmlns:a16="http://schemas.microsoft.com/office/drawing/2014/main" id="{B17D5B7D-30F1-4334-8AC5-B8E0938C97AE}"/>
                </a:ext>
              </a:extLst>
            </p:cNvPr>
            <p:cNvSpPr/>
            <p:nvPr/>
          </p:nvSpPr>
          <p:spPr>
            <a:xfrm>
              <a:off x="-1082359" y="5480432"/>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92" name="Freeform: Shape 1762">
              <a:extLst>
                <a:ext uri="{FF2B5EF4-FFF2-40B4-BE49-F238E27FC236}">
                  <a16:creationId xmlns:a16="http://schemas.microsoft.com/office/drawing/2014/main" id="{379C6FBD-0F52-8BEC-4FD3-083CCEEB4275}"/>
                </a:ext>
              </a:extLst>
            </p:cNvPr>
            <p:cNvSpPr/>
            <p:nvPr/>
          </p:nvSpPr>
          <p:spPr>
            <a:xfrm>
              <a:off x="-910535" y="5478566"/>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8"/>
                    <a:pt x="62423" y="13686"/>
                    <a:pt x="44231" y="13686"/>
                  </a:cubicBezTo>
                  <a:cubicBezTo>
                    <a:pt x="28875" y="13686"/>
                    <a:pt x="17525" y="32547"/>
                    <a:pt x="17525"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93" name="Freeform: Shape 1763">
              <a:extLst>
                <a:ext uri="{FF2B5EF4-FFF2-40B4-BE49-F238E27FC236}">
                  <a16:creationId xmlns:a16="http://schemas.microsoft.com/office/drawing/2014/main" id="{1F538C05-9FB9-A561-A1C8-DB97F5336DE7}"/>
                </a:ext>
              </a:extLst>
            </p:cNvPr>
            <p:cNvSpPr/>
            <p:nvPr/>
          </p:nvSpPr>
          <p:spPr>
            <a:xfrm>
              <a:off x="-714186" y="5480432"/>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grpSp>
      <p:grpSp>
        <p:nvGrpSpPr>
          <p:cNvPr id="40" name="Group 39">
            <a:extLst>
              <a:ext uri="{FF2B5EF4-FFF2-40B4-BE49-F238E27FC236}">
                <a16:creationId xmlns:a16="http://schemas.microsoft.com/office/drawing/2014/main" id="{B55A488D-4E69-588E-E702-327F21C73435}"/>
              </a:ext>
            </a:extLst>
          </p:cNvPr>
          <p:cNvGrpSpPr/>
          <p:nvPr/>
        </p:nvGrpSpPr>
        <p:grpSpPr>
          <a:xfrm>
            <a:off x="8491167" y="4569880"/>
            <a:ext cx="770800" cy="513503"/>
            <a:chOff x="4926372" y="4490707"/>
            <a:chExt cx="1025413" cy="683139"/>
          </a:xfrm>
          <a:gradFill>
            <a:gsLst>
              <a:gs pos="11000">
                <a:srgbClr val="EAECEE">
                  <a:lumMod val="90000"/>
                  <a:alpha val="13000"/>
                </a:srgbClr>
              </a:gs>
              <a:gs pos="75000">
                <a:srgbClr val="EAECEE">
                  <a:lumMod val="90000"/>
                  <a:alpha val="0"/>
                </a:srgbClr>
              </a:gs>
            </a:gsLst>
            <a:lin ang="16200000" scaled="1"/>
          </a:gradFill>
        </p:grpSpPr>
        <p:sp>
          <p:nvSpPr>
            <p:cNvPr id="1877" name="Freeform: Shape 1556">
              <a:extLst>
                <a:ext uri="{FF2B5EF4-FFF2-40B4-BE49-F238E27FC236}">
                  <a16:creationId xmlns:a16="http://schemas.microsoft.com/office/drawing/2014/main" id="{D40ED99A-4E62-D36C-8AF5-B5A77520C1B2}"/>
                </a:ext>
              </a:extLst>
            </p:cNvPr>
            <p:cNvSpPr/>
            <p:nvPr/>
          </p:nvSpPr>
          <p:spPr>
            <a:xfrm>
              <a:off x="4926372" y="4492572"/>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884" name="Freeform: Shape 1558">
              <a:extLst>
                <a:ext uri="{FF2B5EF4-FFF2-40B4-BE49-F238E27FC236}">
                  <a16:creationId xmlns:a16="http://schemas.microsoft.com/office/drawing/2014/main" id="{FD3D932B-523C-5B14-8D2F-3F824C8C4B76}"/>
                </a:ext>
              </a:extLst>
            </p:cNvPr>
            <p:cNvSpPr/>
            <p:nvPr/>
          </p:nvSpPr>
          <p:spPr>
            <a:xfrm>
              <a:off x="5098196" y="4490707"/>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885" name="Freeform: Shape 1559">
              <a:extLst>
                <a:ext uri="{FF2B5EF4-FFF2-40B4-BE49-F238E27FC236}">
                  <a16:creationId xmlns:a16="http://schemas.microsoft.com/office/drawing/2014/main" id="{3268FCA5-37F0-DD17-FAFB-C1A65CA28B47}"/>
                </a:ext>
              </a:extLst>
            </p:cNvPr>
            <p:cNvSpPr/>
            <p:nvPr/>
          </p:nvSpPr>
          <p:spPr>
            <a:xfrm>
              <a:off x="5294545" y="4492572"/>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886" name="Freeform: Shape 1561">
              <a:extLst>
                <a:ext uri="{FF2B5EF4-FFF2-40B4-BE49-F238E27FC236}">
                  <a16:creationId xmlns:a16="http://schemas.microsoft.com/office/drawing/2014/main" id="{E8F3430A-AC5B-9D6B-DA95-9D529A4B63EC}"/>
                </a:ext>
              </a:extLst>
            </p:cNvPr>
            <p:cNvSpPr/>
            <p:nvPr/>
          </p:nvSpPr>
          <p:spPr>
            <a:xfrm>
              <a:off x="5478632" y="4492572"/>
              <a:ext cx="38880" cy="103950"/>
            </a:xfrm>
            <a:custGeom>
              <a:avLst/>
              <a:gdLst>
                <a:gd name="connsiteX0" fmla="*/ 26371 w 43395"/>
                <a:gd name="connsiteY0" fmla="*/ 16357 h 130188"/>
                <a:gd name="connsiteX1" fmla="*/ 26038 w 43395"/>
                <a:gd name="connsiteY1" fmla="*/ 16357 h 130188"/>
                <a:gd name="connsiteX2" fmla="*/ 3338 w 43395"/>
                <a:gd name="connsiteY2" fmla="*/ 28541 h 130188"/>
                <a:gd name="connsiteX3" fmla="*/ 0 w 43395"/>
                <a:gd name="connsiteY3" fmla="*/ 15189 h 130188"/>
                <a:gd name="connsiteX4" fmla="*/ 28374 w 43395"/>
                <a:gd name="connsiteY4" fmla="*/ 0 h 130188"/>
                <a:gd name="connsiteX5" fmla="*/ 43396 w 43395"/>
                <a:gd name="connsiteY5" fmla="*/ 0 h 130188"/>
                <a:gd name="connsiteX6" fmla="*/ 43396 w 43395"/>
                <a:gd name="connsiteY6" fmla="*/ 130188 h 130188"/>
                <a:gd name="connsiteX7" fmla="*/ 26371 w 43395"/>
                <a:gd name="connsiteY7" fmla="*/ 130188 h 130188"/>
                <a:gd name="connsiteX8" fmla="*/ 26371 w 43395"/>
                <a:gd name="connsiteY8" fmla="*/ 16357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5" h="130188">
                  <a:moveTo>
                    <a:pt x="26371" y="16357"/>
                  </a:moveTo>
                  <a:lnTo>
                    <a:pt x="26038" y="16357"/>
                  </a:lnTo>
                  <a:lnTo>
                    <a:pt x="3338" y="28541"/>
                  </a:lnTo>
                  <a:lnTo>
                    <a:pt x="0" y="15189"/>
                  </a:lnTo>
                  <a:lnTo>
                    <a:pt x="28374" y="0"/>
                  </a:lnTo>
                  <a:lnTo>
                    <a:pt x="43396" y="0"/>
                  </a:lnTo>
                  <a:lnTo>
                    <a:pt x="43396" y="130188"/>
                  </a:lnTo>
                  <a:lnTo>
                    <a:pt x="26371" y="130188"/>
                  </a:lnTo>
                  <a:lnTo>
                    <a:pt x="26371" y="16357"/>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887" name="Freeform: Shape 1562">
              <a:extLst>
                <a:ext uri="{FF2B5EF4-FFF2-40B4-BE49-F238E27FC236}">
                  <a16:creationId xmlns:a16="http://schemas.microsoft.com/office/drawing/2014/main" id="{92C7504C-197B-DB48-062C-B40C38C233F9}"/>
                </a:ext>
              </a:extLst>
            </p:cNvPr>
            <p:cNvSpPr/>
            <p:nvPr/>
          </p:nvSpPr>
          <p:spPr>
            <a:xfrm>
              <a:off x="5688590" y="4490707"/>
              <a:ext cx="79108" cy="107415"/>
            </a:xfrm>
            <a:custGeom>
              <a:avLst/>
              <a:gdLst>
                <a:gd name="connsiteX0" fmla="*/ 88295 w 88294"/>
                <a:gd name="connsiteY0" fmla="*/ 65929 h 134527"/>
                <a:gd name="connsiteX1" fmla="*/ 43063 w 88294"/>
                <a:gd name="connsiteY1" fmla="*/ 134528 h 134527"/>
                <a:gd name="connsiteX2" fmla="*/ 0 w 88294"/>
                <a:gd name="connsiteY2" fmla="*/ 67598 h 134527"/>
                <a:gd name="connsiteX3" fmla="*/ 45232 w 88294"/>
                <a:gd name="connsiteY3" fmla="*/ 0 h 134527"/>
                <a:gd name="connsiteX4" fmla="*/ 88295 w 88294"/>
                <a:gd name="connsiteY4" fmla="*/ 65929 h 134527"/>
                <a:gd name="connsiteX5" fmla="*/ 17526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693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5" y="65929"/>
                  </a:moveTo>
                  <a:cubicBezTo>
                    <a:pt x="88295" y="110159"/>
                    <a:pt x="71938" y="134528"/>
                    <a:pt x="43063" y="134528"/>
                  </a:cubicBezTo>
                  <a:cubicBezTo>
                    <a:pt x="17693" y="134528"/>
                    <a:pt x="501" y="110660"/>
                    <a:pt x="0" y="67598"/>
                  </a:cubicBezTo>
                  <a:cubicBezTo>
                    <a:pt x="0" y="24035"/>
                    <a:pt x="18861" y="0"/>
                    <a:pt x="45232" y="0"/>
                  </a:cubicBezTo>
                  <a:cubicBezTo>
                    <a:pt x="71604" y="0"/>
                    <a:pt x="88295" y="24369"/>
                    <a:pt x="88295" y="65929"/>
                  </a:cubicBezTo>
                  <a:close/>
                  <a:moveTo>
                    <a:pt x="17526" y="67932"/>
                  </a:moveTo>
                  <a:cubicBezTo>
                    <a:pt x="17526" y="101814"/>
                    <a:pt x="27874" y="121008"/>
                    <a:pt x="43897" y="121008"/>
                  </a:cubicBezTo>
                  <a:cubicBezTo>
                    <a:pt x="61923" y="121008"/>
                    <a:pt x="70602" y="99978"/>
                    <a:pt x="70602" y="66763"/>
                  </a:cubicBezTo>
                  <a:cubicBezTo>
                    <a:pt x="70602" y="33549"/>
                    <a:pt x="62424" y="13686"/>
                    <a:pt x="44231" y="13686"/>
                  </a:cubicBezTo>
                  <a:cubicBezTo>
                    <a:pt x="28875" y="13686"/>
                    <a:pt x="17693" y="32547"/>
                    <a:pt x="17693"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888" name="Freeform: Shape 1563">
              <a:extLst>
                <a:ext uri="{FF2B5EF4-FFF2-40B4-BE49-F238E27FC236}">
                  <a16:creationId xmlns:a16="http://schemas.microsoft.com/office/drawing/2014/main" id="{BEA104AA-907F-A4DA-A41F-B04B15E5A598}"/>
                </a:ext>
              </a:extLst>
            </p:cNvPr>
            <p:cNvSpPr/>
            <p:nvPr/>
          </p:nvSpPr>
          <p:spPr>
            <a:xfrm>
              <a:off x="5872678" y="4490707"/>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889" name="Freeform: Shape 1567">
              <a:extLst>
                <a:ext uri="{FF2B5EF4-FFF2-40B4-BE49-F238E27FC236}">
                  <a16:creationId xmlns:a16="http://schemas.microsoft.com/office/drawing/2014/main" id="{AFAA35E2-4723-A564-398F-824E0F0EA7F1}"/>
                </a:ext>
              </a:extLst>
            </p:cNvPr>
            <p:cNvSpPr/>
            <p:nvPr/>
          </p:nvSpPr>
          <p:spPr>
            <a:xfrm>
              <a:off x="4926372" y="4684481"/>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890" name="Freeform: Shape 1568">
              <a:extLst>
                <a:ext uri="{FF2B5EF4-FFF2-40B4-BE49-F238E27FC236}">
                  <a16:creationId xmlns:a16="http://schemas.microsoft.com/office/drawing/2014/main" id="{52ACC17B-F241-3532-430D-4D1BE79D9CEE}"/>
                </a:ext>
              </a:extLst>
            </p:cNvPr>
            <p:cNvSpPr/>
            <p:nvPr/>
          </p:nvSpPr>
          <p:spPr>
            <a:xfrm>
              <a:off x="5098196" y="4682615"/>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891" name="Freeform: Shape 1569">
              <a:extLst>
                <a:ext uri="{FF2B5EF4-FFF2-40B4-BE49-F238E27FC236}">
                  <a16:creationId xmlns:a16="http://schemas.microsoft.com/office/drawing/2014/main" id="{487D7A06-C658-4255-2B13-1F27C127125E}"/>
                </a:ext>
              </a:extLst>
            </p:cNvPr>
            <p:cNvSpPr/>
            <p:nvPr/>
          </p:nvSpPr>
          <p:spPr>
            <a:xfrm>
              <a:off x="5294545" y="4684481"/>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892" name="Freeform: Shape 1574">
              <a:extLst>
                <a:ext uri="{FF2B5EF4-FFF2-40B4-BE49-F238E27FC236}">
                  <a16:creationId xmlns:a16="http://schemas.microsoft.com/office/drawing/2014/main" id="{048FF959-0294-969E-E4B1-CB29C482B829}"/>
                </a:ext>
              </a:extLst>
            </p:cNvPr>
            <p:cNvSpPr/>
            <p:nvPr/>
          </p:nvSpPr>
          <p:spPr>
            <a:xfrm>
              <a:off x="5478632" y="4684481"/>
              <a:ext cx="38880" cy="103950"/>
            </a:xfrm>
            <a:custGeom>
              <a:avLst/>
              <a:gdLst>
                <a:gd name="connsiteX0" fmla="*/ 26371 w 43395"/>
                <a:gd name="connsiteY0" fmla="*/ 16357 h 130188"/>
                <a:gd name="connsiteX1" fmla="*/ 26038 w 43395"/>
                <a:gd name="connsiteY1" fmla="*/ 16357 h 130188"/>
                <a:gd name="connsiteX2" fmla="*/ 3338 w 43395"/>
                <a:gd name="connsiteY2" fmla="*/ 28541 h 130188"/>
                <a:gd name="connsiteX3" fmla="*/ 0 w 43395"/>
                <a:gd name="connsiteY3" fmla="*/ 15189 h 130188"/>
                <a:gd name="connsiteX4" fmla="*/ 28374 w 43395"/>
                <a:gd name="connsiteY4" fmla="*/ 0 h 130188"/>
                <a:gd name="connsiteX5" fmla="*/ 43396 w 43395"/>
                <a:gd name="connsiteY5" fmla="*/ 0 h 130188"/>
                <a:gd name="connsiteX6" fmla="*/ 43396 w 43395"/>
                <a:gd name="connsiteY6" fmla="*/ 130188 h 130188"/>
                <a:gd name="connsiteX7" fmla="*/ 26371 w 43395"/>
                <a:gd name="connsiteY7" fmla="*/ 130188 h 130188"/>
                <a:gd name="connsiteX8" fmla="*/ 26371 w 43395"/>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5" h="130188">
                  <a:moveTo>
                    <a:pt x="26371" y="16357"/>
                  </a:moveTo>
                  <a:lnTo>
                    <a:pt x="26038" y="16357"/>
                  </a:lnTo>
                  <a:lnTo>
                    <a:pt x="3338" y="28541"/>
                  </a:lnTo>
                  <a:lnTo>
                    <a:pt x="0" y="15189"/>
                  </a:lnTo>
                  <a:lnTo>
                    <a:pt x="28374" y="0"/>
                  </a:lnTo>
                  <a:lnTo>
                    <a:pt x="43396" y="0"/>
                  </a:lnTo>
                  <a:lnTo>
                    <a:pt x="43396" y="130188"/>
                  </a:lnTo>
                  <a:lnTo>
                    <a:pt x="26371" y="130188"/>
                  </a:lnTo>
                  <a:lnTo>
                    <a:pt x="26371"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893" name="Freeform: Shape 1576">
              <a:extLst>
                <a:ext uri="{FF2B5EF4-FFF2-40B4-BE49-F238E27FC236}">
                  <a16:creationId xmlns:a16="http://schemas.microsoft.com/office/drawing/2014/main" id="{6A93BA5E-121B-1402-42B0-7DBA073A2A4A}"/>
                </a:ext>
              </a:extLst>
            </p:cNvPr>
            <p:cNvSpPr/>
            <p:nvPr/>
          </p:nvSpPr>
          <p:spPr>
            <a:xfrm>
              <a:off x="5688590" y="4682615"/>
              <a:ext cx="79108" cy="107415"/>
            </a:xfrm>
            <a:custGeom>
              <a:avLst/>
              <a:gdLst>
                <a:gd name="connsiteX0" fmla="*/ 88295 w 88294"/>
                <a:gd name="connsiteY0" fmla="*/ 65929 h 134527"/>
                <a:gd name="connsiteX1" fmla="*/ 43063 w 88294"/>
                <a:gd name="connsiteY1" fmla="*/ 134528 h 134527"/>
                <a:gd name="connsiteX2" fmla="*/ 0 w 88294"/>
                <a:gd name="connsiteY2" fmla="*/ 67598 h 134527"/>
                <a:gd name="connsiteX3" fmla="*/ 45232 w 88294"/>
                <a:gd name="connsiteY3" fmla="*/ 0 h 134527"/>
                <a:gd name="connsiteX4" fmla="*/ 88295 w 88294"/>
                <a:gd name="connsiteY4" fmla="*/ 65929 h 134527"/>
                <a:gd name="connsiteX5" fmla="*/ 17526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693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5" y="65929"/>
                  </a:moveTo>
                  <a:cubicBezTo>
                    <a:pt x="88295" y="110159"/>
                    <a:pt x="71938" y="134528"/>
                    <a:pt x="43063" y="134528"/>
                  </a:cubicBezTo>
                  <a:cubicBezTo>
                    <a:pt x="17693" y="134528"/>
                    <a:pt x="501" y="110660"/>
                    <a:pt x="0" y="67598"/>
                  </a:cubicBezTo>
                  <a:cubicBezTo>
                    <a:pt x="0" y="24035"/>
                    <a:pt x="18861" y="0"/>
                    <a:pt x="45232" y="0"/>
                  </a:cubicBezTo>
                  <a:cubicBezTo>
                    <a:pt x="71604" y="0"/>
                    <a:pt x="88295" y="24369"/>
                    <a:pt x="88295" y="65929"/>
                  </a:cubicBezTo>
                  <a:close/>
                  <a:moveTo>
                    <a:pt x="17526" y="67932"/>
                  </a:moveTo>
                  <a:cubicBezTo>
                    <a:pt x="17526" y="101814"/>
                    <a:pt x="27874" y="121008"/>
                    <a:pt x="43897" y="121008"/>
                  </a:cubicBezTo>
                  <a:cubicBezTo>
                    <a:pt x="61923" y="121008"/>
                    <a:pt x="70602" y="99978"/>
                    <a:pt x="70602" y="66763"/>
                  </a:cubicBezTo>
                  <a:cubicBezTo>
                    <a:pt x="70602" y="33549"/>
                    <a:pt x="62424" y="13686"/>
                    <a:pt x="44231" y="13686"/>
                  </a:cubicBezTo>
                  <a:cubicBezTo>
                    <a:pt x="28875" y="13686"/>
                    <a:pt x="17693" y="32547"/>
                    <a:pt x="17693"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897" name="Freeform: Shape 1578">
              <a:extLst>
                <a:ext uri="{FF2B5EF4-FFF2-40B4-BE49-F238E27FC236}">
                  <a16:creationId xmlns:a16="http://schemas.microsoft.com/office/drawing/2014/main" id="{5D6F362A-276A-7994-D18E-BC6B0D103268}"/>
                </a:ext>
              </a:extLst>
            </p:cNvPr>
            <p:cNvSpPr/>
            <p:nvPr/>
          </p:nvSpPr>
          <p:spPr>
            <a:xfrm>
              <a:off x="5872678" y="4682615"/>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01" name="Freeform: Shape 1582">
              <a:extLst>
                <a:ext uri="{FF2B5EF4-FFF2-40B4-BE49-F238E27FC236}">
                  <a16:creationId xmlns:a16="http://schemas.microsoft.com/office/drawing/2014/main" id="{00C32FD8-4FAA-0737-A0AD-29E5E4481EF6}"/>
                </a:ext>
              </a:extLst>
            </p:cNvPr>
            <p:cNvSpPr/>
            <p:nvPr/>
          </p:nvSpPr>
          <p:spPr>
            <a:xfrm>
              <a:off x="4926372" y="4876388"/>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02" name="Freeform: Shape 1584">
              <a:extLst>
                <a:ext uri="{FF2B5EF4-FFF2-40B4-BE49-F238E27FC236}">
                  <a16:creationId xmlns:a16="http://schemas.microsoft.com/office/drawing/2014/main" id="{A3AA9D9D-A400-1D8D-D4CC-CAAB08673AC0}"/>
                </a:ext>
              </a:extLst>
            </p:cNvPr>
            <p:cNvSpPr/>
            <p:nvPr/>
          </p:nvSpPr>
          <p:spPr>
            <a:xfrm>
              <a:off x="5098196" y="4874523"/>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9"/>
                    <a:pt x="62423" y="13686"/>
                    <a:pt x="44231" y="13686"/>
                  </a:cubicBezTo>
                  <a:cubicBezTo>
                    <a:pt x="28875" y="13686"/>
                    <a:pt x="17525" y="32547"/>
                    <a:pt x="17525"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03" name="Freeform: Shape 1585">
              <a:extLst>
                <a:ext uri="{FF2B5EF4-FFF2-40B4-BE49-F238E27FC236}">
                  <a16:creationId xmlns:a16="http://schemas.microsoft.com/office/drawing/2014/main" id="{8CD4ECA3-6590-2C11-4322-74BDDE5DBFD0}"/>
                </a:ext>
              </a:extLst>
            </p:cNvPr>
            <p:cNvSpPr/>
            <p:nvPr/>
          </p:nvSpPr>
          <p:spPr>
            <a:xfrm>
              <a:off x="5294545" y="4876388"/>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04" name="Freeform: Shape 1586">
              <a:extLst>
                <a:ext uri="{FF2B5EF4-FFF2-40B4-BE49-F238E27FC236}">
                  <a16:creationId xmlns:a16="http://schemas.microsoft.com/office/drawing/2014/main" id="{F92E7F6B-53F3-FF83-249B-ED44CFFCE7BE}"/>
                </a:ext>
              </a:extLst>
            </p:cNvPr>
            <p:cNvSpPr/>
            <p:nvPr/>
          </p:nvSpPr>
          <p:spPr>
            <a:xfrm>
              <a:off x="5478632" y="4876388"/>
              <a:ext cx="38880" cy="103950"/>
            </a:xfrm>
            <a:custGeom>
              <a:avLst/>
              <a:gdLst>
                <a:gd name="connsiteX0" fmla="*/ 26371 w 43395"/>
                <a:gd name="connsiteY0" fmla="*/ 16357 h 130188"/>
                <a:gd name="connsiteX1" fmla="*/ 26038 w 43395"/>
                <a:gd name="connsiteY1" fmla="*/ 16357 h 130188"/>
                <a:gd name="connsiteX2" fmla="*/ 3338 w 43395"/>
                <a:gd name="connsiteY2" fmla="*/ 28541 h 130188"/>
                <a:gd name="connsiteX3" fmla="*/ 0 w 43395"/>
                <a:gd name="connsiteY3" fmla="*/ 15189 h 130188"/>
                <a:gd name="connsiteX4" fmla="*/ 28374 w 43395"/>
                <a:gd name="connsiteY4" fmla="*/ 0 h 130188"/>
                <a:gd name="connsiteX5" fmla="*/ 43396 w 43395"/>
                <a:gd name="connsiteY5" fmla="*/ 0 h 130188"/>
                <a:gd name="connsiteX6" fmla="*/ 43396 w 43395"/>
                <a:gd name="connsiteY6" fmla="*/ 130188 h 130188"/>
                <a:gd name="connsiteX7" fmla="*/ 26371 w 43395"/>
                <a:gd name="connsiteY7" fmla="*/ 130188 h 130188"/>
                <a:gd name="connsiteX8" fmla="*/ 26371 w 43395"/>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5" h="130188">
                  <a:moveTo>
                    <a:pt x="26371" y="16357"/>
                  </a:moveTo>
                  <a:lnTo>
                    <a:pt x="26038" y="16357"/>
                  </a:lnTo>
                  <a:lnTo>
                    <a:pt x="3338" y="28541"/>
                  </a:lnTo>
                  <a:lnTo>
                    <a:pt x="0" y="15189"/>
                  </a:lnTo>
                  <a:lnTo>
                    <a:pt x="28374" y="0"/>
                  </a:lnTo>
                  <a:lnTo>
                    <a:pt x="43396" y="0"/>
                  </a:lnTo>
                  <a:lnTo>
                    <a:pt x="43396" y="130188"/>
                  </a:lnTo>
                  <a:lnTo>
                    <a:pt x="26371" y="130188"/>
                  </a:lnTo>
                  <a:lnTo>
                    <a:pt x="26371"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05" name="Freeform: Shape 1587">
              <a:extLst>
                <a:ext uri="{FF2B5EF4-FFF2-40B4-BE49-F238E27FC236}">
                  <a16:creationId xmlns:a16="http://schemas.microsoft.com/office/drawing/2014/main" id="{A9C8E20F-0360-D30A-BDF3-D1CE45575E3C}"/>
                </a:ext>
              </a:extLst>
            </p:cNvPr>
            <p:cNvSpPr/>
            <p:nvPr/>
          </p:nvSpPr>
          <p:spPr>
            <a:xfrm>
              <a:off x="5688590" y="4874523"/>
              <a:ext cx="79108" cy="107415"/>
            </a:xfrm>
            <a:custGeom>
              <a:avLst/>
              <a:gdLst>
                <a:gd name="connsiteX0" fmla="*/ 88295 w 88294"/>
                <a:gd name="connsiteY0" fmla="*/ 65929 h 134527"/>
                <a:gd name="connsiteX1" fmla="*/ 43063 w 88294"/>
                <a:gd name="connsiteY1" fmla="*/ 134528 h 134527"/>
                <a:gd name="connsiteX2" fmla="*/ 0 w 88294"/>
                <a:gd name="connsiteY2" fmla="*/ 67598 h 134527"/>
                <a:gd name="connsiteX3" fmla="*/ 45232 w 88294"/>
                <a:gd name="connsiteY3" fmla="*/ 0 h 134527"/>
                <a:gd name="connsiteX4" fmla="*/ 88295 w 88294"/>
                <a:gd name="connsiteY4" fmla="*/ 65929 h 134527"/>
                <a:gd name="connsiteX5" fmla="*/ 17526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693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5" y="65929"/>
                  </a:moveTo>
                  <a:cubicBezTo>
                    <a:pt x="88295" y="110159"/>
                    <a:pt x="71938" y="134528"/>
                    <a:pt x="43063" y="134528"/>
                  </a:cubicBezTo>
                  <a:cubicBezTo>
                    <a:pt x="17693" y="134528"/>
                    <a:pt x="501" y="110660"/>
                    <a:pt x="0" y="67598"/>
                  </a:cubicBezTo>
                  <a:cubicBezTo>
                    <a:pt x="0" y="24035"/>
                    <a:pt x="18861" y="0"/>
                    <a:pt x="45232" y="0"/>
                  </a:cubicBezTo>
                  <a:cubicBezTo>
                    <a:pt x="71604" y="0"/>
                    <a:pt x="88295" y="24369"/>
                    <a:pt x="88295" y="65929"/>
                  </a:cubicBezTo>
                  <a:close/>
                  <a:moveTo>
                    <a:pt x="17526" y="67932"/>
                  </a:moveTo>
                  <a:cubicBezTo>
                    <a:pt x="17526" y="101814"/>
                    <a:pt x="27874" y="121008"/>
                    <a:pt x="43897" y="121008"/>
                  </a:cubicBezTo>
                  <a:cubicBezTo>
                    <a:pt x="61923" y="121008"/>
                    <a:pt x="70602" y="99978"/>
                    <a:pt x="70602" y="66763"/>
                  </a:cubicBezTo>
                  <a:cubicBezTo>
                    <a:pt x="70602" y="33549"/>
                    <a:pt x="62424" y="13686"/>
                    <a:pt x="44231" y="13686"/>
                  </a:cubicBezTo>
                  <a:cubicBezTo>
                    <a:pt x="28875" y="13686"/>
                    <a:pt x="17693" y="32547"/>
                    <a:pt x="17693"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06" name="Freeform: Shape 1588">
              <a:extLst>
                <a:ext uri="{FF2B5EF4-FFF2-40B4-BE49-F238E27FC236}">
                  <a16:creationId xmlns:a16="http://schemas.microsoft.com/office/drawing/2014/main" id="{23EF56A4-42B5-A0D6-0DC4-BDBFBE2C3B8E}"/>
                </a:ext>
              </a:extLst>
            </p:cNvPr>
            <p:cNvSpPr/>
            <p:nvPr/>
          </p:nvSpPr>
          <p:spPr>
            <a:xfrm>
              <a:off x="5872678" y="4874523"/>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9"/>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07" name="Freeform: Shape 1594">
              <a:extLst>
                <a:ext uri="{FF2B5EF4-FFF2-40B4-BE49-F238E27FC236}">
                  <a16:creationId xmlns:a16="http://schemas.microsoft.com/office/drawing/2014/main" id="{54B0C912-0253-4D16-DF9B-E70CC48B5394}"/>
                </a:ext>
              </a:extLst>
            </p:cNvPr>
            <p:cNvSpPr/>
            <p:nvPr/>
          </p:nvSpPr>
          <p:spPr>
            <a:xfrm>
              <a:off x="4926372" y="506829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4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4"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08" name="Freeform: Shape 1595">
              <a:extLst>
                <a:ext uri="{FF2B5EF4-FFF2-40B4-BE49-F238E27FC236}">
                  <a16:creationId xmlns:a16="http://schemas.microsoft.com/office/drawing/2014/main" id="{D68339C0-A454-9A88-7DA9-D88F6DC437E9}"/>
                </a:ext>
              </a:extLst>
            </p:cNvPr>
            <p:cNvSpPr/>
            <p:nvPr/>
          </p:nvSpPr>
          <p:spPr>
            <a:xfrm>
              <a:off x="5098196" y="5066431"/>
              <a:ext cx="79108" cy="107415"/>
            </a:xfrm>
            <a:custGeom>
              <a:avLst/>
              <a:gdLst>
                <a:gd name="connsiteX0" fmla="*/ 88294 w 88294"/>
                <a:gd name="connsiteY0" fmla="*/ 65929 h 134527"/>
                <a:gd name="connsiteX1" fmla="*/ 43062 w 88294"/>
                <a:gd name="connsiteY1" fmla="*/ 134528 h 134527"/>
                <a:gd name="connsiteX2" fmla="*/ 0 w 88294"/>
                <a:gd name="connsiteY2" fmla="*/ 67598 h 134527"/>
                <a:gd name="connsiteX3" fmla="*/ 45232 w 88294"/>
                <a:gd name="connsiteY3" fmla="*/ 0 h 134527"/>
                <a:gd name="connsiteX4" fmla="*/ 88294 w 88294"/>
                <a:gd name="connsiteY4" fmla="*/ 65929 h 134527"/>
                <a:gd name="connsiteX5" fmla="*/ 17525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525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525" y="67932"/>
                  </a:moveTo>
                  <a:cubicBezTo>
                    <a:pt x="17525" y="101814"/>
                    <a:pt x="27874" y="121008"/>
                    <a:pt x="43897" y="121008"/>
                  </a:cubicBezTo>
                  <a:cubicBezTo>
                    <a:pt x="61923" y="121008"/>
                    <a:pt x="70602" y="99978"/>
                    <a:pt x="70602" y="66763"/>
                  </a:cubicBezTo>
                  <a:cubicBezTo>
                    <a:pt x="70602" y="33548"/>
                    <a:pt x="62423" y="13686"/>
                    <a:pt x="44231" y="13686"/>
                  </a:cubicBezTo>
                  <a:cubicBezTo>
                    <a:pt x="28875" y="13686"/>
                    <a:pt x="17525" y="32547"/>
                    <a:pt x="17525"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09" name="Freeform: Shape 1596">
              <a:extLst>
                <a:ext uri="{FF2B5EF4-FFF2-40B4-BE49-F238E27FC236}">
                  <a16:creationId xmlns:a16="http://schemas.microsoft.com/office/drawing/2014/main" id="{D8614E1D-8B9D-D35A-30B4-E678F590A146}"/>
                </a:ext>
              </a:extLst>
            </p:cNvPr>
            <p:cNvSpPr/>
            <p:nvPr/>
          </p:nvSpPr>
          <p:spPr>
            <a:xfrm>
              <a:off x="5294545" y="5068297"/>
              <a:ext cx="38881" cy="103950"/>
            </a:xfrm>
            <a:custGeom>
              <a:avLst/>
              <a:gdLst>
                <a:gd name="connsiteX0" fmla="*/ 26372 w 43396"/>
                <a:gd name="connsiteY0" fmla="*/ 16357 h 130188"/>
                <a:gd name="connsiteX1" fmla="*/ 26038 w 43396"/>
                <a:gd name="connsiteY1" fmla="*/ 16357 h 130188"/>
                <a:gd name="connsiteX2" fmla="*/ 3338 w 43396"/>
                <a:gd name="connsiteY2" fmla="*/ 28541 h 130188"/>
                <a:gd name="connsiteX3" fmla="*/ 0 w 43396"/>
                <a:gd name="connsiteY3" fmla="*/ 15189 h 130188"/>
                <a:gd name="connsiteX4" fmla="*/ 28375 w 43396"/>
                <a:gd name="connsiteY4" fmla="*/ 0 h 130188"/>
                <a:gd name="connsiteX5" fmla="*/ 43396 w 43396"/>
                <a:gd name="connsiteY5" fmla="*/ 0 h 130188"/>
                <a:gd name="connsiteX6" fmla="*/ 43396 w 43396"/>
                <a:gd name="connsiteY6" fmla="*/ 130188 h 130188"/>
                <a:gd name="connsiteX7" fmla="*/ 26372 w 43396"/>
                <a:gd name="connsiteY7" fmla="*/ 130188 h 130188"/>
                <a:gd name="connsiteX8" fmla="*/ 26372 w 43396"/>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6" h="130188">
                  <a:moveTo>
                    <a:pt x="26372" y="16357"/>
                  </a:moveTo>
                  <a:lnTo>
                    <a:pt x="26038" y="16357"/>
                  </a:lnTo>
                  <a:lnTo>
                    <a:pt x="3338" y="28541"/>
                  </a:lnTo>
                  <a:lnTo>
                    <a:pt x="0" y="15189"/>
                  </a:lnTo>
                  <a:lnTo>
                    <a:pt x="28375" y="0"/>
                  </a:lnTo>
                  <a:lnTo>
                    <a:pt x="43396" y="0"/>
                  </a:lnTo>
                  <a:lnTo>
                    <a:pt x="43396" y="130188"/>
                  </a:lnTo>
                  <a:lnTo>
                    <a:pt x="26372" y="130188"/>
                  </a:lnTo>
                  <a:lnTo>
                    <a:pt x="26372"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10" name="Freeform: Shape 1598">
              <a:extLst>
                <a:ext uri="{FF2B5EF4-FFF2-40B4-BE49-F238E27FC236}">
                  <a16:creationId xmlns:a16="http://schemas.microsoft.com/office/drawing/2014/main" id="{034EE955-E8F8-400F-E0B9-15FE739961DC}"/>
                </a:ext>
              </a:extLst>
            </p:cNvPr>
            <p:cNvSpPr/>
            <p:nvPr/>
          </p:nvSpPr>
          <p:spPr>
            <a:xfrm>
              <a:off x="5478632" y="5068297"/>
              <a:ext cx="38880" cy="103950"/>
            </a:xfrm>
            <a:custGeom>
              <a:avLst/>
              <a:gdLst>
                <a:gd name="connsiteX0" fmla="*/ 26371 w 43395"/>
                <a:gd name="connsiteY0" fmla="*/ 16357 h 130188"/>
                <a:gd name="connsiteX1" fmla="*/ 26038 w 43395"/>
                <a:gd name="connsiteY1" fmla="*/ 16357 h 130188"/>
                <a:gd name="connsiteX2" fmla="*/ 3338 w 43395"/>
                <a:gd name="connsiteY2" fmla="*/ 28541 h 130188"/>
                <a:gd name="connsiteX3" fmla="*/ 0 w 43395"/>
                <a:gd name="connsiteY3" fmla="*/ 15189 h 130188"/>
                <a:gd name="connsiteX4" fmla="*/ 28374 w 43395"/>
                <a:gd name="connsiteY4" fmla="*/ 0 h 130188"/>
                <a:gd name="connsiteX5" fmla="*/ 43396 w 43395"/>
                <a:gd name="connsiteY5" fmla="*/ 0 h 130188"/>
                <a:gd name="connsiteX6" fmla="*/ 43396 w 43395"/>
                <a:gd name="connsiteY6" fmla="*/ 130188 h 130188"/>
                <a:gd name="connsiteX7" fmla="*/ 26371 w 43395"/>
                <a:gd name="connsiteY7" fmla="*/ 130188 h 130188"/>
                <a:gd name="connsiteX8" fmla="*/ 26371 w 43395"/>
                <a:gd name="connsiteY8" fmla="*/ 16524 h 13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95" h="130188">
                  <a:moveTo>
                    <a:pt x="26371" y="16357"/>
                  </a:moveTo>
                  <a:lnTo>
                    <a:pt x="26038" y="16357"/>
                  </a:lnTo>
                  <a:lnTo>
                    <a:pt x="3338" y="28541"/>
                  </a:lnTo>
                  <a:lnTo>
                    <a:pt x="0" y="15189"/>
                  </a:lnTo>
                  <a:lnTo>
                    <a:pt x="28374" y="0"/>
                  </a:lnTo>
                  <a:lnTo>
                    <a:pt x="43396" y="0"/>
                  </a:lnTo>
                  <a:lnTo>
                    <a:pt x="43396" y="130188"/>
                  </a:lnTo>
                  <a:lnTo>
                    <a:pt x="26371" y="130188"/>
                  </a:lnTo>
                  <a:lnTo>
                    <a:pt x="26371" y="16524"/>
                  </a:ln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11" name="Freeform: Shape 1727">
              <a:extLst>
                <a:ext uri="{FF2B5EF4-FFF2-40B4-BE49-F238E27FC236}">
                  <a16:creationId xmlns:a16="http://schemas.microsoft.com/office/drawing/2014/main" id="{4A6A71F6-D621-60F6-72BD-FB6EB38C14EA}"/>
                </a:ext>
              </a:extLst>
            </p:cNvPr>
            <p:cNvSpPr/>
            <p:nvPr/>
          </p:nvSpPr>
          <p:spPr>
            <a:xfrm>
              <a:off x="5688590" y="5066431"/>
              <a:ext cx="79108" cy="107415"/>
            </a:xfrm>
            <a:custGeom>
              <a:avLst/>
              <a:gdLst>
                <a:gd name="connsiteX0" fmla="*/ 88295 w 88294"/>
                <a:gd name="connsiteY0" fmla="*/ 65929 h 134527"/>
                <a:gd name="connsiteX1" fmla="*/ 43063 w 88294"/>
                <a:gd name="connsiteY1" fmla="*/ 134528 h 134527"/>
                <a:gd name="connsiteX2" fmla="*/ 0 w 88294"/>
                <a:gd name="connsiteY2" fmla="*/ 67598 h 134527"/>
                <a:gd name="connsiteX3" fmla="*/ 45232 w 88294"/>
                <a:gd name="connsiteY3" fmla="*/ 0 h 134527"/>
                <a:gd name="connsiteX4" fmla="*/ 88295 w 88294"/>
                <a:gd name="connsiteY4" fmla="*/ 65929 h 134527"/>
                <a:gd name="connsiteX5" fmla="*/ 17526 w 88294"/>
                <a:gd name="connsiteY5" fmla="*/ 67932 h 134527"/>
                <a:gd name="connsiteX6" fmla="*/ 43897 w 88294"/>
                <a:gd name="connsiteY6" fmla="*/ 121008 h 134527"/>
                <a:gd name="connsiteX7" fmla="*/ 70602 w 88294"/>
                <a:gd name="connsiteY7" fmla="*/ 66763 h 134527"/>
                <a:gd name="connsiteX8" fmla="*/ 44231 w 88294"/>
                <a:gd name="connsiteY8" fmla="*/ 13686 h 134527"/>
                <a:gd name="connsiteX9" fmla="*/ 17693 w 88294"/>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4" h="134527">
                  <a:moveTo>
                    <a:pt x="88295" y="65929"/>
                  </a:moveTo>
                  <a:cubicBezTo>
                    <a:pt x="88295" y="110159"/>
                    <a:pt x="71938" y="134528"/>
                    <a:pt x="43063" y="134528"/>
                  </a:cubicBezTo>
                  <a:cubicBezTo>
                    <a:pt x="17693" y="134528"/>
                    <a:pt x="501" y="110660"/>
                    <a:pt x="0" y="67598"/>
                  </a:cubicBezTo>
                  <a:cubicBezTo>
                    <a:pt x="0" y="24035"/>
                    <a:pt x="18861" y="0"/>
                    <a:pt x="45232" y="0"/>
                  </a:cubicBezTo>
                  <a:cubicBezTo>
                    <a:pt x="71604" y="0"/>
                    <a:pt x="88295" y="24369"/>
                    <a:pt x="88295" y="65929"/>
                  </a:cubicBezTo>
                  <a:close/>
                  <a:moveTo>
                    <a:pt x="17526" y="67932"/>
                  </a:moveTo>
                  <a:cubicBezTo>
                    <a:pt x="17526" y="101814"/>
                    <a:pt x="27874" y="121008"/>
                    <a:pt x="43897" y="121008"/>
                  </a:cubicBezTo>
                  <a:cubicBezTo>
                    <a:pt x="61923" y="121008"/>
                    <a:pt x="70602" y="99978"/>
                    <a:pt x="70602" y="66763"/>
                  </a:cubicBezTo>
                  <a:cubicBezTo>
                    <a:pt x="70602" y="33548"/>
                    <a:pt x="62424" y="13686"/>
                    <a:pt x="44231" y="13686"/>
                  </a:cubicBezTo>
                  <a:cubicBezTo>
                    <a:pt x="28875" y="13686"/>
                    <a:pt x="17693" y="32547"/>
                    <a:pt x="17693"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sp>
          <p:nvSpPr>
            <p:cNvPr id="1912" name="Freeform: Shape 1728">
              <a:extLst>
                <a:ext uri="{FF2B5EF4-FFF2-40B4-BE49-F238E27FC236}">
                  <a16:creationId xmlns:a16="http://schemas.microsoft.com/office/drawing/2014/main" id="{EA7A4FB5-70A4-A9B6-C845-9A1811A71E8F}"/>
                </a:ext>
              </a:extLst>
            </p:cNvPr>
            <p:cNvSpPr/>
            <p:nvPr/>
          </p:nvSpPr>
          <p:spPr>
            <a:xfrm>
              <a:off x="5872678" y="5066431"/>
              <a:ext cx="79107" cy="107415"/>
            </a:xfrm>
            <a:custGeom>
              <a:avLst/>
              <a:gdLst>
                <a:gd name="connsiteX0" fmla="*/ 88294 w 88293"/>
                <a:gd name="connsiteY0" fmla="*/ 65929 h 134527"/>
                <a:gd name="connsiteX1" fmla="*/ 43062 w 88293"/>
                <a:gd name="connsiteY1" fmla="*/ 134528 h 134527"/>
                <a:gd name="connsiteX2" fmla="*/ 0 w 88293"/>
                <a:gd name="connsiteY2" fmla="*/ 67598 h 134527"/>
                <a:gd name="connsiteX3" fmla="*/ 45232 w 88293"/>
                <a:gd name="connsiteY3" fmla="*/ 0 h 134527"/>
                <a:gd name="connsiteX4" fmla="*/ 88294 w 88293"/>
                <a:gd name="connsiteY4" fmla="*/ 65929 h 134527"/>
                <a:gd name="connsiteX5" fmla="*/ 17692 w 88293"/>
                <a:gd name="connsiteY5" fmla="*/ 67932 h 134527"/>
                <a:gd name="connsiteX6" fmla="*/ 44063 w 88293"/>
                <a:gd name="connsiteY6" fmla="*/ 121008 h 134527"/>
                <a:gd name="connsiteX7" fmla="*/ 70769 w 88293"/>
                <a:gd name="connsiteY7" fmla="*/ 66763 h 134527"/>
                <a:gd name="connsiteX8" fmla="*/ 44397 w 88293"/>
                <a:gd name="connsiteY8" fmla="*/ 13686 h 134527"/>
                <a:gd name="connsiteX9" fmla="*/ 17859 w 88293"/>
                <a:gd name="connsiteY9" fmla="*/ 67932 h 13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293" h="134527">
                  <a:moveTo>
                    <a:pt x="88294" y="65929"/>
                  </a:moveTo>
                  <a:cubicBezTo>
                    <a:pt x="88294" y="110159"/>
                    <a:pt x="71937" y="134528"/>
                    <a:pt x="43062" y="134528"/>
                  </a:cubicBezTo>
                  <a:cubicBezTo>
                    <a:pt x="17692" y="134528"/>
                    <a:pt x="501" y="110660"/>
                    <a:pt x="0" y="67598"/>
                  </a:cubicBezTo>
                  <a:cubicBezTo>
                    <a:pt x="0" y="24035"/>
                    <a:pt x="18860" y="0"/>
                    <a:pt x="45232" y="0"/>
                  </a:cubicBezTo>
                  <a:cubicBezTo>
                    <a:pt x="71603" y="0"/>
                    <a:pt x="88294" y="24369"/>
                    <a:pt x="88294" y="65929"/>
                  </a:cubicBezTo>
                  <a:close/>
                  <a:moveTo>
                    <a:pt x="17692" y="67932"/>
                  </a:moveTo>
                  <a:cubicBezTo>
                    <a:pt x="17692" y="101814"/>
                    <a:pt x="28040" y="121008"/>
                    <a:pt x="44063" y="121008"/>
                  </a:cubicBezTo>
                  <a:cubicBezTo>
                    <a:pt x="62090" y="121008"/>
                    <a:pt x="70769" y="99978"/>
                    <a:pt x="70769" y="66763"/>
                  </a:cubicBezTo>
                  <a:cubicBezTo>
                    <a:pt x="70769" y="33548"/>
                    <a:pt x="62591" y="13686"/>
                    <a:pt x="44397" y="13686"/>
                  </a:cubicBezTo>
                  <a:cubicBezTo>
                    <a:pt x="29042" y="13686"/>
                    <a:pt x="17859" y="32547"/>
                    <a:pt x="17859" y="67932"/>
                  </a:cubicBezTo>
                  <a:close/>
                </a:path>
              </a:pathLst>
            </a:custGeom>
            <a:grpFill/>
            <a:ln w="16677" cap="flat">
              <a:noFill/>
              <a:prstDash val="solid"/>
              <a:miter/>
            </a:ln>
          </p:spPr>
          <p:txBody>
            <a:bodyPr lIns="22848" tIns="11424" rIns="22848" bIns="11424" rtlCol="0" anchor="ctr"/>
            <a:lstStyle/>
            <a:p>
              <a:pPr defTabSz="1074375">
                <a:defRPr/>
              </a:pPr>
              <a:endParaRPr lang="en-US" sz="1973" kern="0">
                <a:solidFill>
                  <a:srgbClr val="000000"/>
                </a:solidFill>
              </a:endParaRPr>
            </a:p>
          </p:txBody>
        </p:sp>
      </p:grpSp>
      <p:sp>
        <p:nvSpPr>
          <p:cNvPr id="41" name="Rectangle 40">
            <a:extLst>
              <a:ext uri="{FF2B5EF4-FFF2-40B4-BE49-F238E27FC236}">
                <a16:creationId xmlns:a16="http://schemas.microsoft.com/office/drawing/2014/main" id="{C00CC2A7-AA28-F043-5316-4BC4FBFD542F}"/>
              </a:ext>
            </a:extLst>
          </p:cNvPr>
          <p:cNvSpPr/>
          <p:nvPr/>
        </p:nvSpPr>
        <p:spPr bwMode="gray">
          <a:xfrm>
            <a:off x="8743732" y="4179509"/>
            <a:ext cx="423969" cy="125263"/>
          </a:xfrm>
          <a:prstGeom prst="rect">
            <a:avLst/>
          </a:prstGeom>
          <a:solidFill>
            <a:srgbClr val="0070F2"/>
          </a:solidFill>
          <a:ln w="25400" algn="ctr">
            <a:noFill/>
            <a:miter lim="800000"/>
            <a:headEnd/>
            <a:tailEnd/>
          </a:ln>
        </p:spPr>
        <p:txBody>
          <a:bodyPr wrap="none" lIns="0" tIns="0" rIns="0" bIns="0" rtlCol="0" anchor="ctr"/>
          <a:lstStyle/>
          <a:p>
            <a:pPr algn="ctr" defTabSz="902306" fontAlgn="base">
              <a:spcBef>
                <a:spcPct val="50000"/>
              </a:spcBef>
              <a:spcAft>
                <a:spcPct val="0"/>
              </a:spcAft>
              <a:buClr>
                <a:srgbClr val="F0AB00"/>
              </a:buClr>
              <a:buSzPct val="80000"/>
              <a:defRPr/>
            </a:pPr>
            <a:r>
              <a:rPr lang="en-US" sz="1798" kern="0">
                <a:gradFill>
                  <a:gsLst>
                    <a:gs pos="22000">
                      <a:srgbClr val="89D1FF"/>
                    </a:gs>
                    <a:gs pos="100000">
                      <a:srgbClr val="89D1FF"/>
                    </a:gs>
                  </a:gsLst>
                  <a:lin ang="0" scaled="1"/>
                </a:gradFill>
                <a:latin typeface="72 Brand Medium"/>
                <a:ea typeface="72 Brand" pitchFamily="34" charset="-128"/>
                <a:cs typeface="72 Brand" pitchFamily="34" charset="-128"/>
              </a:rPr>
              <a:t>360</a:t>
            </a:r>
            <a:r>
              <a:rPr lang="en-US" sz="1422" kern="0">
                <a:gradFill>
                  <a:gsLst>
                    <a:gs pos="22000">
                      <a:srgbClr val="89D1FF"/>
                    </a:gs>
                    <a:gs pos="100000">
                      <a:srgbClr val="89D1FF"/>
                    </a:gs>
                  </a:gsLst>
                  <a:lin ang="0" scaled="1"/>
                </a:gradFill>
                <a:latin typeface="72 Brand Medium"/>
                <a:ea typeface="72 Brand" pitchFamily="34" charset="-128"/>
                <a:cs typeface="72 Brand" pitchFamily="34" charset="-128"/>
              </a:rPr>
              <a:t>°</a:t>
            </a:r>
            <a:endParaRPr lang="en-GB" sz="1422" kern="0">
              <a:gradFill>
                <a:gsLst>
                  <a:gs pos="22000">
                    <a:srgbClr val="89D1FF"/>
                  </a:gs>
                  <a:gs pos="100000">
                    <a:srgbClr val="89D1FF"/>
                  </a:gs>
                </a:gsLst>
                <a:lin ang="0" scaled="1"/>
              </a:gradFill>
              <a:latin typeface="72 Brand Medium"/>
              <a:ea typeface="72 Brand" pitchFamily="34" charset="-128"/>
              <a:cs typeface="72 Brand" pitchFamily="34" charset="-128"/>
            </a:endParaRPr>
          </a:p>
        </p:txBody>
      </p:sp>
      <p:sp>
        <p:nvSpPr>
          <p:cNvPr id="44" name="Oval 43">
            <a:extLst>
              <a:ext uri="{FF2B5EF4-FFF2-40B4-BE49-F238E27FC236}">
                <a16:creationId xmlns:a16="http://schemas.microsoft.com/office/drawing/2014/main" id="{F434FB9A-3E26-47A0-EECF-1D4712EADF2E}"/>
              </a:ext>
            </a:extLst>
          </p:cNvPr>
          <p:cNvSpPr/>
          <p:nvPr/>
        </p:nvSpPr>
        <p:spPr bwMode="gray">
          <a:xfrm>
            <a:off x="9615567" y="4164265"/>
            <a:ext cx="50203" cy="50203"/>
          </a:xfrm>
          <a:prstGeom prst="ellipse">
            <a:avLst/>
          </a:prstGeom>
          <a:solidFill>
            <a:srgbClr val="1B90FF"/>
          </a:solidFill>
          <a:ln w="25400" algn="ctr">
            <a:noFill/>
            <a:miter lim="800000"/>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grpSp>
        <p:nvGrpSpPr>
          <p:cNvPr id="45" name="Group 44">
            <a:extLst>
              <a:ext uri="{FF2B5EF4-FFF2-40B4-BE49-F238E27FC236}">
                <a16:creationId xmlns:a16="http://schemas.microsoft.com/office/drawing/2014/main" id="{D7CE6F4E-B11C-6466-6D76-07611D34EE77}"/>
              </a:ext>
            </a:extLst>
          </p:cNvPr>
          <p:cNvGrpSpPr/>
          <p:nvPr/>
        </p:nvGrpSpPr>
        <p:grpSpPr>
          <a:xfrm>
            <a:off x="8215394" y="3353505"/>
            <a:ext cx="1431282" cy="1434258"/>
            <a:chOff x="3692636" y="3044649"/>
            <a:chExt cx="1908064" cy="1908064"/>
          </a:xfrm>
        </p:grpSpPr>
        <p:sp>
          <p:nvSpPr>
            <p:cNvPr id="1875" name="Arc 1874">
              <a:extLst>
                <a:ext uri="{FF2B5EF4-FFF2-40B4-BE49-F238E27FC236}">
                  <a16:creationId xmlns:a16="http://schemas.microsoft.com/office/drawing/2014/main" id="{9E32A769-6C08-8EBB-C89B-1C56B3EAF606}"/>
                </a:ext>
              </a:extLst>
            </p:cNvPr>
            <p:cNvSpPr/>
            <p:nvPr/>
          </p:nvSpPr>
          <p:spPr>
            <a:xfrm>
              <a:off x="3692636" y="3044649"/>
              <a:ext cx="1908064" cy="1908064"/>
            </a:xfrm>
            <a:prstGeom prst="arc">
              <a:avLst>
                <a:gd name="adj1" fmla="val 19241949"/>
                <a:gd name="adj2" fmla="val 2535089"/>
              </a:avLst>
            </a:prstGeom>
            <a:noFill/>
            <a:ln w="11430" algn="ctr">
              <a:solidFill>
                <a:srgbClr val="1B90FF"/>
              </a:solidFill>
              <a:miter lim="800000"/>
              <a:headEnd/>
              <a:tailEnd/>
            </a:ln>
          </p:spPr>
          <p:txBody>
            <a:bodyPr lIns="162465" tIns="129971" rIns="162465" bIns="129971" rtlCol="0" anchor="t"/>
            <a:lstStyle/>
            <a:p>
              <a:pPr defTabSz="902576" fontAlgn="base">
                <a:spcBef>
                  <a:spcPct val="50000"/>
                </a:spcBef>
                <a:spcAft>
                  <a:spcPct val="0"/>
                </a:spcAft>
                <a:buClr>
                  <a:srgbClr val="F0AB00"/>
                </a:buClr>
                <a:buSzPct val="80000"/>
                <a:defRPr/>
              </a:pPr>
              <a:endParaRPr lang="en-US" sz="1086" kern="0">
                <a:solidFill>
                  <a:srgbClr val="000000"/>
                </a:solidFill>
              </a:endParaRPr>
            </a:p>
          </p:txBody>
        </p:sp>
        <p:sp>
          <p:nvSpPr>
            <p:cNvPr id="1876" name="Arc 1875">
              <a:extLst>
                <a:ext uri="{FF2B5EF4-FFF2-40B4-BE49-F238E27FC236}">
                  <a16:creationId xmlns:a16="http://schemas.microsoft.com/office/drawing/2014/main" id="{0B881250-45D4-E433-E98C-313B07073267}"/>
                </a:ext>
              </a:extLst>
            </p:cNvPr>
            <p:cNvSpPr/>
            <p:nvPr/>
          </p:nvSpPr>
          <p:spPr>
            <a:xfrm flipH="1">
              <a:off x="3692636" y="3044649"/>
              <a:ext cx="1908064" cy="1908064"/>
            </a:xfrm>
            <a:prstGeom prst="arc">
              <a:avLst>
                <a:gd name="adj1" fmla="val 19241949"/>
                <a:gd name="adj2" fmla="val 2535089"/>
              </a:avLst>
            </a:prstGeom>
            <a:noFill/>
            <a:ln w="11430" algn="ctr">
              <a:solidFill>
                <a:srgbClr val="1B90FF"/>
              </a:solidFill>
              <a:miter lim="800000"/>
              <a:headEnd/>
              <a:tailEnd/>
            </a:ln>
          </p:spPr>
          <p:txBody>
            <a:bodyPr lIns="162465" tIns="129971" rIns="162465" bIns="129971" rtlCol="0" anchor="t"/>
            <a:lstStyle/>
            <a:p>
              <a:pPr defTabSz="902576" fontAlgn="base">
                <a:spcBef>
                  <a:spcPct val="50000"/>
                </a:spcBef>
                <a:spcAft>
                  <a:spcPct val="0"/>
                </a:spcAft>
                <a:buClr>
                  <a:srgbClr val="F0AB00"/>
                </a:buClr>
                <a:buSzPct val="80000"/>
                <a:defRPr/>
              </a:pPr>
              <a:endParaRPr lang="en-US" sz="1086" kern="0">
                <a:solidFill>
                  <a:srgbClr val="000000"/>
                </a:solidFill>
              </a:endParaRPr>
            </a:p>
          </p:txBody>
        </p:sp>
      </p:grpSp>
      <p:sp>
        <p:nvSpPr>
          <p:cNvPr id="52" name="Oval 51">
            <a:extLst>
              <a:ext uri="{FF2B5EF4-FFF2-40B4-BE49-F238E27FC236}">
                <a16:creationId xmlns:a16="http://schemas.microsoft.com/office/drawing/2014/main" id="{5807D849-3933-F982-413C-62F794498049}"/>
              </a:ext>
            </a:extLst>
          </p:cNvPr>
          <p:cNvSpPr/>
          <p:nvPr/>
        </p:nvSpPr>
        <p:spPr bwMode="gray">
          <a:xfrm>
            <a:off x="8544744" y="3682854"/>
            <a:ext cx="775560" cy="775560"/>
          </a:xfrm>
          <a:prstGeom prst="ellipse">
            <a:avLst/>
          </a:prstGeom>
          <a:noFill/>
          <a:ln w="11430" algn="ctr">
            <a:solidFill>
              <a:srgbClr val="1B90FF"/>
            </a:solidFill>
            <a:miter lim="800000"/>
            <a:headEnd/>
            <a:tailEnd/>
          </a:ln>
        </p:spPr>
        <p:txBody>
          <a:bodyPr lIns="162465" tIns="129971" rIns="162465" bIns="129971" rtlCol="0" anchor="t"/>
          <a:lstStyle/>
          <a:p>
            <a:pPr defTabSz="902576"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sp>
        <p:nvSpPr>
          <p:cNvPr id="53" name="Oval 52">
            <a:extLst>
              <a:ext uri="{FF2B5EF4-FFF2-40B4-BE49-F238E27FC236}">
                <a16:creationId xmlns:a16="http://schemas.microsoft.com/office/drawing/2014/main" id="{5FD40EA0-2310-C0B0-D469-8DFDA9A0E456}"/>
              </a:ext>
            </a:extLst>
          </p:cNvPr>
          <p:cNvSpPr/>
          <p:nvPr/>
        </p:nvSpPr>
        <p:spPr bwMode="gray">
          <a:xfrm>
            <a:off x="8186892" y="4064574"/>
            <a:ext cx="50203" cy="50203"/>
          </a:xfrm>
          <a:prstGeom prst="ellipse">
            <a:avLst/>
          </a:prstGeom>
          <a:solidFill>
            <a:srgbClr val="1B90FF"/>
          </a:solidFill>
          <a:ln w="25400" algn="ctr">
            <a:noFill/>
            <a:miter lim="800000"/>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sp>
        <p:nvSpPr>
          <p:cNvPr id="54" name="Rectangle 53">
            <a:extLst>
              <a:ext uri="{FF2B5EF4-FFF2-40B4-BE49-F238E27FC236}">
                <a16:creationId xmlns:a16="http://schemas.microsoft.com/office/drawing/2014/main" id="{59016FBB-0465-3022-8FA1-6272F23A0967}"/>
              </a:ext>
            </a:extLst>
          </p:cNvPr>
          <p:cNvSpPr/>
          <p:nvPr/>
        </p:nvSpPr>
        <p:spPr bwMode="gray">
          <a:xfrm rot="5400000">
            <a:off x="9875762" y="4108350"/>
            <a:ext cx="120948" cy="58582"/>
          </a:xfrm>
          <a:prstGeom prst="rect">
            <a:avLst/>
          </a:prstGeom>
          <a:gradFill flip="none" rotWithShape="1">
            <a:gsLst>
              <a:gs pos="0">
                <a:schemeClr val="bg1"/>
              </a:gs>
              <a:gs pos="100000">
                <a:schemeClr val="bg1">
                  <a:alpha val="0"/>
                </a:schemeClr>
              </a:gs>
            </a:gsLst>
            <a:lin ang="0" scaled="1"/>
            <a:tileRect/>
          </a:gradFill>
          <a:ln w="25400" algn="ctr">
            <a:noFill/>
            <a:miter lim="800000"/>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sp>
        <p:nvSpPr>
          <p:cNvPr id="55" name="Rectangle 157">
            <a:extLst>
              <a:ext uri="{FF2B5EF4-FFF2-40B4-BE49-F238E27FC236}">
                <a16:creationId xmlns:a16="http://schemas.microsoft.com/office/drawing/2014/main" id="{DDC6D06A-D7E3-FE7E-0895-0D070B5074E0}"/>
              </a:ext>
            </a:extLst>
          </p:cNvPr>
          <p:cNvSpPr/>
          <p:nvPr/>
        </p:nvSpPr>
        <p:spPr bwMode="gray">
          <a:xfrm rot="2514581">
            <a:off x="9910544" y="4015551"/>
            <a:ext cx="52167" cy="52167"/>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11430" cap="rnd" algn="ctr">
            <a:gradFill>
              <a:gsLst>
                <a:gs pos="0">
                  <a:srgbClr val="89D1FF"/>
                </a:gs>
                <a:gs pos="100000">
                  <a:srgbClr val="1B90FF"/>
                </a:gs>
              </a:gsLst>
              <a:lin ang="5400000" scaled="1"/>
            </a:gradFill>
            <a:round/>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ndParaRPr>
          </a:p>
        </p:txBody>
      </p:sp>
      <p:sp>
        <p:nvSpPr>
          <p:cNvPr id="56" name="Rectangle 55">
            <a:extLst>
              <a:ext uri="{FF2B5EF4-FFF2-40B4-BE49-F238E27FC236}">
                <a16:creationId xmlns:a16="http://schemas.microsoft.com/office/drawing/2014/main" id="{A8FA5E47-FE5E-5783-A512-8B9FC57D6CC2}"/>
              </a:ext>
            </a:extLst>
          </p:cNvPr>
          <p:cNvSpPr/>
          <p:nvPr/>
        </p:nvSpPr>
        <p:spPr bwMode="gray">
          <a:xfrm rot="16107478">
            <a:off x="1192528" y="3196862"/>
            <a:ext cx="120948" cy="58582"/>
          </a:xfrm>
          <a:prstGeom prst="rect">
            <a:avLst/>
          </a:prstGeom>
          <a:gradFill flip="none" rotWithShape="1">
            <a:gsLst>
              <a:gs pos="0">
                <a:schemeClr val="bg1"/>
              </a:gs>
              <a:gs pos="100000">
                <a:schemeClr val="bg1">
                  <a:alpha val="0"/>
                </a:schemeClr>
              </a:gs>
            </a:gsLst>
            <a:lin ang="0" scaled="1"/>
            <a:tileRect/>
          </a:gradFill>
          <a:ln w="25400" algn="ctr">
            <a:noFill/>
            <a:miter lim="800000"/>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sp>
        <p:nvSpPr>
          <p:cNvPr id="57" name="Rectangle 157">
            <a:extLst>
              <a:ext uri="{FF2B5EF4-FFF2-40B4-BE49-F238E27FC236}">
                <a16:creationId xmlns:a16="http://schemas.microsoft.com/office/drawing/2014/main" id="{0EE18602-BC3D-DF78-BEFB-93669F27F89D}"/>
              </a:ext>
            </a:extLst>
          </p:cNvPr>
          <p:cNvSpPr/>
          <p:nvPr/>
        </p:nvSpPr>
        <p:spPr bwMode="gray">
          <a:xfrm rot="13381609">
            <a:off x="1223254" y="3290230"/>
            <a:ext cx="52167" cy="52167"/>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11430" cap="rnd" algn="ctr">
            <a:gradFill>
              <a:gsLst>
                <a:gs pos="0">
                  <a:srgbClr val="89D1FF"/>
                </a:gs>
                <a:gs pos="100000">
                  <a:srgbClr val="1B90FF"/>
                </a:gs>
              </a:gsLst>
              <a:lin ang="5400000" scaled="1"/>
            </a:gradFill>
            <a:round/>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ndParaRPr>
          </a:p>
        </p:txBody>
      </p:sp>
      <p:sp>
        <p:nvSpPr>
          <p:cNvPr id="58" name="Rectangle 57">
            <a:extLst>
              <a:ext uri="{FF2B5EF4-FFF2-40B4-BE49-F238E27FC236}">
                <a16:creationId xmlns:a16="http://schemas.microsoft.com/office/drawing/2014/main" id="{45FA7E6B-0AB4-FCF1-3287-E9AF40442FFC}"/>
              </a:ext>
            </a:extLst>
          </p:cNvPr>
          <p:cNvSpPr/>
          <p:nvPr/>
        </p:nvSpPr>
        <p:spPr bwMode="gray">
          <a:xfrm rot="16107478">
            <a:off x="1192528" y="4681634"/>
            <a:ext cx="120948" cy="58582"/>
          </a:xfrm>
          <a:prstGeom prst="rect">
            <a:avLst/>
          </a:prstGeom>
          <a:gradFill flip="none" rotWithShape="1">
            <a:gsLst>
              <a:gs pos="0">
                <a:schemeClr val="bg1"/>
              </a:gs>
              <a:gs pos="100000">
                <a:schemeClr val="bg1">
                  <a:alpha val="0"/>
                </a:schemeClr>
              </a:gs>
            </a:gsLst>
            <a:lin ang="0" scaled="1"/>
            <a:tileRect/>
          </a:gradFill>
          <a:ln w="25400" algn="ctr">
            <a:noFill/>
            <a:miter lim="800000"/>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sp>
        <p:nvSpPr>
          <p:cNvPr id="59" name="Rectangle 157">
            <a:extLst>
              <a:ext uri="{FF2B5EF4-FFF2-40B4-BE49-F238E27FC236}">
                <a16:creationId xmlns:a16="http://schemas.microsoft.com/office/drawing/2014/main" id="{93AFF67D-A4AE-A74D-99DC-F5EF9CA4537A}"/>
              </a:ext>
            </a:extLst>
          </p:cNvPr>
          <p:cNvSpPr/>
          <p:nvPr/>
        </p:nvSpPr>
        <p:spPr bwMode="gray">
          <a:xfrm rot="13381609">
            <a:off x="1223254" y="4782172"/>
            <a:ext cx="52167" cy="52167"/>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11430" cap="rnd" algn="ctr">
            <a:gradFill>
              <a:gsLst>
                <a:gs pos="0">
                  <a:srgbClr val="89D1FF"/>
                </a:gs>
                <a:gs pos="100000">
                  <a:srgbClr val="1B90FF"/>
                </a:gs>
              </a:gsLst>
              <a:lin ang="5400000" scaled="1"/>
            </a:gradFill>
            <a:round/>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ndParaRPr>
          </a:p>
        </p:txBody>
      </p:sp>
      <p:grpSp>
        <p:nvGrpSpPr>
          <p:cNvPr id="60" name="Group 59">
            <a:extLst>
              <a:ext uri="{FF2B5EF4-FFF2-40B4-BE49-F238E27FC236}">
                <a16:creationId xmlns:a16="http://schemas.microsoft.com/office/drawing/2014/main" id="{A9DE6D33-924A-13A8-AF65-049A83574A65}"/>
              </a:ext>
            </a:extLst>
          </p:cNvPr>
          <p:cNvGrpSpPr/>
          <p:nvPr/>
        </p:nvGrpSpPr>
        <p:grpSpPr>
          <a:xfrm rot="3547635">
            <a:off x="3277486" y="1374564"/>
            <a:ext cx="106500" cy="169381"/>
            <a:chOff x="1781040" y="3052066"/>
            <a:chExt cx="141719" cy="225394"/>
          </a:xfrm>
        </p:grpSpPr>
        <p:sp>
          <p:nvSpPr>
            <p:cNvPr id="1873" name="Rectangle 1872">
              <a:extLst>
                <a:ext uri="{FF2B5EF4-FFF2-40B4-BE49-F238E27FC236}">
                  <a16:creationId xmlns:a16="http://schemas.microsoft.com/office/drawing/2014/main" id="{779FDC97-3713-E326-226E-BDE38EE0628F}"/>
                </a:ext>
              </a:extLst>
            </p:cNvPr>
            <p:cNvSpPr/>
            <p:nvPr/>
          </p:nvSpPr>
          <p:spPr bwMode="gray">
            <a:xfrm rot="18025869">
              <a:off x="1803309" y="3093562"/>
              <a:ext cx="160946" cy="77954"/>
            </a:xfrm>
            <a:prstGeom prst="rect">
              <a:avLst/>
            </a:prstGeom>
            <a:gradFill flip="none" rotWithShape="1">
              <a:gsLst>
                <a:gs pos="0">
                  <a:schemeClr val="bg1"/>
                </a:gs>
                <a:gs pos="100000">
                  <a:schemeClr val="bg1">
                    <a:alpha val="0"/>
                  </a:schemeClr>
                </a:gs>
              </a:gsLst>
              <a:lin ang="0" scaled="1"/>
              <a:tileRect/>
            </a:gradFill>
            <a:ln w="25400" algn="ctr">
              <a:noFill/>
              <a:miter lim="800000"/>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sp>
          <p:nvSpPr>
            <p:cNvPr id="1874" name="Rectangle 157">
              <a:extLst>
                <a:ext uri="{FF2B5EF4-FFF2-40B4-BE49-F238E27FC236}">
                  <a16:creationId xmlns:a16="http://schemas.microsoft.com/office/drawing/2014/main" id="{D17CE7B9-B6C5-251E-9EC0-E482CB313A33}"/>
                </a:ext>
              </a:extLst>
            </p:cNvPr>
            <p:cNvSpPr/>
            <p:nvPr/>
          </p:nvSpPr>
          <p:spPr bwMode="gray">
            <a:xfrm rot="15300000">
              <a:off x="1781040" y="3208041"/>
              <a:ext cx="69419" cy="69419"/>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11430" cap="rnd" algn="ctr">
              <a:gradFill>
                <a:gsLst>
                  <a:gs pos="0">
                    <a:srgbClr val="89D1FF"/>
                  </a:gs>
                  <a:gs pos="100000">
                    <a:srgbClr val="1B90FF"/>
                  </a:gs>
                </a:gsLst>
                <a:lin ang="5400000" scaled="1"/>
              </a:gradFill>
              <a:round/>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ndParaRPr>
            </a:p>
          </p:txBody>
        </p:sp>
      </p:grpSp>
      <p:sp>
        <p:nvSpPr>
          <p:cNvPr id="61" name="TextBox 60">
            <a:extLst>
              <a:ext uri="{FF2B5EF4-FFF2-40B4-BE49-F238E27FC236}">
                <a16:creationId xmlns:a16="http://schemas.microsoft.com/office/drawing/2014/main" id="{3FA7A536-8179-E3BD-A0EF-EF8AAF59EAA3}"/>
              </a:ext>
            </a:extLst>
          </p:cNvPr>
          <p:cNvSpPr txBox="1"/>
          <p:nvPr/>
        </p:nvSpPr>
        <p:spPr>
          <a:xfrm>
            <a:off x="1266384" y="3793709"/>
            <a:ext cx="1111904" cy="387596"/>
          </a:xfrm>
          <a:prstGeom prst="rect">
            <a:avLst/>
          </a:prstGeom>
          <a:noFill/>
        </p:spPr>
        <p:txBody>
          <a:bodyPr wrap="none" lIns="0" tIns="0" rIns="0" bIns="0" rtlCol="0">
            <a:spAutoFit/>
          </a:bodyPr>
          <a:lstStyle/>
          <a:p>
            <a:pPr defTabSz="1074053" fontAlgn="base">
              <a:lnSpc>
                <a:spcPct val="90000"/>
              </a:lnSpc>
              <a:spcBef>
                <a:spcPct val="50000"/>
              </a:spcBef>
              <a:spcAft>
                <a:spcPct val="0"/>
              </a:spcAft>
              <a:buClr>
                <a:srgbClr val="000000"/>
              </a:buClr>
              <a:buSzPct val="100000"/>
              <a:defRPr/>
            </a:pPr>
            <a:r>
              <a:rPr lang="en-US" sz="1400" kern="0">
                <a:gradFill>
                  <a:gsLst>
                    <a:gs pos="0">
                      <a:srgbClr val="FFFFFF"/>
                    </a:gs>
                    <a:gs pos="100000">
                      <a:srgbClr val="FFFFFF"/>
                    </a:gs>
                  </a:gsLst>
                  <a:lin ang="2700000" scaled="1"/>
                </a:gradFill>
                <a:latin typeface="72 Brand Medium"/>
                <a:ea typeface="72 Brand" pitchFamily="34" charset="-128"/>
                <a:cs typeface="72 Brand" pitchFamily="34" charset="-128"/>
              </a:rPr>
              <a:t>SAP Business</a:t>
            </a:r>
            <a:br>
              <a:rPr lang="en-US" sz="1400" kern="0">
                <a:gradFill>
                  <a:gsLst>
                    <a:gs pos="0">
                      <a:srgbClr val="FFFFFF"/>
                    </a:gs>
                    <a:gs pos="100000">
                      <a:srgbClr val="FFFFFF"/>
                    </a:gs>
                  </a:gsLst>
                  <a:lin ang="2700000" scaled="1"/>
                </a:gradFill>
                <a:latin typeface="72 Brand Medium"/>
                <a:ea typeface="72 Brand" pitchFamily="34" charset="-128"/>
                <a:cs typeface="72 Brand" pitchFamily="34" charset="-128"/>
              </a:rPr>
            </a:br>
            <a:r>
              <a:rPr lang="en-US" sz="1400" kern="0">
                <a:gradFill>
                  <a:gsLst>
                    <a:gs pos="0">
                      <a:srgbClr val="FFFFFF"/>
                    </a:gs>
                    <a:gs pos="100000">
                      <a:srgbClr val="FFFFFF"/>
                    </a:gs>
                  </a:gsLst>
                  <a:lin ang="2700000" scaled="1"/>
                </a:gradFill>
                <a:latin typeface="72 Brand Medium"/>
                <a:ea typeface="72 Brand" pitchFamily="34" charset="-128"/>
                <a:cs typeface="72 Brand" pitchFamily="34" charset="-128"/>
              </a:rPr>
              <a:t>Data Cloud</a:t>
            </a:r>
          </a:p>
        </p:txBody>
      </p:sp>
      <p:pic>
        <p:nvPicPr>
          <p:cNvPr id="62" name="Picture 61">
            <a:extLst>
              <a:ext uri="{FF2B5EF4-FFF2-40B4-BE49-F238E27FC236}">
                <a16:creationId xmlns:a16="http://schemas.microsoft.com/office/drawing/2014/main" id="{23E88FD0-E2E8-F0BE-5CD9-6CEDDD6960AE}"/>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contrast="100000"/>
                    </a14:imgEffect>
                  </a14:imgLayer>
                </a14:imgProps>
              </a:ext>
            </a:extLst>
          </a:blip>
          <a:stretch>
            <a:fillRect/>
          </a:stretch>
        </p:blipFill>
        <p:spPr>
          <a:xfrm>
            <a:off x="8546211" y="4562148"/>
            <a:ext cx="760238" cy="293467"/>
          </a:xfrm>
          <a:prstGeom prst="rect">
            <a:avLst/>
          </a:prstGeom>
        </p:spPr>
      </p:pic>
      <p:sp>
        <p:nvSpPr>
          <p:cNvPr id="896" name="TextBox 895">
            <a:extLst>
              <a:ext uri="{FF2B5EF4-FFF2-40B4-BE49-F238E27FC236}">
                <a16:creationId xmlns:a16="http://schemas.microsoft.com/office/drawing/2014/main" id="{9E6D8FF5-5F97-D82E-31A6-3A60BC773D3F}"/>
              </a:ext>
            </a:extLst>
          </p:cNvPr>
          <p:cNvSpPr txBox="1"/>
          <p:nvPr/>
        </p:nvSpPr>
        <p:spPr>
          <a:xfrm>
            <a:off x="5868737" y="3756305"/>
            <a:ext cx="834731" cy="276855"/>
          </a:xfrm>
          <a:prstGeom prst="rect">
            <a:avLst/>
          </a:prstGeom>
          <a:noFill/>
        </p:spPr>
        <p:txBody>
          <a:bodyPr wrap="non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000" kern="0">
                <a:gradFill>
                  <a:gsLst>
                    <a:gs pos="4000">
                      <a:srgbClr val="FFFFFF"/>
                    </a:gs>
                    <a:gs pos="62000">
                      <a:srgbClr val="FFFFFF"/>
                    </a:gs>
                  </a:gsLst>
                  <a:lin ang="16200000" scaled="1"/>
                </a:gradFill>
                <a:latin typeface="72 Brand Book" panose="020B0404030603020204" pitchFamily="34" charset="0"/>
              </a:rPr>
              <a:t>Spend</a:t>
            </a:r>
            <a:br>
              <a:rPr lang="en-US" sz="1000" kern="0">
                <a:gradFill>
                  <a:gsLst>
                    <a:gs pos="4000">
                      <a:srgbClr val="FFFFFF"/>
                    </a:gs>
                    <a:gs pos="62000">
                      <a:srgbClr val="FFFFFF"/>
                    </a:gs>
                  </a:gsLst>
                  <a:lin ang="16200000" scaled="1"/>
                </a:gradFill>
                <a:latin typeface="72 Brand" panose="020B0504030603020204" pitchFamily="34" charset="0"/>
                <a:ea typeface="72 Brand" pitchFamily="34" charset="-128"/>
                <a:cs typeface="72 Brand" pitchFamily="34" charset="-128"/>
              </a:rPr>
            </a:br>
            <a:r>
              <a:rPr lang="en-US" sz="1000" kern="0">
                <a:gradFill>
                  <a:gsLst>
                    <a:gs pos="4000">
                      <a:srgbClr val="FFFFFF"/>
                    </a:gs>
                    <a:gs pos="62000">
                      <a:srgbClr val="FFFFFF"/>
                    </a:gs>
                  </a:gsLst>
                  <a:lin ang="16200000" scaled="1"/>
                </a:gradFill>
                <a:latin typeface="72 Brand Medium" panose="020B0504030603020204" pitchFamily="34" charset="0"/>
              </a:rPr>
              <a:t>data products</a:t>
            </a:r>
          </a:p>
        </p:txBody>
      </p:sp>
      <p:sp>
        <p:nvSpPr>
          <p:cNvPr id="897" name="TextBox 896">
            <a:extLst>
              <a:ext uri="{FF2B5EF4-FFF2-40B4-BE49-F238E27FC236}">
                <a16:creationId xmlns:a16="http://schemas.microsoft.com/office/drawing/2014/main" id="{D916C63F-337D-F110-6194-37B9191AE041}"/>
              </a:ext>
            </a:extLst>
          </p:cNvPr>
          <p:cNvSpPr txBox="1"/>
          <p:nvPr/>
        </p:nvSpPr>
        <p:spPr>
          <a:xfrm>
            <a:off x="3908799" y="3756305"/>
            <a:ext cx="865082" cy="276855"/>
          </a:xfrm>
          <a:prstGeom prst="rect">
            <a:avLst/>
          </a:prstGeom>
          <a:noFill/>
        </p:spPr>
        <p:txBody>
          <a:bodyPr wrap="non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000" kern="0">
                <a:gradFill>
                  <a:gsLst>
                    <a:gs pos="4000">
                      <a:srgbClr val="FFFFFF"/>
                    </a:gs>
                    <a:gs pos="62000">
                      <a:srgbClr val="FFFFFF"/>
                    </a:gs>
                  </a:gsLst>
                  <a:lin ang="16200000" scaled="1"/>
                </a:gradFill>
                <a:latin typeface="72 Brand Book" panose="020B0404030603020204" pitchFamily="34" charset="0"/>
              </a:rPr>
              <a:t>Supply chain</a:t>
            </a:r>
            <a:br>
              <a:rPr lang="en-US" sz="1000" kern="0">
                <a:gradFill>
                  <a:gsLst>
                    <a:gs pos="4000">
                      <a:srgbClr val="FFFFFF"/>
                    </a:gs>
                    <a:gs pos="62000">
                      <a:srgbClr val="FFFFFF"/>
                    </a:gs>
                  </a:gsLst>
                  <a:lin ang="16200000" scaled="1"/>
                </a:gradFill>
                <a:latin typeface="72 Brand" panose="020B0504030603020204" pitchFamily="34" charset="0"/>
                <a:ea typeface="72 Brand" pitchFamily="34" charset="-128"/>
                <a:cs typeface="72 Brand" pitchFamily="34" charset="-128"/>
              </a:rPr>
            </a:br>
            <a:r>
              <a:rPr lang="en-US" sz="1000" kern="0">
                <a:gradFill>
                  <a:gsLst>
                    <a:gs pos="4000">
                      <a:srgbClr val="FFFFFF"/>
                    </a:gs>
                    <a:gs pos="62000">
                      <a:srgbClr val="FFFFFF"/>
                    </a:gs>
                  </a:gsLst>
                  <a:lin ang="16200000" scaled="1"/>
                </a:gradFill>
                <a:latin typeface="72 Brand Medium" panose="020B0504030603020204" pitchFamily="34" charset="0"/>
              </a:rPr>
              <a:t>data products</a:t>
            </a:r>
          </a:p>
        </p:txBody>
      </p:sp>
      <p:sp>
        <p:nvSpPr>
          <p:cNvPr id="898" name="TextBox 897">
            <a:extLst>
              <a:ext uri="{FF2B5EF4-FFF2-40B4-BE49-F238E27FC236}">
                <a16:creationId xmlns:a16="http://schemas.microsoft.com/office/drawing/2014/main" id="{E7B53101-409E-9893-4C98-90AE50F29578}"/>
              </a:ext>
            </a:extLst>
          </p:cNvPr>
          <p:cNvSpPr txBox="1"/>
          <p:nvPr/>
        </p:nvSpPr>
        <p:spPr>
          <a:xfrm>
            <a:off x="4888768" y="3756305"/>
            <a:ext cx="865082" cy="276855"/>
          </a:xfrm>
          <a:prstGeom prst="rect">
            <a:avLst/>
          </a:prstGeom>
          <a:noFill/>
        </p:spPr>
        <p:txBody>
          <a:bodyPr wrap="non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000" kern="0">
                <a:gradFill>
                  <a:gsLst>
                    <a:gs pos="4000">
                      <a:srgbClr val="FFFFFF"/>
                    </a:gs>
                    <a:gs pos="62000">
                      <a:srgbClr val="FFFFFF"/>
                    </a:gs>
                  </a:gsLst>
                  <a:lin ang="16200000" scaled="1"/>
                </a:gradFill>
                <a:latin typeface="72 Brand Book" panose="020B0404030603020204" pitchFamily="34" charset="0"/>
              </a:rPr>
              <a:t>HR</a:t>
            </a:r>
            <a:br>
              <a:rPr lang="en-US" sz="1000" kern="0">
                <a:gradFill>
                  <a:gsLst>
                    <a:gs pos="4000">
                      <a:srgbClr val="FFFFFF"/>
                    </a:gs>
                    <a:gs pos="62000">
                      <a:srgbClr val="FFFFFF"/>
                    </a:gs>
                  </a:gsLst>
                  <a:lin ang="16200000" scaled="1"/>
                </a:gradFill>
                <a:latin typeface="72 Brand" panose="020B0504030603020204" pitchFamily="34" charset="0"/>
                <a:ea typeface="72 Brand" pitchFamily="34" charset="-128"/>
                <a:cs typeface="72 Brand" pitchFamily="34" charset="-128"/>
              </a:rPr>
            </a:br>
            <a:r>
              <a:rPr lang="en-US" sz="1000" kern="0">
                <a:gradFill>
                  <a:gsLst>
                    <a:gs pos="4000">
                      <a:srgbClr val="FFFFFF"/>
                    </a:gs>
                    <a:gs pos="62000">
                      <a:srgbClr val="FFFFFF"/>
                    </a:gs>
                  </a:gsLst>
                  <a:lin ang="16200000" scaled="1"/>
                </a:gradFill>
                <a:latin typeface="72 Brand Medium" panose="020B0504030603020204" pitchFamily="34" charset="0"/>
              </a:rPr>
              <a:t>data products</a:t>
            </a:r>
          </a:p>
        </p:txBody>
      </p:sp>
      <p:sp>
        <p:nvSpPr>
          <p:cNvPr id="899" name="TextBox 898">
            <a:extLst>
              <a:ext uri="{FF2B5EF4-FFF2-40B4-BE49-F238E27FC236}">
                <a16:creationId xmlns:a16="http://schemas.microsoft.com/office/drawing/2014/main" id="{746B6FCA-C996-A413-7F56-5799397B0081}"/>
              </a:ext>
            </a:extLst>
          </p:cNvPr>
          <p:cNvSpPr txBox="1"/>
          <p:nvPr/>
        </p:nvSpPr>
        <p:spPr>
          <a:xfrm>
            <a:off x="2938883" y="3756305"/>
            <a:ext cx="855027" cy="276855"/>
          </a:xfrm>
          <a:prstGeom prst="rect">
            <a:avLst/>
          </a:prstGeom>
          <a:noFill/>
        </p:spPr>
        <p:txBody>
          <a:bodyPr wrap="non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000" kern="0">
                <a:gradFill>
                  <a:gsLst>
                    <a:gs pos="4000">
                      <a:srgbClr val="FFFFFF"/>
                    </a:gs>
                    <a:gs pos="62000">
                      <a:srgbClr val="FFFFFF"/>
                    </a:gs>
                  </a:gsLst>
                  <a:lin ang="16200000" scaled="1"/>
                </a:gradFill>
                <a:latin typeface="72 Brand Book" panose="020B0404030603020204" pitchFamily="34" charset="0"/>
              </a:rPr>
              <a:t>Finance</a:t>
            </a:r>
            <a:br>
              <a:rPr lang="en-US" sz="1000" kern="0">
                <a:gradFill>
                  <a:gsLst>
                    <a:gs pos="4000">
                      <a:srgbClr val="FFFFFF"/>
                    </a:gs>
                    <a:gs pos="62000">
                      <a:srgbClr val="FFFFFF"/>
                    </a:gs>
                  </a:gsLst>
                  <a:lin ang="16200000" scaled="1"/>
                </a:gradFill>
                <a:latin typeface="72 Brand" panose="020B0504030603020204" pitchFamily="34" charset="0"/>
                <a:ea typeface="72 Brand" pitchFamily="34" charset="-128"/>
                <a:cs typeface="72 Brand" pitchFamily="34" charset="-128"/>
              </a:rPr>
            </a:br>
            <a:r>
              <a:rPr lang="en-US" sz="1000" kern="0">
                <a:gradFill>
                  <a:gsLst>
                    <a:gs pos="4000">
                      <a:srgbClr val="FFFFFF"/>
                    </a:gs>
                    <a:gs pos="62000">
                      <a:srgbClr val="FFFFFF"/>
                    </a:gs>
                  </a:gsLst>
                  <a:lin ang="16200000" scaled="1"/>
                </a:gradFill>
                <a:latin typeface="72 Brand Medium" panose="020B0504030603020204" pitchFamily="34" charset="0"/>
              </a:rPr>
              <a:t>data products</a:t>
            </a:r>
          </a:p>
        </p:txBody>
      </p:sp>
      <p:grpSp>
        <p:nvGrpSpPr>
          <p:cNvPr id="900" name="Group 899">
            <a:extLst>
              <a:ext uri="{FF2B5EF4-FFF2-40B4-BE49-F238E27FC236}">
                <a16:creationId xmlns:a16="http://schemas.microsoft.com/office/drawing/2014/main" id="{4502CB87-BD83-2C3A-398C-D8DC863E8587}"/>
              </a:ext>
            </a:extLst>
          </p:cNvPr>
          <p:cNvGrpSpPr/>
          <p:nvPr/>
        </p:nvGrpSpPr>
        <p:grpSpPr>
          <a:xfrm>
            <a:off x="6105642" y="5114480"/>
            <a:ext cx="325500" cy="325500"/>
            <a:chOff x="3933391" y="2338189"/>
            <a:chExt cx="638319" cy="638319"/>
          </a:xfrm>
        </p:grpSpPr>
        <p:sp>
          <p:nvSpPr>
            <p:cNvPr id="1871" name="Rectangle: Rounded Corners 16">
              <a:extLst>
                <a:ext uri="{FF2B5EF4-FFF2-40B4-BE49-F238E27FC236}">
                  <a16:creationId xmlns:a16="http://schemas.microsoft.com/office/drawing/2014/main" id="{5AB231FC-6821-A4EA-43A7-80528366116C}"/>
                </a:ext>
              </a:extLst>
            </p:cNvPr>
            <p:cNvSpPr/>
            <p:nvPr/>
          </p:nvSpPr>
          <p:spPr bwMode="gray">
            <a:xfrm>
              <a:off x="3933391" y="2338189"/>
              <a:ext cx="638319" cy="638319"/>
            </a:xfrm>
            <a:prstGeom prst="roundRect">
              <a:avLst/>
            </a:prstGeom>
            <a:solidFill>
              <a:srgbClr val="EBF8FF"/>
            </a:solidFill>
            <a:ln w="25400" algn="ctr">
              <a:noFill/>
              <a:miter lim="800000"/>
              <a:headEnd/>
              <a:tailEnd/>
            </a:ln>
          </p:spPr>
          <p:txBody>
            <a:bodyPr lIns="162380" tIns="129904" rIns="162380" bIns="129904" rtlCol="0" anchor="t"/>
            <a:lstStyle/>
            <a:p>
              <a:pPr defTabSz="1074375"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pic>
          <p:nvPicPr>
            <p:cNvPr id="1872" name="Picture 1871">
              <a:extLst>
                <a:ext uri="{FF2B5EF4-FFF2-40B4-BE49-F238E27FC236}">
                  <a16:creationId xmlns:a16="http://schemas.microsoft.com/office/drawing/2014/main" id="{3029ABBF-BFC5-6378-DD73-273F6829FF87}"/>
                </a:ext>
              </a:extLst>
            </p:cNvPr>
            <p:cNvPicPr>
              <a:picLocks noChangeAspect="1"/>
            </p:cNvPicPr>
            <p:nvPr/>
          </p:nvPicPr>
          <p:blipFill rotWithShape="1">
            <a:blip r:embed="rId8"/>
            <a:srcRect l="1704" t="1724"/>
            <a:stretch/>
          </p:blipFill>
          <p:spPr>
            <a:xfrm>
              <a:off x="4047573" y="2440245"/>
              <a:ext cx="409955" cy="434202"/>
            </a:xfrm>
            <a:prstGeom prst="rect">
              <a:avLst/>
            </a:prstGeom>
          </p:spPr>
        </p:pic>
      </p:grpSp>
      <p:grpSp>
        <p:nvGrpSpPr>
          <p:cNvPr id="901" name="Group 900">
            <a:extLst>
              <a:ext uri="{FF2B5EF4-FFF2-40B4-BE49-F238E27FC236}">
                <a16:creationId xmlns:a16="http://schemas.microsoft.com/office/drawing/2014/main" id="{61B8631B-C1CD-9E63-2D45-E9285F147C41}"/>
              </a:ext>
            </a:extLst>
          </p:cNvPr>
          <p:cNvGrpSpPr/>
          <p:nvPr/>
        </p:nvGrpSpPr>
        <p:grpSpPr>
          <a:xfrm>
            <a:off x="3203647" y="5127299"/>
            <a:ext cx="325500" cy="325500"/>
            <a:chOff x="10653941" y="2366773"/>
            <a:chExt cx="638319" cy="638319"/>
          </a:xfrm>
        </p:grpSpPr>
        <p:sp>
          <p:nvSpPr>
            <p:cNvPr id="1869" name="Rectangle: Rounded Corners 19">
              <a:extLst>
                <a:ext uri="{FF2B5EF4-FFF2-40B4-BE49-F238E27FC236}">
                  <a16:creationId xmlns:a16="http://schemas.microsoft.com/office/drawing/2014/main" id="{39154D3E-D90A-A16A-6FFE-BAB9B0AFD5B6}"/>
                </a:ext>
              </a:extLst>
            </p:cNvPr>
            <p:cNvSpPr/>
            <p:nvPr/>
          </p:nvSpPr>
          <p:spPr bwMode="gray">
            <a:xfrm>
              <a:off x="10653941" y="2366773"/>
              <a:ext cx="638319" cy="638319"/>
            </a:xfrm>
            <a:prstGeom prst="roundRect">
              <a:avLst/>
            </a:prstGeom>
            <a:solidFill>
              <a:srgbClr val="EBF8FF"/>
            </a:solidFill>
            <a:ln w="25400" algn="ctr">
              <a:noFill/>
              <a:miter lim="800000"/>
              <a:headEnd/>
              <a:tailEnd/>
            </a:ln>
          </p:spPr>
          <p:txBody>
            <a:bodyPr lIns="162380" tIns="129904" rIns="162380" bIns="129904" rtlCol="0" anchor="t"/>
            <a:lstStyle/>
            <a:p>
              <a:pPr defTabSz="1074375"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pic>
          <p:nvPicPr>
            <p:cNvPr id="1870" name="Picture 1869">
              <a:extLst>
                <a:ext uri="{FF2B5EF4-FFF2-40B4-BE49-F238E27FC236}">
                  <a16:creationId xmlns:a16="http://schemas.microsoft.com/office/drawing/2014/main" id="{FB8653CC-664C-A991-57E1-7681DA60502D}"/>
                </a:ext>
              </a:extLst>
            </p:cNvPr>
            <p:cNvPicPr>
              <a:picLocks noChangeAspect="1"/>
            </p:cNvPicPr>
            <p:nvPr/>
          </p:nvPicPr>
          <p:blipFill>
            <a:blip r:embed="rId9"/>
            <a:stretch>
              <a:fillRect/>
            </a:stretch>
          </p:blipFill>
          <p:spPr>
            <a:xfrm>
              <a:off x="10770478" y="2498830"/>
              <a:ext cx="405243" cy="374203"/>
            </a:xfrm>
            <a:prstGeom prst="rect">
              <a:avLst/>
            </a:prstGeom>
          </p:spPr>
        </p:pic>
      </p:grpSp>
      <p:grpSp>
        <p:nvGrpSpPr>
          <p:cNvPr id="902" name="Group 901">
            <a:extLst>
              <a:ext uri="{FF2B5EF4-FFF2-40B4-BE49-F238E27FC236}">
                <a16:creationId xmlns:a16="http://schemas.microsoft.com/office/drawing/2014/main" id="{7E0D5CBE-6C37-3839-A62B-E5C447C37C7A}"/>
              </a:ext>
            </a:extLst>
          </p:cNvPr>
          <p:cNvGrpSpPr/>
          <p:nvPr/>
        </p:nvGrpSpPr>
        <p:grpSpPr>
          <a:xfrm>
            <a:off x="7072972" y="5120419"/>
            <a:ext cx="325500" cy="325500"/>
            <a:chOff x="6163409" y="2351433"/>
            <a:chExt cx="638319" cy="638319"/>
          </a:xfrm>
        </p:grpSpPr>
        <p:sp>
          <p:nvSpPr>
            <p:cNvPr id="1867" name="Rectangle: Rounded Corners 25">
              <a:extLst>
                <a:ext uri="{FF2B5EF4-FFF2-40B4-BE49-F238E27FC236}">
                  <a16:creationId xmlns:a16="http://schemas.microsoft.com/office/drawing/2014/main" id="{ADCD20E0-9AB8-0000-57DE-7DA93DB0996B}"/>
                </a:ext>
              </a:extLst>
            </p:cNvPr>
            <p:cNvSpPr/>
            <p:nvPr/>
          </p:nvSpPr>
          <p:spPr bwMode="gray">
            <a:xfrm>
              <a:off x="6163409" y="2351433"/>
              <a:ext cx="638319" cy="638319"/>
            </a:xfrm>
            <a:prstGeom prst="roundRect">
              <a:avLst/>
            </a:prstGeom>
            <a:solidFill>
              <a:srgbClr val="EBF8FF"/>
            </a:solidFill>
            <a:ln w="25400" algn="ctr">
              <a:noFill/>
              <a:miter lim="800000"/>
              <a:headEnd/>
              <a:tailEnd/>
            </a:ln>
          </p:spPr>
          <p:txBody>
            <a:bodyPr lIns="162380" tIns="129904" rIns="162380" bIns="129904" rtlCol="0" anchor="t"/>
            <a:lstStyle/>
            <a:p>
              <a:pPr defTabSz="1074375"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pic>
          <p:nvPicPr>
            <p:cNvPr id="1868" name="Picture 1867">
              <a:extLst>
                <a:ext uri="{FF2B5EF4-FFF2-40B4-BE49-F238E27FC236}">
                  <a16:creationId xmlns:a16="http://schemas.microsoft.com/office/drawing/2014/main" id="{F47E3E08-0063-7BAC-E374-B9E675345B6E}"/>
                </a:ext>
              </a:extLst>
            </p:cNvPr>
            <p:cNvPicPr>
              <a:picLocks noChangeAspect="1"/>
            </p:cNvPicPr>
            <p:nvPr/>
          </p:nvPicPr>
          <p:blipFill>
            <a:blip r:embed="rId10"/>
            <a:stretch>
              <a:fillRect/>
            </a:stretch>
          </p:blipFill>
          <p:spPr>
            <a:xfrm>
              <a:off x="6283651" y="2447297"/>
              <a:ext cx="397832" cy="446586"/>
            </a:xfrm>
            <a:prstGeom prst="rect">
              <a:avLst/>
            </a:prstGeom>
          </p:spPr>
        </p:pic>
      </p:grpSp>
      <p:grpSp>
        <p:nvGrpSpPr>
          <p:cNvPr id="903" name="Group 902">
            <a:extLst>
              <a:ext uri="{FF2B5EF4-FFF2-40B4-BE49-F238E27FC236}">
                <a16:creationId xmlns:a16="http://schemas.microsoft.com/office/drawing/2014/main" id="{E78AB799-47E3-0956-0C68-75462C1F363D}"/>
              </a:ext>
            </a:extLst>
          </p:cNvPr>
          <p:cNvGrpSpPr/>
          <p:nvPr/>
        </p:nvGrpSpPr>
        <p:grpSpPr>
          <a:xfrm>
            <a:off x="5138311" y="5122239"/>
            <a:ext cx="325500" cy="325500"/>
            <a:chOff x="8465712" y="2355491"/>
            <a:chExt cx="638319" cy="638319"/>
          </a:xfrm>
        </p:grpSpPr>
        <p:sp>
          <p:nvSpPr>
            <p:cNvPr id="1865" name="Rectangle: Rounded Corners 28">
              <a:extLst>
                <a:ext uri="{FF2B5EF4-FFF2-40B4-BE49-F238E27FC236}">
                  <a16:creationId xmlns:a16="http://schemas.microsoft.com/office/drawing/2014/main" id="{6AE04646-BCEC-26C3-BF2C-A8C43BA193AF}"/>
                </a:ext>
              </a:extLst>
            </p:cNvPr>
            <p:cNvSpPr/>
            <p:nvPr/>
          </p:nvSpPr>
          <p:spPr bwMode="gray">
            <a:xfrm>
              <a:off x="8465712" y="2355491"/>
              <a:ext cx="638319" cy="638319"/>
            </a:xfrm>
            <a:prstGeom prst="roundRect">
              <a:avLst/>
            </a:prstGeom>
            <a:solidFill>
              <a:srgbClr val="EBF8FF"/>
            </a:solidFill>
            <a:ln w="25400" algn="ctr">
              <a:noFill/>
              <a:miter lim="800000"/>
              <a:headEnd/>
              <a:tailEnd/>
            </a:ln>
          </p:spPr>
          <p:txBody>
            <a:bodyPr lIns="162380" tIns="129904" rIns="162380" bIns="129904" rtlCol="0" anchor="t"/>
            <a:lstStyle/>
            <a:p>
              <a:pPr defTabSz="1074375"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pic>
          <p:nvPicPr>
            <p:cNvPr id="1866" name="Picture 1865">
              <a:extLst>
                <a:ext uri="{FF2B5EF4-FFF2-40B4-BE49-F238E27FC236}">
                  <a16:creationId xmlns:a16="http://schemas.microsoft.com/office/drawing/2014/main" id="{B01E11FD-96D8-7CB4-C16A-436DE2694906}"/>
                </a:ext>
              </a:extLst>
            </p:cNvPr>
            <p:cNvPicPr>
              <a:picLocks noChangeAspect="1"/>
            </p:cNvPicPr>
            <p:nvPr/>
          </p:nvPicPr>
          <p:blipFill>
            <a:blip r:embed="rId11"/>
            <a:stretch>
              <a:fillRect/>
            </a:stretch>
          </p:blipFill>
          <p:spPr>
            <a:xfrm>
              <a:off x="8569939" y="2483155"/>
              <a:ext cx="429880" cy="383012"/>
            </a:xfrm>
            <a:prstGeom prst="rect">
              <a:avLst/>
            </a:prstGeom>
          </p:spPr>
        </p:pic>
      </p:grpSp>
      <p:sp>
        <p:nvSpPr>
          <p:cNvPr id="904" name="TextBox 903">
            <a:extLst>
              <a:ext uri="{FF2B5EF4-FFF2-40B4-BE49-F238E27FC236}">
                <a16:creationId xmlns:a16="http://schemas.microsoft.com/office/drawing/2014/main" id="{BF353383-493B-EB27-AAEA-E576099BF9E8}"/>
              </a:ext>
            </a:extLst>
          </p:cNvPr>
          <p:cNvSpPr txBox="1"/>
          <p:nvPr/>
        </p:nvSpPr>
        <p:spPr>
          <a:xfrm>
            <a:off x="6927774" y="5525613"/>
            <a:ext cx="637663" cy="276855"/>
          </a:xfrm>
          <a:prstGeom prst="rect">
            <a:avLst/>
          </a:prstGeom>
          <a:noFill/>
        </p:spPr>
        <p:txBody>
          <a:bodyPr wrap="non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000" kern="0">
                <a:solidFill>
                  <a:srgbClr val="00144A"/>
                </a:solidFill>
                <a:latin typeface="72 Brand" panose="020B0504030603020204" pitchFamily="34" charset="0"/>
                <a:ea typeface="72 Brand" pitchFamily="34" charset="-128"/>
                <a:cs typeface="72 Brand" pitchFamily="34" charset="-128"/>
              </a:rPr>
              <a:t>Customer</a:t>
            </a:r>
            <a:br>
              <a:rPr lang="en-US" sz="1000" kern="0">
                <a:solidFill>
                  <a:srgbClr val="00144A"/>
                </a:solidFill>
                <a:latin typeface="72 Brand" panose="020B0504030603020204" pitchFamily="34" charset="0"/>
                <a:ea typeface="72 Brand" pitchFamily="34" charset="-128"/>
                <a:cs typeface="72 Brand" pitchFamily="34" charset="-128"/>
              </a:rPr>
            </a:br>
            <a:r>
              <a:rPr lang="en-US" sz="1000" kern="0">
                <a:solidFill>
                  <a:srgbClr val="00144A"/>
                </a:solidFill>
                <a:latin typeface="72 Brand" panose="020B0504030603020204" pitchFamily="34" charset="0"/>
                <a:ea typeface="72 Brand" pitchFamily="34" charset="-128"/>
                <a:cs typeface="72 Brand" pitchFamily="34" charset="-128"/>
              </a:rPr>
              <a:t>experience</a:t>
            </a:r>
          </a:p>
        </p:txBody>
      </p:sp>
      <p:sp>
        <p:nvSpPr>
          <p:cNvPr id="905" name="TextBox 904">
            <a:extLst>
              <a:ext uri="{FF2B5EF4-FFF2-40B4-BE49-F238E27FC236}">
                <a16:creationId xmlns:a16="http://schemas.microsoft.com/office/drawing/2014/main" id="{D1B8E2BA-7D05-C8D2-5BC1-4CE827E3EEE1}"/>
              </a:ext>
            </a:extLst>
          </p:cNvPr>
          <p:cNvSpPr txBox="1"/>
          <p:nvPr/>
        </p:nvSpPr>
        <p:spPr>
          <a:xfrm>
            <a:off x="5917416" y="5525613"/>
            <a:ext cx="741805" cy="276855"/>
          </a:xfrm>
          <a:prstGeom prst="rect">
            <a:avLst/>
          </a:prstGeom>
          <a:noFill/>
        </p:spPr>
        <p:txBody>
          <a:bodyPr wrap="non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000" kern="0">
                <a:solidFill>
                  <a:srgbClr val="00144A"/>
                </a:solidFill>
                <a:latin typeface="72 Brand" panose="020B0504030603020204" pitchFamily="34" charset="0"/>
                <a:ea typeface="72 Brand" pitchFamily="34" charset="-128"/>
                <a:cs typeface="72 Brand" pitchFamily="34" charset="-128"/>
              </a:rPr>
              <a:t>Spend </a:t>
            </a:r>
            <a:br>
              <a:rPr lang="en-US" sz="1000" kern="0">
                <a:solidFill>
                  <a:srgbClr val="00144A"/>
                </a:solidFill>
                <a:latin typeface="72 Brand" panose="020B0504030603020204" pitchFamily="34" charset="0"/>
                <a:ea typeface="72 Brand" pitchFamily="34" charset="-128"/>
                <a:cs typeface="72 Brand" pitchFamily="34" charset="-128"/>
              </a:rPr>
            </a:br>
            <a:r>
              <a:rPr lang="en-US" sz="1000" kern="0">
                <a:solidFill>
                  <a:srgbClr val="00144A"/>
                </a:solidFill>
                <a:latin typeface="72 Brand" panose="020B0504030603020204" pitchFamily="34" charset="0"/>
                <a:ea typeface="72 Brand" pitchFamily="34" charset="-128"/>
                <a:cs typeface="72 Brand" pitchFamily="34" charset="-128"/>
              </a:rPr>
              <a:t>management</a:t>
            </a:r>
          </a:p>
        </p:txBody>
      </p:sp>
      <p:sp>
        <p:nvSpPr>
          <p:cNvPr id="906" name="TextBox 905">
            <a:extLst>
              <a:ext uri="{FF2B5EF4-FFF2-40B4-BE49-F238E27FC236}">
                <a16:creationId xmlns:a16="http://schemas.microsoft.com/office/drawing/2014/main" id="{76233713-65F0-F1D4-A55D-EC51F5CEB34A}"/>
              </a:ext>
            </a:extLst>
          </p:cNvPr>
          <p:cNvSpPr txBox="1"/>
          <p:nvPr/>
        </p:nvSpPr>
        <p:spPr>
          <a:xfrm>
            <a:off x="3976063" y="5525613"/>
            <a:ext cx="741804" cy="276855"/>
          </a:xfrm>
          <a:prstGeom prst="rect">
            <a:avLst/>
          </a:prstGeom>
          <a:noFill/>
        </p:spPr>
        <p:txBody>
          <a:bodyPr wrap="non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000" kern="0">
                <a:solidFill>
                  <a:srgbClr val="00144A"/>
                </a:solidFill>
                <a:latin typeface="72 Brand" panose="020B0504030603020204" pitchFamily="34" charset="0"/>
                <a:ea typeface="72 Brand" pitchFamily="34" charset="-128"/>
                <a:cs typeface="72 Brand" pitchFamily="34" charset="-128"/>
              </a:rPr>
              <a:t>Supply chain</a:t>
            </a:r>
            <a:br>
              <a:rPr lang="en-US" sz="1000" kern="0">
                <a:solidFill>
                  <a:srgbClr val="00144A"/>
                </a:solidFill>
                <a:latin typeface="72 Brand" panose="020B0504030603020204" pitchFamily="34" charset="0"/>
                <a:ea typeface="72 Brand" pitchFamily="34" charset="-128"/>
                <a:cs typeface="72 Brand" pitchFamily="34" charset="-128"/>
              </a:rPr>
            </a:br>
            <a:r>
              <a:rPr lang="en-US" sz="1000" kern="0">
                <a:solidFill>
                  <a:srgbClr val="00144A"/>
                </a:solidFill>
                <a:latin typeface="72 Brand" panose="020B0504030603020204" pitchFamily="34" charset="0"/>
                <a:ea typeface="72 Brand" pitchFamily="34" charset="-128"/>
                <a:cs typeface="72 Brand" pitchFamily="34" charset="-128"/>
              </a:rPr>
              <a:t>management</a:t>
            </a:r>
          </a:p>
        </p:txBody>
      </p:sp>
      <p:sp>
        <p:nvSpPr>
          <p:cNvPr id="907" name="TextBox 906">
            <a:extLst>
              <a:ext uri="{FF2B5EF4-FFF2-40B4-BE49-F238E27FC236}">
                <a16:creationId xmlns:a16="http://schemas.microsoft.com/office/drawing/2014/main" id="{1D941367-894B-93FA-891E-492F735A0FC0}"/>
              </a:ext>
            </a:extLst>
          </p:cNvPr>
          <p:cNvSpPr txBox="1"/>
          <p:nvPr/>
        </p:nvSpPr>
        <p:spPr>
          <a:xfrm>
            <a:off x="4909571" y="5525613"/>
            <a:ext cx="815504" cy="276855"/>
          </a:xfrm>
          <a:prstGeom prst="rect">
            <a:avLst/>
          </a:prstGeom>
          <a:noFill/>
        </p:spPr>
        <p:txBody>
          <a:bodyPr wrap="non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000" kern="0">
                <a:solidFill>
                  <a:srgbClr val="00144A"/>
                </a:solidFill>
                <a:latin typeface="72 Brand" panose="020B0504030603020204" pitchFamily="34" charset="0"/>
                <a:ea typeface="72 Brand" pitchFamily="34" charset="-128"/>
                <a:cs typeface="72 Brand" pitchFamily="34" charset="-128"/>
              </a:rPr>
              <a:t>Human capital</a:t>
            </a:r>
            <a:br>
              <a:rPr lang="en-US" sz="1000" kern="0">
                <a:solidFill>
                  <a:srgbClr val="00144A"/>
                </a:solidFill>
                <a:latin typeface="72 Brand" panose="020B0504030603020204" pitchFamily="34" charset="0"/>
                <a:ea typeface="72 Brand" pitchFamily="34" charset="-128"/>
                <a:cs typeface="72 Brand" pitchFamily="34" charset="-128"/>
              </a:rPr>
            </a:br>
            <a:r>
              <a:rPr lang="en-US" sz="1000" kern="0">
                <a:solidFill>
                  <a:srgbClr val="00144A"/>
                </a:solidFill>
                <a:latin typeface="72 Brand" panose="020B0504030603020204" pitchFamily="34" charset="0"/>
                <a:ea typeface="72 Brand" pitchFamily="34" charset="-128"/>
                <a:cs typeface="72 Brand" pitchFamily="34" charset="-128"/>
              </a:rPr>
              <a:t>management</a:t>
            </a:r>
          </a:p>
        </p:txBody>
      </p:sp>
      <p:sp>
        <p:nvSpPr>
          <p:cNvPr id="908" name="TextBox 907">
            <a:extLst>
              <a:ext uri="{FF2B5EF4-FFF2-40B4-BE49-F238E27FC236}">
                <a16:creationId xmlns:a16="http://schemas.microsoft.com/office/drawing/2014/main" id="{C47ECD5B-0712-3028-EDD4-4F576FF5C839}"/>
              </a:ext>
            </a:extLst>
          </p:cNvPr>
          <p:cNvSpPr txBox="1"/>
          <p:nvPr/>
        </p:nvSpPr>
        <p:spPr>
          <a:xfrm>
            <a:off x="2995492" y="5525613"/>
            <a:ext cx="741805" cy="276855"/>
          </a:xfrm>
          <a:prstGeom prst="rect">
            <a:avLst/>
          </a:prstGeom>
          <a:noFill/>
        </p:spPr>
        <p:txBody>
          <a:bodyPr wrap="non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000" kern="0">
                <a:solidFill>
                  <a:srgbClr val="00144A"/>
                </a:solidFill>
                <a:latin typeface="72 Brand" panose="020B0504030603020204" pitchFamily="34" charset="0"/>
                <a:ea typeface="72 Brand" pitchFamily="34" charset="-128"/>
                <a:cs typeface="72 Brand" pitchFamily="34" charset="-128"/>
              </a:rPr>
              <a:t>Financial</a:t>
            </a:r>
            <a:br>
              <a:rPr lang="en-US" sz="1000" kern="0">
                <a:solidFill>
                  <a:srgbClr val="00144A"/>
                </a:solidFill>
                <a:latin typeface="72 Brand" panose="020B0504030603020204" pitchFamily="34" charset="0"/>
                <a:ea typeface="72 Brand" pitchFamily="34" charset="-128"/>
                <a:cs typeface="72 Brand" pitchFamily="34" charset="-128"/>
              </a:rPr>
            </a:br>
            <a:r>
              <a:rPr lang="en-US" sz="1000" kern="0">
                <a:solidFill>
                  <a:srgbClr val="00144A"/>
                </a:solidFill>
                <a:latin typeface="72 Brand" panose="020B0504030603020204" pitchFamily="34" charset="0"/>
                <a:ea typeface="72 Brand" pitchFamily="34" charset="-128"/>
                <a:cs typeface="72 Brand" pitchFamily="34" charset="-128"/>
              </a:rPr>
              <a:t>management</a:t>
            </a:r>
          </a:p>
        </p:txBody>
      </p:sp>
      <p:grpSp>
        <p:nvGrpSpPr>
          <p:cNvPr id="909" name="Group 908">
            <a:extLst>
              <a:ext uri="{FF2B5EF4-FFF2-40B4-BE49-F238E27FC236}">
                <a16:creationId xmlns:a16="http://schemas.microsoft.com/office/drawing/2014/main" id="{50E92C11-F273-A148-B7C6-58298284AD38}"/>
              </a:ext>
            </a:extLst>
          </p:cNvPr>
          <p:cNvGrpSpPr/>
          <p:nvPr/>
        </p:nvGrpSpPr>
        <p:grpSpPr>
          <a:xfrm>
            <a:off x="4170978" y="5126410"/>
            <a:ext cx="325502" cy="325500"/>
            <a:chOff x="13328768" y="21998372"/>
            <a:chExt cx="1145667" cy="1145668"/>
          </a:xfrm>
        </p:grpSpPr>
        <p:sp>
          <p:nvSpPr>
            <p:cNvPr id="1863" name="Rectangle: Rounded Corners 34">
              <a:extLst>
                <a:ext uri="{FF2B5EF4-FFF2-40B4-BE49-F238E27FC236}">
                  <a16:creationId xmlns:a16="http://schemas.microsoft.com/office/drawing/2014/main" id="{8EC6D8D8-4835-5B2E-D9E0-01DF5E070A08}"/>
                </a:ext>
              </a:extLst>
            </p:cNvPr>
            <p:cNvSpPr/>
            <p:nvPr/>
          </p:nvSpPr>
          <p:spPr bwMode="gray">
            <a:xfrm>
              <a:off x="13328768" y="21998372"/>
              <a:ext cx="1145667" cy="1145668"/>
            </a:xfrm>
            <a:prstGeom prst="roundRect">
              <a:avLst/>
            </a:prstGeom>
            <a:solidFill>
              <a:srgbClr val="EBF8FF"/>
            </a:solidFill>
            <a:ln w="25400" algn="ctr">
              <a:noFill/>
              <a:miter lim="800000"/>
              <a:headEnd/>
              <a:tailEnd/>
            </a:ln>
          </p:spPr>
          <p:txBody>
            <a:bodyPr lIns="162380" tIns="129904" rIns="162380" bIns="129904" rtlCol="0" anchor="t"/>
            <a:lstStyle/>
            <a:p>
              <a:pPr defTabSz="1074375"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pic>
          <p:nvPicPr>
            <p:cNvPr id="1864" name="Picture 1863">
              <a:extLst>
                <a:ext uri="{FF2B5EF4-FFF2-40B4-BE49-F238E27FC236}">
                  <a16:creationId xmlns:a16="http://schemas.microsoft.com/office/drawing/2014/main" id="{058F460A-2772-A134-316D-68ADB5EDC48F}"/>
                </a:ext>
              </a:extLst>
            </p:cNvPr>
            <p:cNvPicPr>
              <a:picLocks noChangeAspect="1"/>
            </p:cNvPicPr>
            <p:nvPr/>
          </p:nvPicPr>
          <p:blipFill>
            <a:blip r:embed="rId12"/>
            <a:stretch>
              <a:fillRect/>
            </a:stretch>
          </p:blipFill>
          <p:spPr>
            <a:xfrm>
              <a:off x="13534806" y="22187167"/>
              <a:ext cx="733589" cy="768075"/>
            </a:xfrm>
            <a:prstGeom prst="rect">
              <a:avLst/>
            </a:prstGeom>
          </p:spPr>
        </p:pic>
      </p:grpSp>
      <p:sp>
        <p:nvSpPr>
          <p:cNvPr id="910" name="TextBox 909">
            <a:extLst>
              <a:ext uri="{FF2B5EF4-FFF2-40B4-BE49-F238E27FC236}">
                <a16:creationId xmlns:a16="http://schemas.microsoft.com/office/drawing/2014/main" id="{E4AFF765-D962-7CE9-C797-8C38172EC608}"/>
              </a:ext>
            </a:extLst>
          </p:cNvPr>
          <p:cNvSpPr txBox="1"/>
          <p:nvPr/>
        </p:nvSpPr>
        <p:spPr>
          <a:xfrm>
            <a:off x="6818356" y="3756305"/>
            <a:ext cx="834731" cy="276855"/>
          </a:xfrm>
          <a:prstGeom prst="rect">
            <a:avLst/>
          </a:prstGeom>
          <a:noFill/>
        </p:spPr>
        <p:txBody>
          <a:bodyPr wrap="none" lIns="0" tIns="0" rIns="0" bIns="0" rtlCol="0">
            <a:spAutoFit/>
          </a:bodyPr>
          <a:lstStyle/>
          <a:p>
            <a:pPr algn="ctr" defTabSz="1074053" fontAlgn="base">
              <a:lnSpc>
                <a:spcPct val="90000"/>
              </a:lnSpc>
              <a:spcAft>
                <a:spcPct val="0"/>
              </a:spcAft>
              <a:buClr>
                <a:srgbClr val="000000"/>
              </a:buClr>
              <a:buSzPct val="100000"/>
              <a:defRPr/>
            </a:pPr>
            <a:r>
              <a:rPr lang="en-US" sz="1000" kern="0">
                <a:gradFill>
                  <a:gsLst>
                    <a:gs pos="4000">
                      <a:srgbClr val="FFFFFF"/>
                    </a:gs>
                    <a:gs pos="62000">
                      <a:srgbClr val="FFFFFF"/>
                    </a:gs>
                  </a:gsLst>
                  <a:lin ang="16200000" scaled="1"/>
                </a:gradFill>
                <a:latin typeface="72 Brand Book" panose="020B0404030603020204" pitchFamily="34" charset="0"/>
              </a:rPr>
              <a:t>CX</a:t>
            </a:r>
          </a:p>
          <a:p>
            <a:pPr algn="ctr" defTabSz="1074053" fontAlgn="base">
              <a:lnSpc>
                <a:spcPct val="90000"/>
              </a:lnSpc>
              <a:spcAft>
                <a:spcPct val="0"/>
              </a:spcAft>
              <a:buClr>
                <a:srgbClr val="000000"/>
              </a:buClr>
              <a:buSzPct val="100000"/>
              <a:defRPr/>
            </a:pPr>
            <a:r>
              <a:rPr lang="en-US" sz="1000" kern="0">
                <a:gradFill>
                  <a:gsLst>
                    <a:gs pos="4000">
                      <a:srgbClr val="FFFFFF"/>
                    </a:gs>
                    <a:gs pos="62000">
                      <a:srgbClr val="FFFFFF"/>
                    </a:gs>
                  </a:gsLst>
                  <a:lin ang="16200000" scaled="1"/>
                </a:gradFill>
                <a:latin typeface="72 Brand Medium" panose="020B0504030603020204" pitchFamily="34" charset="0"/>
              </a:rPr>
              <a:t>data products</a:t>
            </a:r>
          </a:p>
        </p:txBody>
      </p:sp>
      <p:sp>
        <p:nvSpPr>
          <p:cNvPr id="911" name="TextBox 910">
            <a:extLst>
              <a:ext uri="{FF2B5EF4-FFF2-40B4-BE49-F238E27FC236}">
                <a16:creationId xmlns:a16="http://schemas.microsoft.com/office/drawing/2014/main" id="{AF147D7C-309D-8976-CEEF-CFD61A7D3A40}"/>
              </a:ext>
            </a:extLst>
          </p:cNvPr>
          <p:cNvSpPr txBox="1"/>
          <p:nvPr/>
        </p:nvSpPr>
        <p:spPr>
          <a:xfrm>
            <a:off x="1266385" y="5234199"/>
            <a:ext cx="1676507" cy="193799"/>
          </a:xfrm>
          <a:prstGeom prst="rect">
            <a:avLst/>
          </a:prstGeom>
          <a:noFill/>
        </p:spPr>
        <p:txBody>
          <a:bodyPr wrap="square" lIns="0" tIns="0" rIns="0" bIns="0" rtlCol="0">
            <a:spAutoFit/>
          </a:bodyPr>
          <a:lstStyle/>
          <a:p>
            <a:pPr defTabSz="1087470" fontAlgn="base">
              <a:lnSpc>
                <a:spcPct val="90000"/>
              </a:lnSpc>
              <a:spcBef>
                <a:spcPct val="50000"/>
              </a:spcBef>
              <a:spcAft>
                <a:spcPct val="0"/>
              </a:spcAft>
              <a:buClr>
                <a:srgbClr val="000000"/>
              </a:buClr>
              <a:buSzPct val="100000"/>
              <a:defRPr/>
            </a:pPr>
            <a:r>
              <a:rPr lang="en-US" sz="1400" kern="0">
                <a:gradFill>
                  <a:gsLst>
                    <a:gs pos="0">
                      <a:srgbClr val="000000"/>
                    </a:gs>
                    <a:gs pos="100000">
                      <a:srgbClr val="000000"/>
                    </a:gs>
                  </a:gsLst>
                  <a:lin ang="5400000" scaled="1"/>
                </a:gradFill>
                <a:latin typeface="72 Brand Medium"/>
                <a:ea typeface="72 Brand" pitchFamily="34" charset="-128"/>
                <a:cs typeface="72 Brand" pitchFamily="34" charset="-128"/>
              </a:rPr>
              <a:t>SAP applications</a:t>
            </a:r>
          </a:p>
        </p:txBody>
      </p:sp>
      <p:grpSp>
        <p:nvGrpSpPr>
          <p:cNvPr id="913" name="Group 912">
            <a:extLst>
              <a:ext uri="{FF2B5EF4-FFF2-40B4-BE49-F238E27FC236}">
                <a16:creationId xmlns:a16="http://schemas.microsoft.com/office/drawing/2014/main" id="{349FD13A-9F84-088A-23B5-77EEF00B8E2D}"/>
              </a:ext>
            </a:extLst>
          </p:cNvPr>
          <p:cNvGrpSpPr/>
          <p:nvPr/>
        </p:nvGrpSpPr>
        <p:grpSpPr>
          <a:xfrm rot="3547635">
            <a:off x="7374244" y="1374563"/>
            <a:ext cx="106500" cy="169381"/>
            <a:chOff x="1781040" y="3052066"/>
            <a:chExt cx="141719" cy="225394"/>
          </a:xfrm>
        </p:grpSpPr>
        <p:sp>
          <p:nvSpPr>
            <p:cNvPr id="1861" name="Rectangle 1860">
              <a:extLst>
                <a:ext uri="{FF2B5EF4-FFF2-40B4-BE49-F238E27FC236}">
                  <a16:creationId xmlns:a16="http://schemas.microsoft.com/office/drawing/2014/main" id="{7193A97A-4F8F-8064-CA54-069AFDEC3318}"/>
                </a:ext>
              </a:extLst>
            </p:cNvPr>
            <p:cNvSpPr/>
            <p:nvPr/>
          </p:nvSpPr>
          <p:spPr bwMode="gray">
            <a:xfrm rot="18025869">
              <a:off x="1803309" y="3093562"/>
              <a:ext cx="160946" cy="77954"/>
            </a:xfrm>
            <a:prstGeom prst="rect">
              <a:avLst/>
            </a:prstGeom>
            <a:gradFill flip="none" rotWithShape="1">
              <a:gsLst>
                <a:gs pos="0">
                  <a:schemeClr val="bg1"/>
                </a:gs>
                <a:gs pos="100000">
                  <a:schemeClr val="bg1">
                    <a:alpha val="0"/>
                  </a:schemeClr>
                </a:gs>
              </a:gsLst>
              <a:lin ang="0" scaled="1"/>
              <a:tileRect/>
            </a:gradFill>
            <a:ln w="25400" algn="ctr">
              <a:noFill/>
              <a:miter lim="800000"/>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sp>
          <p:nvSpPr>
            <p:cNvPr id="1862" name="Rectangle 157">
              <a:extLst>
                <a:ext uri="{FF2B5EF4-FFF2-40B4-BE49-F238E27FC236}">
                  <a16:creationId xmlns:a16="http://schemas.microsoft.com/office/drawing/2014/main" id="{6573B61A-3E61-28BB-D1CD-F0A17742178A}"/>
                </a:ext>
              </a:extLst>
            </p:cNvPr>
            <p:cNvSpPr/>
            <p:nvPr/>
          </p:nvSpPr>
          <p:spPr bwMode="gray">
            <a:xfrm rot="15300000">
              <a:off x="1781040" y="3208041"/>
              <a:ext cx="69419" cy="69419"/>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11430" cap="rnd" algn="ctr">
              <a:gradFill>
                <a:gsLst>
                  <a:gs pos="0">
                    <a:srgbClr val="89D1FF"/>
                  </a:gs>
                  <a:gs pos="100000">
                    <a:srgbClr val="1B90FF"/>
                  </a:gs>
                </a:gsLst>
                <a:lin ang="5400000" scaled="1"/>
              </a:gradFill>
              <a:round/>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ndParaRPr>
            </a:p>
          </p:txBody>
        </p:sp>
      </p:grpSp>
      <p:sp>
        <p:nvSpPr>
          <p:cNvPr id="914" name="TextBox 913">
            <a:extLst>
              <a:ext uri="{FF2B5EF4-FFF2-40B4-BE49-F238E27FC236}">
                <a16:creationId xmlns:a16="http://schemas.microsoft.com/office/drawing/2014/main" id="{549330FE-C566-6348-2D94-E3053B2FE534}"/>
              </a:ext>
            </a:extLst>
          </p:cNvPr>
          <p:cNvSpPr txBox="1"/>
          <p:nvPr/>
        </p:nvSpPr>
        <p:spPr>
          <a:xfrm>
            <a:off x="1266384" y="4225676"/>
            <a:ext cx="1190412" cy="276855"/>
          </a:xfrm>
          <a:prstGeom prst="rect">
            <a:avLst/>
          </a:prstGeom>
          <a:noFill/>
        </p:spPr>
        <p:txBody>
          <a:bodyPr wrap="none" lIns="0" tIns="0" rIns="0" bIns="0" rtlCol="0">
            <a:spAutoFit/>
          </a:bodyPr>
          <a:lstStyle/>
          <a:p>
            <a:pPr defTabSz="1087470" fontAlgn="base">
              <a:lnSpc>
                <a:spcPct val="90000"/>
              </a:lnSpc>
              <a:spcAft>
                <a:spcPct val="0"/>
              </a:spcAft>
              <a:buClr>
                <a:srgbClr val="000000"/>
              </a:buClr>
              <a:buSzPct val="100000"/>
              <a:defRPr/>
            </a:pPr>
            <a:r>
              <a:rPr lang="en-US" sz="1000">
                <a:gradFill>
                  <a:gsLst>
                    <a:gs pos="0">
                      <a:srgbClr val="FFFFFF"/>
                    </a:gs>
                    <a:gs pos="100000">
                      <a:srgbClr val="FFFFFF"/>
                    </a:gs>
                  </a:gsLst>
                  <a:lin ang="2700000" scaled="1"/>
                </a:gradFill>
                <a:latin typeface="72 Brand"/>
                <a:cs typeface="72"/>
              </a:rPr>
              <a:t>One semantical layer</a:t>
            </a:r>
            <a:br>
              <a:rPr lang="en-US" sz="1000">
                <a:gradFill>
                  <a:gsLst>
                    <a:gs pos="0">
                      <a:srgbClr val="FFFFFF"/>
                    </a:gs>
                    <a:gs pos="100000">
                      <a:srgbClr val="FFFFFF"/>
                    </a:gs>
                  </a:gsLst>
                  <a:lin ang="2700000" scaled="1"/>
                </a:gradFill>
                <a:latin typeface="72 Brand"/>
                <a:cs typeface="72"/>
              </a:rPr>
            </a:br>
            <a:r>
              <a:rPr lang="en-US" sz="1000">
                <a:gradFill>
                  <a:gsLst>
                    <a:gs pos="0">
                      <a:srgbClr val="FFFFFF"/>
                    </a:gs>
                    <a:gs pos="100000">
                      <a:srgbClr val="FFFFFF"/>
                    </a:gs>
                  </a:gsLst>
                  <a:lin ang="2700000" scaled="1"/>
                </a:gradFill>
                <a:latin typeface="72 Brand"/>
                <a:cs typeface="72"/>
              </a:rPr>
              <a:t>Data products</a:t>
            </a:r>
          </a:p>
        </p:txBody>
      </p:sp>
      <p:sp>
        <p:nvSpPr>
          <p:cNvPr id="916" name="Rectangle: Rounded Corners 6">
            <a:extLst>
              <a:ext uri="{FF2B5EF4-FFF2-40B4-BE49-F238E27FC236}">
                <a16:creationId xmlns:a16="http://schemas.microsoft.com/office/drawing/2014/main" id="{04904411-160E-D4BC-2C6D-25111C845A67}"/>
              </a:ext>
            </a:extLst>
          </p:cNvPr>
          <p:cNvSpPr/>
          <p:nvPr/>
        </p:nvSpPr>
        <p:spPr bwMode="gray">
          <a:xfrm>
            <a:off x="989478" y="1660081"/>
            <a:ext cx="8811528" cy="1542807"/>
          </a:xfrm>
          <a:prstGeom prst="roundRect">
            <a:avLst>
              <a:gd name="adj" fmla="val 6625"/>
            </a:avLst>
          </a:prstGeom>
          <a:solidFill>
            <a:srgbClr val="7858FF"/>
          </a:solidFill>
          <a:ln w="15238" cap="flat">
            <a:noFill/>
            <a:prstDash val="solid"/>
            <a:miter/>
          </a:ln>
          <a:effectLst/>
        </p:spPr>
        <p:txBody>
          <a:bodyPr lIns="22848" tIns="11424" rIns="22848" bIns="11424" rtlCol="0" anchor="ctr"/>
          <a:lstStyle/>
          <a:p>
            <a:pPr defTabSz="1073409">
              <a:defRPr/>
            </a:pPr>
            <a:endParaRPr lang="en-US" sz="1998">
              <a:solidFill>
                <a:srgbClr val="000000"/>
              </a:solidFill>
              <a:latin typeface="72 Brand" panose="020B0504030603020204" pitchFamily="34" charset="0"/>
            </a:endParaRPr>
          </a:p>
        </p:txBody>
      </p:sp>
      <p:sp>
        <p:nvSpPr>
          <p:cNvPr id="917" name="TextBox 916">
            <a:extLst>
              <a:ext uri="{FF2B5EF4-FFF2-40B4-BE49-F238E27FC236}">
                <a16:creationId xmlns:a16="http://schemas.microsoft.com/office/drawing/2014/main" id="{65195B1A-A85F-1733-7428-61C38530DF06}"/>
              </a:ext>
            </a:extLst>
          </p:cNvPr>
          <p:cNvSpPr txBox="1"/>
          <p:nvPr/>
        </p:nvSpPr>
        <p:spPr>
          <a:xfrm>
            <a:off x="3143624" y="2015726"/>
            <a:ext cx="4505298" cy="138427"/>
          </a:xfrm>
          <a:prstGeom prst="rect">
            <a:avLst/>
          </a:prstGeom>
          <a:noFill/>
        </p:spPr>
        <p:txBody>
          <a:bodyPr wrap="square" lIns="0" tIns="0" rIns="0" bIns="0" rtlCol="0">
            <a:spAutoFit/>
          </a:bodyPr>
          <a:lstStyle/>
          <a:p>
            <a:pPr algn="ctr" defTabSz="1074053" fontAlgn="base">
              <a:lnSpc>
                <a:spcPct val="90000"/>
              </a:lnSpc>
              <a:spcAft>
                <a:spcPct val="0"/>
              </a:spcAft>
              <a:buClr>
                <a:srgbClr val="000000"/>
              </a:buClr>
              <a:buSzPct val="100000"/>
              <a:defRPr/>
            </a:pPr>
            <a:r>
              <a:rPr lang="en-US" sz="1000">
                <a:gradFill>
                  <a:gsLst>
                    <a:gs pos="0">
                      <a:srgbClr val="FFFFFF"/>
                    </a:gs>
                    <a:gs pos="100000">
                      <a:srgbClr val="FFFFFF"/>
                    </a:gs>
                  </a:gsLst>
                  <a:lin ang="2700000" scaled="1"/>
                </a:gradFill>
                <a:latin typeface="72 Brand"/>
                <a:cs typeface="72"/>
              </a:rPr>
              <a:t>as the new super orchestrator across end-to-end processes</a:t>
            </a:r>
          </a:p>
        </p:txBody>
      </p:sp>
      <p:sp>
        <p:nvSpPr>
          <p:cNvPr id="918" name="TextBox 917">
            <a:extLst>
              <a:ext uri="{FF2B5EF4-FFF2-40B4-BE49-F238E27FC236}">
                <a16:creationId xmlns:a16="http://schemas.microsoft.com/office/drawing/2014/main" id="{C17CE880-E4CB-C6FC-1C3C-5573A9025B9F}"/>
              </a:ext>
            </a:extLst>
          </p:cNvPr>
          <p:cNvSpPr txBox="1"/>
          <p:nvPr/>
        </p:nvSpPr>
        <p:spPr>
          <a:xfrm>
            <a:off x="4034967" y="1760081"/>
            <a:ext cx="2722609" cy="237637"/>
          </a:xfrm>
          <a:prstGeom prst="rect">
            <a:avLst/>
          </a:prstGeom>
          <a:noFill/>
        </p:spPr>
        <p:txBody>
          <a:bodyPr wrap="square" lIns="22848" tIns="11424" rIns="22848" bIns="11424">
            <a:spAutoFit/>
          </a:bodyPr>
          <a:lstStyle/>
          <a:p>
            <a:pPr algn="ctr" defTabSz="1083162">
              <a:defRPr/>
            </a:pPr>
            <a:r>
              <a:rPr lang="en-US" sz="1400" kern="0">
                <a:gradFill>
                  <a:gsLst>
                    <a:gs pos="0">
                      <a:srgbClr val="FFFFFF"/>
                    </a:gs>
                    <a:gs pos="100000">
                      <a:srgbClr val="FFFFFF"/>
                    </a:gs>
                  </a:gsLst>
                  <a:lin ang="2700000" scaled="1"/>
                </a:gradFill>
                <a:latin typeface="72 Brand Medium"/>
                <a:ea typeface="72 Brand" pitchFamily="34" charset="-128"/>
                <a:cs typeface="72 Brand" pitchFamily="34" charset="-128"/>
              </a:rPr>
              <a:t>Joule</a:t>
            </a:r>
            <a:endParaRPr lang="en-US" sz="1400">
              <a:solidFill>
                <a:srgbClr val="000000"/>
              </a:solidFill>
            </a:endParaRPr>
          </a:p>
        </p:txBody>
      </p:sp>
      <p:sp>
        <p:nvSpPr>
          <p:cNvPr id="919" name="TextBox 918">
            <a:extLst>
              <a:ext uri="{FF2B5EF4-FFF2-40B4-BE49-F238E27FC236}">
                <a16:creationId xmlns:a16="http://schemas.microsoft.com/office/drawing/2014/main" id="{9B283020-A1E1-B0CA-0CBA-FD653E2B5868}"/>
              </a:ext>
            </a:extLst>
          </p:cNvPr>
          <p:cNvSpPr txBox="1"/>
          <p:nvPr/>
        </p:nvSpPr>
        <p:spPr>
          <a:xfrm>
            <a:off x="1266385" y="1994867"/>
            <a:ext cx="1079538" cy="386674"/>
          </a:xfrm>
          <a:prstGeom prst="rect">
            <a:avLst/>
          </a:prstGeom>
          <a:noFill/>
        </p:spPr>
        <p:txBody>
          <a:bodyPr wrap="square" lIns="0" tIns="0" rIns="0" bIns="0" rtlCol="0">
            <a:spAutoFit/>
          </a:bodyPr>
          <a:lstStyle/>
          <a:p>
            <a:pPr defTabSz="1074053" fontAlgn="base">
              <a:lnSpc>
                <a:spcPct val="90000"/>
              </a:lnSpc>
              <a:spcBef>
                <a:spcPct val="50000"/>
              </a:spcBef>
              <a:spcAft>
                <a:spcPct val="0"/>
              </a:spcAft>
              <a:buClr>
                <a:srgbClr val="000000"/>
              </a:buClr>
              <a:buSzPct val="100000"/>
              <a:defRPr/>
            </a:pPr>
            <a:r>
              <a:rPr lang="en-US" sz="1400" kern="0">
                <a:gradFill>
                  <a:gsLst>
                    <a:gs pos="0">
                      <a:srgbClr val="FFFFFF"/>
                    </a:gs>
                    <a:gs pos="100000">
                      <a:srgbClr val="FFFFFF"/>
                    </a:gs>
                  </a:gsLst>
                  <a:lin ang="2700000" scaled="1"/>
                </a:gradFill>
                <a:latin typeface="72 Brand Medium"/>
                <a:ea typeface="72 Brand" pitchFamily="34" charset="-128"/>
                <a:cs typeface="72 Brand" pitchFamily="34" charset="-128"/>
              </a:rPr>
              <a:t>SAP</a:t>
            </a:r>
            <a:br>
              <a:rPr lang="en-US" sz="1400" kern="0">
                <a:gradFill>
                  <a:gsLst>
                    <a:gs pos="0">
                      <a:srgbClr val="FFFFFF"/>
                    </a:gs>
                    <a:gs pos="100000">
                      <a:srgbClr val="FFFFFF"/>
                    </a:gs>
                  </a:gsLst>
                  <a:lin ang="2700000" scaled="1"/>
                </a:gradFill>
                <a:latin typeface="72 Brand Medium"/>
                <a:ea typeface="72 Brand" pitchFamily="34" charset="-128"/>
                <a:cs typeface="72 Brand" pitchFamily="34" charset="-128"/>
              </a:rPr>
            </a:br>
            <a:r>
              <a:rPr lang="en-US" sz="1400" kern="0">
                <a:gradFill>
                  <a:gsLst>
                    <a:gs pos="0">
                      <a:srgbClr val="FFFFFF"/>
                    </a:gs>
                    <a:gs pos="100000">
                      <a:srgbClr val="FFFFFF"/>
                    </a:gs>
                  </a:gsLst>
                  <a:lin ang="2700000" scaled="1"/>
                </a:gradFill>
                <a:latin typeface="72 Brand Medium"/>
                <a:ea typeface="72 Brand" pitchFamily="34" charset="-128"/>
                <a:cs typeface="72 Brand" pitchFamily="34" charset="-128"/>
              </a:rPr>
              <a:t>Business AI</a:t>
            </a:r>
          </a:p>
        </p:txBody>
      </p:sp>
      <p:sp>
        <p:nvSpPr>
          <p:cNvPr id="920" name="TextBox 919">
            <a:extLst>
              <a:ext uri="{FF2B5EF4-FFF2-40B4-BE49-F238E27FC236}">
                <a16:creationId xmlns:a16="http://schemas.microsoft.com/office/drawing/2014/main" id="{DEF6C5FB-F695-4FCF-E56F-7933CCCCDD3B}"/>
              </a:ext>
            </a:extLst>
          </p:cNvPr>
          <p:cNvSpPr txBox="1"/>
          <p:nvPr/>
        </p:nvSpPr>
        <p:spPr>
          <a:xfrm>
            <a:off x="1266384" y="2434229"/>
            <a:ext cx="1305768" cy="415282"/>
          </a:xfrm>
          <a:prstGeom prst="rect">
            <a:avLst/>
          </a:prstGeom>
          <a:noFill/>
        </p:spPr>
        <p:txBody>
          <a:bodyPr wrap="none" lIns="0" tIns="0" rIns="0" bIns="0" rtlCol="0">
            <a:spAutoFit/>
          </a:bodyPr>
          <a:lstStyle/>
          <a:p>
            <a:pPr defTabSz="1087470" fontAlgn="base">
              <a:lnSpc>
                <a:spcPct val="90000"/>
              </a:lnSpc>
              <a:spcAft>
                <a:spcPct val="0"/>
              </a:spcAft>
              <a:buClr>
                <a:srgbClr val="000000"/>
              </a:buClr>
              <a:buSzPct val="100000"/>
              <a:defRPr/>
            </a:pPr>
            <a:r>
              <a:rPr lang="en-US" sz="1000">
                <a:gradFill>
                  <a:gsLst>
                    <a:gs pos="0">
                      <a:srgbClr val="FFFFFF"/>
                    </a:gs>
                    <a:gs pos="100000">
                      <a:srgbClr val="FFFFFF"/>
                    </a:gs>
                  </a:gsLst>
                  <a:lin ang="2700000" scaled="1"/>
                </a:gradFill>
                <a:latin typeface="72 Brand"/>
                <a:cs typeface="72"/>
              </a:rPr>
              <a:t>Joule</a:t>
            </a:r>
            <a:br>
              <a:rPr lang="en-US" sz="1000">
                <a:gradFill>
                  <a:gsLst>
                    <a:gs pos="0">
                      <a:srgbClr val="FFFFFF"/>
                    </a:gs>
                    <a:gs pos="100000">
                      <a:srgbClr val="FFFFFF"/>
                    </a:gs>
                  </a:gsLst>
                  <a:lin ang="2700000" scaled="1"/>
                </a:gradFill>
                <a:latin typeface="72 Brand"/>
                <a:cs typeface="72"/>
              </a:rPr>
            </a:br>
            <a:r>
              <a:rPr lang="en-US" sz="1000">
                <a:gradFill>
                  <a:gsLst>
                    <a:gs pos="0">
                      <a:srgbClr val="FFFFFF"/>
                    </a:gs>
                    <a:gs pos="100000">
                      <a:srgbClr val="FFFFFF"/>
                    </a:gs>
                  </a:gsLst>
                  <a:lin ang="2700000" scaled="1"/>
                </a:gradFill>
                <a:latin typeface="72 Brand"/>
                <a:cs typeface="72"/>
              </a:rPr>
              <a:t>SAP Foundation Model</a:t>
            </a:r>
          </a:p>
          <a:p>
            <a:pPr defTabSz="1087470" fontAlgn="base">
              <a:lnSpc>
                <a:spcPct val="90000"/>
              </a:lnSpc>
              <a:spcAft>
                <a:spcPct val="0"/>
              </a:spcAft>
              <a:buClr>
                <a:srgbClr val="000000"/>
              </a:buClr>
              <a:buSzPct val="100000"/>
              <a:defRPr/>
            </a:pPr>
            <a:r>
              <a:rPr lang="en-US" sz="1000">
                <a:gradFill>
                  <a:gsLst>
                    <a:gs pos="0">
                      <a:srgbClr val="FFFFFF"/>
                    </a:gs>
                    <a:gs pos="100000">
                      <a:srgbClr val="FFFFFF"/>
                    </a:gs>
                  </a:gsLst>
                  <a:lin ang="2700000" scaled="1"/>
                </a:gradFill>
                <a:latin typeface="72 Brand"/>
                <a:cs typeface="72"/>
              </a:rPr>
              <a:t>SAP Knowledge Graph</a:t>
            </a:r>
          </a:p>
        </p:txBody>
      </p:sp>
      <p:grpSp>
        <p:nvGrpSpPr>
          <p:cNvPr id="921" name="Group 920">
            <a:extLst>
              <a:ext uri="{FF2B5EF4-FFF2-40B4-BE49-F238E27FC236}">
                <a16:creationId xmlns:a16="http://schemas.microsoft.com/office/drawing/2014/main" id="{D4C0D477-FE17-C4C5-D3AA-304E89374DC8}"/>
              </a:ext>
            </a:extLst>
          </p:cNvPr>
          <p:cNvGrpSpPr/>
          <p:nvPr/>
        </p:nvGrpSpPr>
        <p:grpSpPr>
          <a:xfrm>
            <a:off x="5200699" y="1363265"/>
            <a:ext cx="377726" cy="377726"/>
            <a:chOff x="7435831" y="407045"/>
            <a:chExt cx="746144" cy="746142"/>
          </a:xfrm>
        </p:grpSpPr>
        <p:sp useBgFill="1">
          <p:nvSpPr>
            <p:cNvPr id="1858" name="Rectangle: Rounded Corners 1857">
              <a:extLst>
                <a:ext uri="{FF2B5EF4-FFF2-40B4-BE49-F238E27FC236}">
                  <a16:creationId xmlns:a16="http://schemas.microsoft.com/office/drawing/2014/main" id="{CEEF3EBC-61D6-6A0E-03AF-05DAC5EE0971}"/>
                </a:ext>
              </a:extLst>
            </p:cNvPr>
            <p:cNvSpPr/>
            <p:nvPr/>
          </p:nvSpPr>
          <p:spPr bwMode="gray">
            <a:xfrm>
              <a:off x="7435831" y="407045"/>
              <a:ext cx="746144" cy="746142"/>
            </a:xfrm>
            <a:prstGeom prst="roundRect">
              <a:avLst/>
            </a:prstGeom>
            <a:ln w="25400" algn="ctr">
              <a:noFill/>
              <a:miter lim="800000"/>
              <a:headEnd/>
              <a:tailEnd/>
            </a:ln>
          </p:spPr>
          <p:txBody>
            <a:bodyPr lIns="182784" tIns="146228" rIns="182784" bIns="146228" rtlCol="0" anchor="t"/>
            <a:lstStyle/>
            <a:p>
              <a:pPr defTabSz="913852" fontAlgn="base">
                <a:spcBef>
                  <a:spcPct val="50000"/>
                </a:spcBef>
                <a:spcAft>
                  <a:spcPct val="0"/>
                </a:spcAft>
                <a:buClr>
                  <a:srgbClr val="F0AB00"/>
                </a:buClr>
                <a:buSzPct val="80000"/>
                <a:defRPr/>
              </a:pPr>
              <a:endParaRPr lang="en-US" sz="1100" kern="0">
                <a:solidFill>
                  <a:srgbClr val="000000"/>
                </a:solidFill>
                <a:latin typeface="72 Brand"/>
                <a:ea typeface="72 Brand" pitchFamily="34" charset="-128"/>
                <a:cs typeface="72 Brand" pitchFamily="34" charset="-128"/>
              </a:endParaRPr>
            </a:p>
          </p:txBody>
        </p:sp>
        <p:sp>
          <p:nvSpPr>
            <p:cNvPr id="1859" name="Rectangle: Rounded Corners 1858">
              <a:extLst>
                <a:ext uri="{FF2B5EF4-FFF2-40B4-BE49-F238E27FC236}">
                  <a16:creationId xmlns:a16="http://schemas.microsoft.com/office/drawing/2014/main" id="{D152A8DB-EC14-9894-CEA8-81BAD26DD830}"/>
                </a:ext>
              </a:extLst>
            </p:cNvPr>
            <p:cNvSpPr/>
            <p:nvPr/>
          </p:nvSpPr>
          <p:spPr bwMode="auto">
            <a:xfrm>
              <a:off x="7482119" y="453333"/>
              <a:ext cx="653569" cy="653567"/>
            </a:xfrm>
            <a:prstGeom prst="roundRect">
              <a:avLst>
                <a:gd name="adj" fmla="val 11995"/>
              </a:avLst>
            </a:prstGeom>
            <a:gradFill flip="none" rotWithShape="1">
              <a:gsLst>
                <a:gs pos="0">
                  <a:srgbClr val="812FF7"/>
                </a:gs>
                <a:gs pos="100000">
                  <a:srgbClr val="991CE1"/>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6" tIns="146190" rIns="182736" bIns="146190" numCol="1" spcCol="0" rtlCol="0" fromWordArt="0" anchor="t" anchorCtr="0" forceAA="0" compatLnSpc="1">
              <a:prstTxWarp prst="textNoShape">
                <a:avLst/>
              </a:prstTxWarp>
              <a:noAutofit/>
            </a:bodyPr>
            <a:lstStyle/>
            <a:p>
              <a:pPr defTabSz="931632" fontAlgn="base">
                <a:spcBef>
                  <a:spcPct val="0"/>
                </a:spcBef>
                <a:spcAft>
                  <a:spcPct val="0"/>
                </a:spcAft>
                <a:defRPr/>
              </a:pPr>
              <a:endParaRPr lang="en-US" sz="2798">
                <a:gradFill>
                  <a:gsLst>
                    <a:gs pos="0">
                      <a:srgbClr val="FFFFFF"/>
                    </a:gs>
                    <a:gs pos="100000">
                      <a:srgbClr val="FFFFFF"/>
                    </a:gs>
                  </a:gsLst>
                  <a:lin ang="5400000" scaled="1"/>
                </a:gradFill>
                <a:latin typeface="72 Brand" panose="020B0504030603020204" pitchFamily="34" charset="0"/>
                <a:cs typeface="72" panose="020B0503030000000003" pitchFamily="34" charset="0"/>
              </a:endParaRPr>
            </a:p>
          </p:txBody>
        </p:sp>
        <p:pic>
          <p:nvPicPr>
            <p:cNvPr id="1860" name="Graphic 1859">
              <a:extLst>
                <a:ext uri="{FF2B5EF4-FFF2-40B4-BE49-F238E27FC236}">
                  <a16:creationId xmlns:a16="http://schemas.microsoft.com/office/drawing/2014/main" id="{0E1EBC5C-F82B-A83F-7893-C63459E46A7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623721" y="594935"/>
              <a:ext cx="370367" cy="370365"/>
            </a:xfrm>
            <a:prstGeom prst="rect">
              <a:avLst/>
            </a:prstGeom>
          </p:spPr>
        </p:pic>
      </p:grpSp>
      <p:grpSp>
        <p:nvGrpSpPr>
          <p:cNvPr id="922" name="Group 921">
            <a:extLst>
              <a:ext uri="{FF2B5EF4-FFF2-40B4-BE49-F238E27FC236}">
                <a16:creationId xmlns:a16="http://schemas.microsoft.com/office/drawing/2014/main" id="{2CD0E128-2207-309C-A3EA-DE2032B003E7}"/>
              </a:ext>
            </a:extLst>
          </p:cNvPr>
          <p:cNvGrpSpPr/>
          <p:nvPr/>
        </p:nvGrpSpPr>
        <p:grpSpPr>
          <a:xfrm>
            <a:off x="8557604" y="2071721"/>
            <a:ext cx="737452" cy="608951"/>
            <a:chOff x="8606565" y="2071013"/>
            <a:chExt cx="737836" cy="609269"/>
          </a:xfrm>
        </p:grpSpPr>
        <p:sp>
          <p:nvSpPr>
            <p:cNvPr id="1856" name="TextBox 1855">
              <a:extLst>
                <a:ext uri="{FF2B5EF4-FFF2-40B4-BE49-F238E27FC236}">
                  <a16:creationId xmlns:a16="http://schemas.microsoft.com/office/drawing/2014/main" id="{20595357-5FB6-40B8-3E4F-C55ABE9E21A9}"/>
                </a:ext>
              </a:extLst>
            </p:cNvPr>
            <p:cNvSpPr txBox="1"/>
            <p:nvPr/>
          </p:nvSpPr>
          <p:spPr>
            <a:xfrm>
              <a:off x="8773365" y="2071013"/>
              <a:ext cx="571036" cy="609269"/>
            </a:xfrm>
            <a:prstGeom prst="rect">
              <a:avLst/>
            </a:prstGeom>
            <a:noFill/>
          </p:spPr>
          <p:txBody>
            <a:bodyPr wrap="square" lIns="0" tIns="0" rIns="0" bIns="0" rtlCol="0">
              <a:spAutoFit/>
            </a:bodyPr>
            <a:lstStyle/>
            <a:p>
              <a:pPr defTabSz="1074053" fontAlgn="base">
                <a:lnSpc>
                  <a:spcPct val="90000"/>
                </a:lnSpc>
                <a:spcBef>
                  <a:spcPct val="50000"/>
                </a:spcBef>
                <a:spcAft>
                  <a:spcPct val="0"/>
                </a:spcAft>
                <a:buClr>
                  <a:srgbClr val="000000"/>
                </a:buClr>
                <a:buSzPct val="100000"/>
                <a:defRPr/>
              </a:pPr>
              <a:r>
                <a:rPr lang="en-US" sz="1798" kern="0">
                  <a:gradFill>
                    <a:gsLst>
                      <a:gs pos="9890">
                        <a:srgbClr val="FFFFFF"/>
                      </a:gs>
                      <a:gs pos="48000">
                        <a:srgbClr val="FFFFFF"/>
                      </a:gs>
                    </a:gsLst>
                  </a:gradFill>
                  <a:latin typeface="72 Brand Medium"/>
                </a:rPr>
                <a:t>30</a:t>
              </a:r>
              <a:r>
                <a:rPr lang="en-US" sz="1200" kern="0">
                  <a:gradFill>
                    <a:gsLst>
                      <a:gs pos="9890">
                        <a:srgbClr val="FFFFFF"/>
                      </a:gs>
                      <a:gs pos="48000">
                        <a:srgbClr val="FFFFFF"/>
                      </a:gs>
                    </a:gsLst>
                  </a:gradFill>
                  <a:latin typeface="72 Brand Medium"/>
                </a:rPr>
                <a:t>%</a:t>
              </a:r>
              <a:r>
                <a:rPr lang="en-US" sz="2398" kern="0">
                  <a:gradFill>
                    <a:gsLst>
                      <a:gs pos="9890">
                        <a:srgbClr val="FFFFFF"/>
                      </a:gs>
                      <a:gs pos="48000">
                        <a:srgbClr val="FFFFFF"/>
                      </a:gs>
                    </a:gsLst>
                  </a:gradFill>
                  <a:latin typeface="72 Brand Medium"/>
                </a:rPr>
                <a:t> </a:t>
              </a:r>
              <a:r>
                <a:rPr lang="en-US" sz="1000" kern="0">
                  <a:gradFill>
                    <a:gsLst>
                      <a:gs pos="9890">
                        <a:srgbClr val="FFFFFF"/>
                      </a:gs>
                      <a:gs pos="48000">
                        <a:srgbClr val="FFFFFF"/>
                      </a:gs>
                    </a:gsLst>
                    <a:lin ang="0" scaled="1"/>
                  </a:gradFill>
                  <a:latin typeface="72 Brand Book" panose="020B0404030603020204" pitchFamily="34" charset="0"/>
                  <a:ea typeface="72 Brand" pitchFamily="34" charset="-128"/>
                  <a:cs typeface="72 Brand" pitchFamily="34" charset="-128"/>
                </a:rPr>
                <a:t>efficiency increase</a:t>
              </a:r>
              <a:endParaRPr lang="en-US" sz="1050" kern="0">
                <a:gradFill>
                  <a:gsLst>
                    <a:gs pos="9890">
                      <a:srgbClr val="FFFFFF"/>
                    </a:gs>
                    <a:gs pos="48000">
                      <a:srgbClr val="FFFFFF"/>
                    </a:gs>
                  </a:gsLst>
                  <a:lin ang="0" scaled="1"/>
                </a:gradFill>
                <a:latin typeface="72 Brand Book" panose="020B0404030603020204" pitchFamily="34" charset="0"/>
                <a:ea typeface="72 Brand" pitchFamily="34" charset="-128"/>
                <a:cs typeface="72 Brand" pitchFamily="34" charset="-128"/>
              </a:endParaRPr>
            </a:p>
          </p:txBody>
        </p:sp>
        <p:cxnSp>
          <p:nvCxnSpPr>
            <p:cNvPr id="1857" name="Straight Arrow Connector 1856">
              <a:extLst>
                <a:ext uri="{FF2B5EF4-FFF2-40B4-BE49-F238E27FC236}">
                  <a16:creationId xmlns:a16="http://schemas.microsoft.com/office/drawing/2014/main" id="{672DA7D5-6AA9-C844-D544-A6D6AFB819A8}"/>
                </a:ext>
              </a:extLst>
            </p:cNvPr>
            <p:cNvCxnSpPr/>
            <p:nvPr/>
          </p:nvCxnSpPr>
          <p:spPr>
            <a:xfrm flipV="1">
              <a:off x="8606565" y="2170865"/>
              <a:ext cx="0" cy="481105"/>
            </a:xfrm>
            <a:prstGeom prst="straightConnector1">
              <a:avLst/>
            </a:prstGeom>
            <a:ln w="12700">
              <a:gradFill>
                <a:gsLst>
                  <a:gs pos="0">
                    <a:schemeClr val="bg1">
                      <a:alpha val="0"/>
                    </a:schemeClr>
                  </a:gs>
                  <a:gs pos="100000">
                    <a:schemeClr val="bg1"/>
                  </a:gs>
                </a:gsLst>
                <a:lin ang="5400000" scaled="1"/>
              </a:gradFill>
              <a:headEnd type="none" w="med" len="med"/>
              <a:tailEnd type="arrow" w="med" len="sm"/>
            </a:ln>
          </p:spPr>
          <p:style>
            <a:lnRef idx="1">
              <a:schemeClr val="accent1"/>
            </a:lnRef>
            <a:fillRef idx="0">
              <a:schemeClr val="accent1"/>
            </a:fillRef>
            <a:effectRef idx="0">
              <a:schemeClr val="accent1"/>
            </a:effectRef>
            <a:fontRef idx="minor">
              <a:schemeClr val="tx1"/>
            </a:fontRef>
          </p:style>
        </p:cxnSp>
      </p:grpSp>
      <p:sp>
        <p:nvSpPr>
          <p:cNvPr id="923" name="Rectangle: Rounded Corners 922">
            <a:extLst>
              <a:ext uri="{FF2B5EF4-FFF2-40B4-BE49-F238E27FC236}">
                <a16:creationId xmlns:a16="http://schemas.microsoft.com/office/drawing/2014/main" id="{1D5262B5-3CD9-AABE-F946-B59909FE281D}"/>
              </a:ext>
            </a:extLst>
          </p:cNvPr>
          <p:cNvSpPr/>
          <p:nvPr/>
        </p:nvSpPr>
        <p:spPr bwMode="gray">
          <a:xfrm>
            <a:off x="2667858" y="2389867"/>
            <a:ext cx="5183271" cy="431417"/>
          </a:xfrm>
          <a:prstGeom prst="roundRect">
            <a:avLst>
              <a:gd name="adj" fmla="val 12843"/>
            </a:avLst>
          </a:prstGeom>
          <a:noFill/>
          <a:ln w="6350" algn="ctr">
            <a:gradFill>
              <a:gsLst>
                <a:gs pos="0">
                  <a:schemeClr val="bg1">
                    <a:alpha val="70000"/>
                  </a:schemeClr>
                </a:gs>
                <a:gs pos="100000">
                  <a:schemeClr val="bg1"/>
                </a:gs>
              </a:gsLst>
              <a:lin ang="5400000" scaled="1"/>
            </a:gradFill>
            <a:miter lim="800000"/>
            <a:headEnd/>
            <a:tailEnd/>
          </a:ln>
        </p:spPr>
        <p:txBody>
          <a:bodyPr lIns="182784" tIns="146228" rIns="182784" bIns="146228" rtlCol="0" anchor="t"/>
          <a:lstStyle/>
          <a:p>
            <a:pPr defTabSz="913852" fontAlgn="base">
              <a:spcBef>
                <a:spcPct val="50000"/>
              </a:spcBef>
              <a:spcAft>
                <a:spcPct val="0"/>
              </a:spcAft>
              <a:buClr>
                <a:srgbClr val="F0AB00"/>
              </a:buClr>
              <a:buSzPct val="80000"/>
              <a:defRPr/>
            </a:pPr>
            <a:endParaRPr lang="en-US" sz="1200" kern="0">
              <a:solidFill>
                <a:srgbClr val="000000"/>
              </a:solidFill>
              <a:latin typeface="72 Brand"/>
              <a:ea typeface="72 Brand" pitchFamily="34" charset="-128"/>
              <a:cs typeface="72 Brand" pitchFamily="34" charset="-128"/>
            </a:endParaRPr>
          </a:p>
        </p:txBody>
      </p:sp>
      <p:grpSp>
        <p:nvGrpSpPr>
          <p:cNvPr id="924" name="Group 923">
            <a:extLst>
              <a:ext uri="{FF2B5EF4-FFF2-40B4-BE49-F238E27FC236}">
                <a16:creationId xmlns:a16="http://schemas.microsoft.com/office/drawing/2014/main" id="{FFE53C2A-4799-6015-4588-B3A3451A6033}"/>
              </a:ext>
            </a:extLst>
          </p:cNvPr>
          <p:cNvGrpSpPr/>
          <p:nvPr/>
        </p:nvGrpSpPr>
        <p:grpSpPr>
          <a:xfrm>
            <a:off x="3581906" y="2286835"/>
            <a:ext cx="203776" cy="203775"/>
            <a:chOff x="7581900" y="2819400"/>
            <a:chExt cx="188119" cy="188119"/>
          </a:xfrm>
        </p:grpSpPr>
        <p:sp>
          <p:nvSpPr>
            <p:cNvPr id="1853" name="Rectangle: Rounded Corners 1852">
              <a:extLst>
                <a:ext uri="{FF2B5EF4-FFF2-40B4-BE49-F238E27FC236}">
                  <a16:creationId xmlns:a16="http://schemas.microsoft.com/office/drawing/2014/main" id="{231720E6-114A-3CBD-CBEA-EA36634A241E}"/>
                </a:ext>
              </a:extLst>
            </p:cNvPr>
            <p:cNvSpPr/>
            <p:nvPr/>
          </p:nvSpPr>
          <p:spPr bwMode="gray">
            <a:xfrm>
              <a:off x="7581900" y="2819400"/>
              <a:ext cx="188119" cy="188119"/>
            </a:xfrm>
            <a:prstGeom prst="roundRect">
              <a:avLst/>
            </a:prstGeom>
            <a:solidFill>
              <a:srgbClr val="7858FF"/>
            </a:solidFill>
            <a:ln w="25400" algn="ctr">
              <a:noFill/>
              <a:miter lim="800000"/>
              <a:headEnd/>
              <a:tailEnd/>
            </a:ln>
          </p:spPr>
          <p:txBody>
            <a:bodyPr lIns="182784" tIns="146228" rIns="182784" bIns="146228" rtlCol="0" anchor="t"/>
            <a:lstStyle/>
            <a:p>
              <a:pPr defTabSz="913852" fontAlgn="base">
                <a:spcBef>
                  <a:spcPct val="50000"/>
                </a:spcBef>
                <a:spcAft>
                  <a:spcPct val="0"/>
                </a:spcAft>
                <a:buClr>
                  <a:srgbClr val="F0AB00"/>
                </a:buClr>
                <a:buSzPct val="80000"/>
                <a:defRPr/>
              </a:pPr>
              <a:endParaRPr lang="en-US" sz="1200" kern="0">
                <a:solidFill>
                  <a:srgbClr val="000000"/>
                </a:solidFill>
                <a:latin typeface="72 Brand"/>
                <a:ea typeface="72 Brand" pitchFamily="34" charset="-128"/>
                <a:cs typeface="72 Brand" pitchFamily="34" charset="-128"/>
              </a:endParaRPr>
            </a:p>
          </p:txBody>
        </p:sp>
        <p:pic>
          <p:nvPicPr>
            <p:cNvPr id="1854" name="Graphic 1853">
              <a:extLst>
                <a:ext uri="{FF2B5EF4-FFF2-40B4-BE49-F238E27FC236}">
                  <a16:creationId xmlns:a16="http://schemas.microsoft.com/office/drawing/2014/main" id="{5718EAB5-3440-35F5-DACD-6ADD181E84A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617763" y="2855347"/>
              <a:ext cx="116392" cy="116224"/>
            </a:xfrm>
            <a:prstGeom prst="rect">
              <a:avLst/>
            </a:prstGeom>
            <a:effectLst>
              <a:outerShdw blurRad="1136704" dist="50800" dir="5400000" algn="ctr" rotWithShape="0">
                <a:srgbClr val="001349">
                  <a:alpha val="21722"/>
                </a:srgbClr>
              </a:outerShdw>
            </a:effectLst>
          </p:spPr>
        </p:pic>
      </p:grpSp>
      <p:grpSp>
        <p:nvGrpSpPr>
          <p:cNvPr id="925" name="Group 924">
            <a:extLst>
              <a:ext uri="{FF2B5EF4-FFF2-40B4-BE49-F238E27FC236}">
                <a16:creationId xmlns:a16="http://schemas.microsoft.com/office/drawing/2014/main" id="{E11D93A1-2F2A-6149-478C-D4E698FAA61D}"/>
              </a:ext>
            </a:extLst>
          </p:cNvPr>
          <p:cNvGrpSpPr/>
          <p:nvPr/>
        </p:nvGrpSpPr>
        <p:grpSpPr>
          <a:xfrm>
            <a:off x="5292655" y="2286835"/>
            <a:ext cx="203776" cy="203775"/>
            <a:chOff x="7581900" y="2819400"/>
            <a:chExt cx="188119" cy="188119"/>
          </a:xfrm>
        </p:grpSpPr>
        <p:sp>
          <p:nvSpPr>
            <p:cNvPr id="1846" name="Rectangle: Rounded Corners 1845">
              <a:extLst>
                <a:ext uri="{FF2B5EF4-FFF2-40B4-BE49-F238E27FC236}">
                  <a16:creationId xmlns:a16="http://schemas.microsoft.com/office/drawing/2014/main" id="{8C228513-F48D-7BBA-9B1E-480B292E7306}"/>
                </a:ext>
              </a:extLst>
            </p:cNvPr>
            <p:cNvSpPr/>
            <p:nvPr/>
          </p:nvSpPr>
          <p:spPr bwMode="gray">
            <a:xfrm>
              <a:off x="7581900" y="2819400"/>
              <a:ext cx="188119" cy="188119"/>
            </a:xfrm>
            <a:prstGeom prst="roundRect">
              <a:avLst/>
            </a:prstGeom>
            <a:solidFill>
              <a:srgbClr val="7858FF"/>
            </a:solidFill>
            <a:ln w="25400" algn="ctr">
              <a:noFill/>
              <a:miter lim="800000"/>
              <a:headEnd/>
              <a:tailEnd/>
            </a:ln>
          </p:spPr>
          <p:txBody>
            <a:bodyPr lIns="182784" tIns="146228" rIns="182784" bIns="146228" rtlCol="0" anchor="t"/>
            <a:lstStyle/>
            <a:p>
              <a:pPr defTabSz="913852" fontAlgn="base">
                <a:spcBef>
                  <a:spcPct val="50000"/>
                </a:spcBef>
                <a:spcAft>
                  <a:spcPct val="0"/>
                </a:spcAft>
                <a:buClr>
                  <a:srgbClr val="F0AB00"/>
                </a:buClr>
                <a:buSzPct val="80000"/>
                <a:defRPr/>
              </a:pPr>
              <a:endParaRPr lang="en-US" sz="1200" kern="0">
                <a:solidFill>
                  <a:srgbClr val="000000"/>
                </a:solidFill>
                <a:latin typeface="72 Brand"/>
                <a:ea typeface="72 Brand" pitchFamily="34" charset="-128"/>
                <a:cs typeface="72 Brand" pitchFamily="34" charset="-128"/>
              </a:endParaRPr>
            </a:p>
          </p:txBody>
        </p:sp>
        <p:pic>
          <p:nvPicPr>
            <p:cNvPr id="1850" name="Graphic 1849">
              <a:extLst>
                <a:ext uri="{FF2B5EF4-FFF2-40B4-BE49-F238E27FC236}">
                  <a16:creationId xmlns:a16="http://schemas.microsoft.com/office/drawing/2014/main" id="{981459E5-6E22-F13E-F6F8-E1D62164075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617763" y="2855347"/>
              <a:ext cx="116392" cy="116224"/>
            </a:xfrm>
            <a:prstGeom prst="rect">
              <a:avLst/>
            </a:prstGeom>
            <a:effectLst>
              <a:outerShdw blurRad="1136704" dist="50800" dir="5400000" algn="ctr" rotWithShape="0">
                <a:srgbClr val="001349">
                  <a:alpha val="21722"/>
                </a:srgbClr>
              </a:outerShdw>
            </a:effectLst>
          </p:spPr>
        </p:pic>
      </p:grpSp>
      <p:grpSp>
        <p:nvGrpSpPr>
          <p:cNvPr id="926" name="Group 925">
            <a:extLst>
              <a:ext uri="{FF2B5EF4-FFF2-40B4-BE49-F238E27FC236}">
                <a16:creationId xmlns:a16="http://schemas.microsoft.com/office/drawing/2014/main" id="{576A3648-0569-429E-4AC8-B092E235C763}"/>
              </a:ext>
            </a:extLst>
          </p:cNvPr>
          <p:cNvGrpSpPr/>
          <p:nvPr/>
        </p:nvGrpSpPr>
        <p:grpSpPr>
          <a:xfrm>
            <a:off x="7003404" y="2286835"/>
            <a:ext cx="203776" cy="203775"/>
            <a:chOff x="7581900" y="2819400"/>
            <a:chExt cx="188119" cy="188119"/>
          </a:xfrm>
        </p:grpSpPr>
        <p:sp>
          <p:nvSpPr>
            <p:cNvPr id="1843" name="Rectangle: Rounded Corners 1842">
              <a:extLst>
                <a:ext uri="{FF2B5EF4-FFF2-40B4-BE49-F238E27FC236}">
                  <a16:creationId xmlns:a16="http://schemas.microsoft.com/office/drawing/2014/main" id="{D982C09A-CD6B-4D3D-FBFA-9BB30DD37392}"/>
                </a:ext>
              </a:extLst>
            </p:cNvPr>
            <p:cNvSpPr/>
            <p:nvPr/>
          </p:nvSpPr>
          <p:spPr bwMode="gray">
            <a:xfrm>
              <a:off x="7581900" y="2819400"/>
              <a:ext cx="188119" cy="188119"/>
            </a:xfrm>
            <a:prstGeom prst="roundRect">
              <a:avLst/>
            </a:prstGeom>
            <a:solidFill>
              <a:srgbClr val="7858FF"/>
            </a:solidFill>
            <a:ln w="25400" algn="ctr">
              <a:noFill/>
              <a:miter lim="800000"/>
              <a:headEnd/>
              <a:tailEnd/>
            </a:ln>
          </p:spPr>
          <p:txBody>
            <a:bodyPr lIns="182784" tIns="146228" rIns="182784" bIns="146228" rtlCol="0" anchor="t"/>
            <a:lstStyle/>
            <a:p>
              <a:pPr defTabSz="913852" fontAlgn="base">
                <a:spcBef>
                  <a:spcPct val="50000"/>
                </a:spcBef>
                <a:spcAft>
                  <a:spcPct val="0"/>
                </a:spcAft>
                <a:buClr>
                  <a:srgbClr val="F0AB00"/>
                </a:buClr>
                <a:buSzPct val="80000"/>
                <a:defRPr/>
              </a:pPr>
              <a:endParaRPr lang="en-US" sz="1200" kern="0">
                <a:solidFill>
                  <a:srgbClr val="000000"/>
                </a:solidFill>
                <a:latin typeface="72 Brand"/>
                <a:ea typeface="72 Brand" pitchFamily="34" charset="-128"/>
                <a:cs typeface="72 Brand" pitchFamily="34" charset="-128"/>
              </a:endParaRPr>
            </a:p>
          </p:txBody>
        </p:sp>
        <p:pic>
          <p:nvPicPr>
            <p:cNvPr id="1844" name="Graphic 1843">
              <a:extLst>
                <a:ext uri="{FF2B5EF4-FFF2-40B4-BE49-F238E27FC236}">
                  <a16:creationId xmlns:a16="http://schemas.microsoft.com/office/drawing/2014/main" id="{D9FAEFB8-2332-9698-36EF-713E9EC7961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617763" y="2855347"/>
              <a:ext cx="116392" cy="116224"/>
            </a:xfrm>
            <a:prstGeom prst="rect">
              <a:avLst/>
            </a:prstGeom>
            <a:effectLst>
              <a:outerShdw blurRad="1136704" dist="50800" dir="5400000" algn="ctr" rotWithShape="0">
                <a:srgbClr val="001349">
                  <a:alpha val="21722"/>
                </a:srgbClr>
              </a:outerShdw>
            </a:effectLst>
          </p:spPr>
        </p:pic>
      </p:grpSp>
      <p:grpSp>
        <p:nvGrpSpPr>
          <p:cNvPr id="927" name="Group 926">
            <a:extLst>
              <a:ext uri="{FF2B5EF4-FFF2-40B4-BE49-F238E27FC236}">
                <a16:creationId xmlns:a16="http://schemas.microsoft.com/office/drawing/2014/main" id="{C5AF38A6-39AB-F6C5-C45A-10F7BBA4CF5F}"/>
              </a:ext>
            </a:extLst>
          </p:cNvPr>
          <p:cNvGrpSpPr/>
          <p:nvPr/>
        </p:nvGrpSpPr>
        <p:grpSpPr>
          <a:xfrm>
            <a:off x="3581906" y="2715955"/>
            <a:ext cx="203776" cy="203775"/>
            <a:chOff x="7581900" y="2819400"/>
            <a:chExt cx="188119" cy="188119"/>
          </a:xfrm>
        </p:grpSpPr>
        <p:sp>
          <p:nvSpPr>
            <p:cNvPr id="1841" name="Rectangle: Rounded Corners 1840">
              <a:extLst>
                <a:ext uri="{FF2B5EF4-FFF2-40B4-BE49-F238E27FC236}">
                  <a16:creationId xmlns:a16="http://schemas.microsoft.com/office/drawing/2014/main" id="{5044E361-1B10-8611-76D2-681A13CD05C2}"/>
                </a:ext>
              </a:extLst>
            </p:cNvPr>
            <p:cNvSpPr/>
            <p:nvPr/>
          </p:nvSpPr>
          <p:spPr bwMode="gray">
            <a:xfrm>
              <a:off x="7581900" y="2819400"/>
              <a:ext cx="188119" cy="188119"/>
            </a:xfrm>
            <a:prstGeom prst="roundRect">
              <a:avLst/>
            </a:prstGeom>
            <a:solidFill>
              <a:srgbClr val="7858FF"/>
            </a:solidFill>
            <a:ln w="25400" algn="ctr">
              <a:noFill/>
              <a:miter lim="800000"/>
              <a:headEnd/>
              <a:tailEnd/>
            </a:ln>
          </p:spPr>
          <p:txBody>
            <a:bodyPr lIns="182784" tIns="146228" rIns="182784" bIns="146228" rtlCol="0" anchor="t"/>
            <a:lstStyle/>
            <a:p>
              <a:pPr defTabSz="913852" fontAlgn="base">
                <a:spcBef>
                  <a:spcPct val="50000"/>
                </a:spcBef>
                <a:spcAft>
                  <a:spcPct val="0"/>
                </a:spcAft>
                <a:buClr>
                  <a:srgbClr val="F0AB00"/>
                </a:buClr>
                <a:buSzPct val="80000"/>
                <a:defRPr/>
              </a:pPr>
              <a:endParaRPr lang="en-US" sz="1200" kern="0">
                <a:solidFill>
                  <a:srgbClr val="000000"/>
                </a:solidFill>
                <a:latin typeface="72 Brand"/>
                <a:ea typeface="72 Brand" pitchFamily="34" charset="-128"/>
                <a:cs typeface="72 Brand" pitchFamily="34" charset="-128"/>
              </a:endParaRPr>
            </a:p>
          </p:txBody>
        </p:sp>
        <p:pic>
          <p:nvPicPr>
            <p:cNvPr id="1842" name="Graphic 1841">
              <a:extLst>
                <a:ext uri="{FF2B5EF4-FFF2-40B4-BE49-F238E27FC236}">
                  <a16:creationId xmlns:a16="http://schemas.microsoft.com/office/drawing/2014/main" id="{D7B33D39-1155-7C64-DCB8-C477606226E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617763" y="2855347"/>
              <a:ext cx="116392" cy="116224"/>
            </a:xfrm>
            <a:prstGeom prst="rect">
              <a:avLst/>
            </a:prstGeom>
            <a:effectLst>
              <a:outerShdw blurRad="1136704" dist="50800" dir="5400000" algn="ctr" rotWithShape="0">
                <a:srgbClr val="001349">
                  <a:alpha val="21722"/>
                </a:srgbClr>
              </a:outerShdw>
            </a:effectLst>
          </p:spPr>
        </p:pic>
      </p:grpSp>
      <p:grpSp>
        <p:nvGrpSpPr>
          <p:cNvPr id="928" name="Group 927">
            <a:extLst>
              <a:ext uri="{FF2B5EF4-FFF2-40B4-BE49-F238E27FC236}">
                <a16:creationId xmlns:a16="http://schemas.microsoft.com/office/drawing/2014/main" id="{003A1E8C-4949-934A-EB96-D549C1FEB95E}"/>
              </a:ext>
            </a:extLst>
          </p:cNvPr>
          <p:cNvGrpSpPr/>
          <p:nvPr/>
        </p:nvGrpSpPr>
        <p:grpSpPr>
          <a:xfrm>
            <a:off x="5292655" y="2715955"/>
            <a:ext cx="203776" cy="203775"/>
            <a:chOff x="7581900" y="2819400"/>
            <a:chExt cx="188119" cy="188119"/>
          </a:xfrm>
        </p:grpSpPr>
        <p:sp>
          <p:nvSpPr>
            <p:cNvPr id="1839" name="Rectangle: Rounded Corners 1838">
              <a:extLst>
                <a:ext uri="{FF2B5EF4-FFF2-40B4-BE49-F238E27FC236}">
                  <a16:creationId xmlns:a16="http://schemas.microsoft.com/office/drawing/2014/main" id="{4CB78C92-8CA9-7A92-B4DA-1F322647FF89}"/>
                </a:ext>
              </a:extLst>
            </p:cNvPr>
            <p:cNvSpPr/>
            <p:nvPr/>
          </p:nvSpPr>
          <p:spPr bwMode="gray">
            <a:xfrm>
              <a:off x="7581900" y="2819400"/>
              <a:ext cx="188119" cy="188119"/>
            </a:xfrm>
            <a:prstGeom prst="roundRect">
              <a:avLst/>
            </a:prstGeom>
            <a:solidFill>
              <a:srgbClr val="7858FF"/>
            </a:solidFill>
            <a:ln w="25400" algn="ctr">
              <a:noFill/>
              <a:miter lim="800000"/>
              <a:headEnd/>
              <a:tailEnd/>
            </a:ln>
          </p:spPr>
          <p:txBody>
            <a:bodyPr lIns="182784" tIns="146228" rIns="182784" bIns="146228" rtlCol="0" anchor="t"/>
            <a:lstStyle/>
            <a:p>
              <a:pPr defTabSz="913852" fontAlgn="base">
                <a:spcBef>
                  <a:spcPct val="50000"/>
                </a:spcBef>
                <a:spcAft>
                  <a:spcPct val="0"/>
                </a:spcAft>
                <a:buClr>
                  <a:srgbClr val="F0AB00"/>
                </a:buClr>
                <a:buSzPct val="80000"/>
                <a:defRPr/>
              </a:pPr>
              <a:endParaRPr lang="en-US" sz="1200" kern="0">
                <a:solidFill>
                  <a:srgbClr val="000000"/>
                </a:solidFill>
                <a:latin typeface="72 Brand"/>
                <a:ea typeface="72 Brand" pitchFamily="34" charset="-128"/>
                <a:cs typeface="72 Brand" pitchFamily="34" charset="-128"/>
              </a:endParaRPr>
            </a:p>
          </p:txBody>
        </p:sp>
        <p:pic>
          <p:nvPicPr>
            <p:cNvPr id="1840" name="Graphic 1839">
              <a:extLst>
                <a:ext uri="{FF2B5EF4-FFF2-40B4-BE49-F238E27FC236}">
                  <a16:creationId xmlns:a16="http://schemas.microsoft.com/office/drawing/2014/main" id="{374B7E42-B82C-0551-6EAE-2899ED4C666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617763" y="2855347"/>
              <a:ext cx="116392" cy="116224"/>
            </a:xfrm>
            <a:prstGeom prst="rect">
              <a:avLst/>
            </a:prstGeom>
            <a:effectLst>
              <a:outerShdw blurRad="1136704" dist="50800" dir="5400000" algn="ctr" rotWithShape="0">
                <a:srgbClr val="001349">
                  <a:alpha val="21722"/>
                </a:srgbClr>
              </a:outerShdw>
            </a:effectLst>
          </p:spPr>
        </p:pic>
      </p:grpSp>
      <p:grpSp>
        <p:nvGrpSpPr>
          <p:cNvPr id="929" name="Group 928">
            <a:extLst>
              <a:ext uri="{FF2B5EF4-FFF2-40B4-BE49-F238E27FC236}">
                <a16:creationId xmlns:a16="http://schemas.microsoft.com/office/drawing/2014/main" id="{C7594ADC-4A31-0678-52EA-D0AB3584B9F2}"/>
              </a:ext>
            </a:extLst>
          </p:cNvPr>
          <p:cNvGrpSpPr/>
          <p:nvPr/>
        </p:nvGrpSpPr>
        <p:grpSpPr>
          <a:xfrm>
            <a:off x="7003404" y="2715955"/>
            <a:ext cx="203776" cy="203775"/>
            <a:chOff x="7581900" y="2819400"/>
            <a:chExt cx="188119" cy="188119"/>
          </a:xfrm>
        </p:grpSpPr>
        <p:sp>
          <p:nvSpPr>
            <p:cNvPr id="1837" name="Rectangle: Rounded Corners 1836">
              <a:extLst>
                <a:ext uri="{FF2B5EF4-FFF2-40B4-BE49-F238E27FC236}">
                  <a16:creationId xmlns:a16="http://schemas.microsoft.com/office/drawing/2014/main" id="{C6C88942-2CB1-5600-D8EC-870D239525D1}"/>
                </a:ext>
              </a:extLst>
            </p:cNvPr>
            <p:cNvSpPr/>
            <p:nvPr/>
          </p:nvSpPr>
          <p:spPr bwMode="gray">
            <a:xfrm>
              <a:off x="7581900" y="2819400"/>
              <a:ext cx="188119" cy="188119"/>
            </a:xfrm>
            <a:prstGeom prst="roundRect">
              <a:avLst/>
            </a:prstGeom>
            <a:solidFill>
              <a:srgbClr val="7858FF"/>
            </a:solidFill>
            <a:ln w="25400" algn="ctr">
              <a:noFill/>
              <a:miter lim="800000"/>
              <a:headEnd/>
              <a:tailEnd/>
            </a:ln>
          </p:spPr>
          <p:txBody>
            <a:bodyPr lIns="182784" tIns="146228" rIns="182784" bIns="146228" rtlCol="0" anchor="t"/>
            <a:lstStyle/>
            <a:p>
              <a:pPr defTabSz="913852" fontAlgn="base">
                <a:spcBef>
                  <a:spcPct val="50000"/>
                </a:spcBef>
                <a:spcAft>
                  <a:spcPct val="0"/>
                </a:spcAft>
                <a:buClr>
                  <a:srgbClr val="F0AB00"/>
                </a:buClr>
                <a:buSzPct val="80000"/>
                <a:defRPr/>
              </a:pPr>
              <a:endParaRPr lang="en-US" sz="1200" kern="0">
                <a:solidFill>
                  <a:srgbClr val="000000"/>
                </a:solidFill>
                <a:latin typeface="72 Brand"/>
                <a:ea typeface="72 Brand" pitchFamily="34" charset="-128"/>
                <a:cs typeface="72 Brand" pitchFamily="34" charset="-128"/>
              </a:endParaRPr>
            </a:p>
          </p:txBody>
        </p:sp>
        <p:pic>
          <p:nvPicPr>
            <p:cNvPr id="1838" name="Graphic 1837">
              <a:extLst>
                <a:ext uri="{FF2B5EF4-FFF2-40B4-BE49-F238E27FC236}">
                  <a16:creationId xmlns:a16="http://schemas.microsoft.com/office/drawing/2014/main" id="{21C9F490-BF45-5EBB-EE18-AD31788177B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617763" y="2855347"/>
              <a:ext cx="116392" cy="116224"/>
            </a:xfrm>
            <a:prstGeom prst="rect">
              <a:avLst/>
            </a:prstGeom>
            <a:effectLst>
              <a:outerShdw blurRad="1136704" dist="50800" dir="5400000" algn="ctr" rotWithShape="0">
                <a:srgbClr val="001349">
                  <a:alpha val="21722"/>
                </a:srgbClr>
              </a:outerShdw>
            </a:effectLst>
          </p:spPr>
        </p:pic>
      </p:grpSp>
      <p:grpSp>
        <p:nvGrpSpPr>
          <p:cNvPr id="930" name="Group 929">
            <a:extLst>
              <a:ext uri="{FF2B5EF4-FFF2-40B4-BE49-F238E27FC236}">
                <a16:creationId xmlns:a16="http://schemas.microsoft.com/office/drawing/2014/main" id="{F1020913-758D-F67A-8E67-478717DE2199}"/>
              </a:ext>
            </a:extLst>
          </p:cNvPr>
          <p:cNvGrpSpPr/>
          <p:nvPr/>
        </p:nvGrpSpPr>
        <p:grpSpPr>
          <a:xfrm rot="18052365" flipH="1">
            <a:off x="4472303" y="2301741"/>
            <a:ext cx="102686" cy="163314"/>
            <a:chOff x="1781040" y="3052066"/>
            <a:chExt cx="141719" cy="225394"/>
          </a:xfrm>
        </p:grpSpPr>
        <p:sp>
          <p:nvSpPr>
            <p:cNvPr id="1835" name="Rectangle 1834">
              <a:extLst>
                <a:ext uri="{FF2B5EF4-FFF2-40B4-BE49-F238E27FC236}">
                  <a16:creationId xmlns:a16="http://schemas.microsoft.com/office/drawing/2014/main" id="{18C6EE21-30C4-FB9E-4886-10E8D12D906E}"/>
                </a:ext>
              </a:extLst>
            </p:cNvPr>
            <p:cNvSpPr/>
            <p:nvPr/>
          </p:nvSpPr>
          <p:spPr bwMode="gray">
            <a:xfrm rot="18025869">
              <a:off x="1803309" y="3093562"/>
              <a:ext cx="160946" cy="77954"/>
            </a:xfrm>
            <a:prstGeom prst="rect">
              <a:avLst/>
            </a:prstGeom>
            <a:gradFill flip="none" rotWithShape="1">
              <a:gsLst>
                <a:gs pos="0">
                  <a:srgbClr val="7858FF"/>
                </a:gs>
                <a:gs pos="100000">
                  <a:srgbClr val="7858FF">
                    <a:alpha val="0"/>
                  </a:srgbClr>
                </a:gs>
              </a:gsLst>
              <a:lin ang="0" scaled="1"/>
              <a:tileRect/>
            </a:gradFill>
            <a:ln w="25400" algn="ctr">
              <a:noFill/>
              <a:miter lim="800000"/>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sp>
          <p:nvSpPr>
            <p:cNvPr id="1836" name="Rectangle 157">
              <a:extLst>
                <a:ext uri="{FF2B5EF4-FFF2-40B4-BE49-F238E27FC236}">
                  <a16:creationId xmlns:a16="http://schemas.microsoft.com/office/drawing/2014/main" id="{25B5455B-785B-70D1-C27B-21E9328506DC}"/>
                </a:ext>
              </a:extLst>
            </p:cNvPr>
            <p:cNvSpPr/>
            <p:nvPr/>
          </p:nvSpPr>
          <p:spPr bwMode="gray">
            <a:xfrm rot="15300000">
              <a:off x="1781040" y="3208041"/>
              <a:ext cx="69419" cy="69419"/>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6350" cap="rnd" algn="ctr">
              <a:solidFill>
                <a:schemeClr val="bg1"/>
              </a:solidFill>
              <a:round/>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ndParaRPr>
            </a:p>
          </p:txBody>
        </p:sp>
      </p:grpSp>
      <p:grpSp>
        <p:nvGrpSpPr>
          <p:cNvPr id="931" name="Group 930">
            <a:extLst>
              <a:ext uri="{FF2B5EF4-FFF2-40B4-BE49-F238E27FC236}">
                <a16:creationId xmlns:a16="http://schemas.microsoft.com/office/drawing/2014/main" id="{E0EEA457-D7B1-FDB9-D3BE-E38F88EA7B78}"/>
              </a:ext>
            </a:extLst>
          </p:cNvPr>
          <p:cNvGrpSpPr/>
          <p:nvPr/>
        </p:nvGrpSpPr>
        <p:grpSpPr>
          <a:xfrm rot="18052365" flipH="1">
            <a:off x="6133714" y="2301740"/>
            <a:ext cx="102686" cy="163314"/>
            <a:chOff x="1781040" y="3052066"/>
            <a:chExt cx="141719" cy="225394"/>
          </a:xfrm>
        </p:grpSpPr>
        <p:sp>
          <p:nvSpPr>
            <p:cNvPr id="1833" name="Rectangle 1832">
              <a:extLst>
                <a:ext uri="{FF2B5EF4-FFF2-40B4-BE49-F238E27FC236}">
                  <a16:creationId xmlns:a16="http://schemas.microsoft.com/office/drawing/2014/main" id="{FDFD0316-FE83-2EA0-B50C-0D394440B18A}"/>
                </a:ext>
              </a:extLst>
            </p:cNvPr>
            <p:cNvSpPr/>
            <p:nvPr/>
          </p:nvSpPr>
          <p:spPr bwMode="gray">
            <a:xfrm rot="18025869">
              <a:off x="1803309" y="3093562"/>
              <a:ext cx="160946" cy="77954"/>
            </a:xfrm>
            <a:prstGeom prst="rect">
              <a:avLst/>
            </a:prstGeom>
            <a:gradFill flip="none" rotWithShape="1">
              <a:gsLst>
                <a:gs pos="0">
                  <a:srgbClr val="7858FF"/>
                </a:gs>
                <a:gs pos="100000">
                  <a:srgbClr val="7858FF">
                    <a:alpha val="0"/>
                  </a:srgbClr>
                </a:gs>
              </a:gsLst>
              <a:lin ang="0" scaled="1"/>
              <a:tileRect/>
            </a:gradFill>
            <a:ln w="25400" algn="ctr">
              <a:noFill/>
              <a:miter lim="800000"/>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sp>
          <p:nvSpPr>
            <p:cNvPr id="1834" name="Rectangle 157">
              <a:extLst>
                <a:ext uri="{FF2B5EF4-FFF2-40B4-BE49-F238E27FC236}">
                  <a16:creationId xmlns:a16="http://schemas.microsoft.com/office/drawing/2014/main" id="{353FFA17-62A5-A9CE-5AFA-897FF9537D40}"/>
                </a:ext>
              </a:extLst>
            </p:cNvPr>
            <p:cNvSpPr/>
            <p:nvPr/>
          </p:nvSpPr>
          <p:spPr bwMode="gray">
            <a:xfrm rot="15300000">
              <a:off x="1781040" y="3208041"/>
              <a:ext cx="69419" cy="69419"/>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6350" cap="rnd" algn="ctr">
              <a:solidFill>
                <a:schemeClr val="bg1"/>
              </a:solidFill>
              <a:round/>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ndParaRPr>
            </a:p>
          </p:txBody>
        </p:sp>
      </p:grpSp>
      <p:grpSp>
        <p:nvGrpSpPr>
          <p:cNvPr id="934" name="Group 933">
            <a:extLst>
              <a:ext uri="{FF2B5EF4-FFF2-40B4-BE49-F238E27FC236}">
                <a16:creationId xmlns:a16="http://schemas.microsoft.com/office/drawing/2014/main" id="{1E7E1904-76C9-155E-5C55-04D2511A116D}"/>
              </a:ext>
            </a:extLst>
          </p:cNvPr>
          <p:cNvGrpSpPr/>
          <p:nvPr/>
        </p:nvGrpSpPr>
        <p:grpSpPr>
          <a:xfrm rot="3547635">
            <a:off x="4568661" y="2733155"/>
            <a:ext cx="102686" cy="163314"/>
            <a:chOff x="1781040" y="3052066"/>
            <a:chExt cx="141719" cy="225394"/>
          </a:xfrm>
        </p:grpSpPr>
        <p:sp>
          <p:nvSpPr>
            <p:cNvPr id="1829" name="Rectangle 1828">
              <a:extLst>
                <a:ext uri="{FF2B5EF4-FFF2-40B4-BE49-F238E27FC236}">
                  <a16:creationId xmlns:a16="http://schemas.microsoft.com/office/drawing/2014/main" id="{A750BB3B-3000-94CF-5BD2-BB9555D826F0}"/>
                </a:ext>
              </a:extLst>
            </p:cNvPr>
            <p:cNvSpPr/>
            <p:nvPr/>
          </p:nvSpPr>
          <p:spPr bwMode="gray">
            <a:xfrm rot="18025869">
              <a:off x="1803309" y="3093562"/>
              <a:ext cx="160946" cy="77954"/>
            </a:xfrm>
            <a:prstGeom prst="rect">
              <a:avLst/>
            </a:prstGeom>
            <a:gradFill flip="none" rotWithShape="1">
              <a:gsLst>
                <a:gs pos="0">
                  <a:srgbClr val="7858FF"/>
                </a:gs>
                <a:gs pos="100000">
                  <a:srgbClr val="7858FF">
                    <a:alpha val="0"/>
                  </a:srgbClr>
                </a:gs>
              </a:gsLst>
              <a:lin ang="0" scaled="1"/>
              <a:tileRect/>
            </a:gradFill>
            <a:ln w="25400" algn="ctr">
              <a:noFill/>
              <a:miter lim="800000"/>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sp>
          <p:nvSpPr>
            <p:cNvPr id="1830" name="Rectangle 157">
              <a:extLst>
                <a:ext uri="{FF2B5EF4-FFF2-40B4-BE49-F238E27FC236}">
                  <a16:creationId xmlns:a16="http://schemas.microsoft.com/office/drawing/2014/main" id="{D9D68B86-D9DE-1CFC-73D9-DF6B520B7B69}"/>
                </a:ext>
              </a:extLst>
            </p:cNvPr>
            <p:cNvSpPr/>
            <p:nvPr/>
          </p:nvSpPr>
          <p:spPr bwMode="gray">
            <a:xfrm rot="15300000">
              <a:off x="1781040" y="3208041"/>
              <a:ext cx="69419" cy="69419"/>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6350" cap="rnd" algn="ctr">
              <a:solidFill>
                <a:schemeClr val="bg1"/>
              </a:solidFill>
              <a:round/>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ndParaRPr>
            </a:p>
          </p:txBody>
        </p:sp>
      </p:grpSp>
      <p:grpSp>
        <p:nvGrpSpPr>
          <p:cNvPr id="936" name="Group 935">
            <a:extLst>
              <a:ext uri="{FF2B5EF4-FFF2-40B4-BE49-F238E27FC236}">
                <a16:creationId xmlns:a16="http://schemas.microsoft.com/office/drawing/2014/main" id="{FA5D47B1-6FE6-59EF-9295-E3F80D682138}"/>
              </a:ext>
            </a:extLst>
          </p:cNvPr>
          <p:cNvGrpSpPr/>
          <p:nvPr/>
        </p:nvGrpSpPr>
        <p:grpSpPr>
          <a:xfrm rot="3547635">
            <a:off x="6225481" y="2733154"/>
            <a:ext cx="102686" cy="163314"/>
            <a:chOff x="1781040" y="3052066"/>
            <a:chExt cx="141719" cy="225394"/>
          </a:xfrm>
        </p:grpSpPr>
        <p:sp>
          <p:nvSpPr>
            <p:cNvPr id="1826" name="Rectangle 1825">
              <a:extLst>
                <a:ext uri="{FF2B5EF4-FFF2-40B4-BE49-F238E27FC236}">
                  <a16:creationId xmlns:a16="http://schemas.microsoft.com/office/drawing/2014/main" id="{01B3D84D-2611-27B5-D9F8-3552CA76DE97}"/>
                </a:ext>
              </a:extLst>
            </p:cNvPr>
            <p:cNvSpPr/>
            <p:nvPr/>
          </p:nvSpPr>
          <p:spPr bwMode="gray">
            <a:xfrm rot="18025869">
              <a:off x="1803309" y="3093562"/>
              <a:ext cx="160946" cy="77954"/>
            </a:xfrm>
            <a:prstGeom prst="rect">
              <a:avLst/>
            </a:prstGeom>
            <a:gradFill flip="none" rotWithShape="1">
              <a:gsLst>
                <a:gs pos="0">
                  <a:srgbClr val="7858FF"/>
                </a:gs>
                <a:gs pos="100000">
                  <a:srgbClr val="7858FF">
                    <a:alpha val="0"/>
                  </a:srgbClr>
                </a:gs>
              </a:gsLst>
              <a:lin ang="0" scaled="1"/>
              <a:tileRect/>
            </a:gradFill>
            <a:ln w="25400" algn="ctr">
              <a:noFill/>
              <a:miter lim="800000"/>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a typeface="72 Brand" pitchFamily="34" charset="-128"/>
                <a:cs typeface="72 Brand" pitchFamily="34" charset="-128"/>
              </a:endParaRPr>
            </a:p>
          </p:txBody>
        </p:sp>
        <p:sp>
          <p:nvSpPr>
            <p:cNvPr id="1827" name="Rectangle 157">
              <a:extLst>
                <a:ext uri="{FF2B5EF4-FFF2-40B4-BE49-F238E27FC236}">
                  <a16:creationId xmlns:a16="http://schemas.microsoft.com/office/drawing/2014/main" id="{6AA66322-69E6-EF78-AF38-CF33840E3141}"/>
                </a:ext>
              </a:extLst>
            </p:cNvPr>
            <p:cNvSpPr/>
            <p:nvPr/>
          </p:nvSpPr>
          <p:spPr bwMode="gray">
            <a:xfrm rot="15300000">
              <a:off x="1781040" y="3208041"/>
              <a:ext cx="69419" cy="69419"/>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6350" cap="rnd" algn="ctr">
              <a:solidFill>
                <a:schemeClr val="bg1"/>
              </a:solidFill>
              <a:round/>
              <a:headEnd/>
              <a:tailEnd/>
            </a:ln>
          </p:spPr>
          <p:txBody>
            <a:bodyPr lIns="162423" tIns="129938" rIns="162423" bIns="129938" rtlCol="0" anchor="t"/>
            <a:lstStyle/>
            <a:p>
              <a:pPr defTabSz="902306" fontAlgn="base">
                <a:spcBef>
                  <a:spcPct val="50000"/>
                </a:spcBef>
                <a:spcAft>
                  <a:spcPct val="0"/>
                </a:spcAft>
                <a:buClr>
                  <a:srgbClr val="F0AB00"/>
                </a:buClr>
                <a:buSzPct val="80000"/>
                <a:defRPr/>
              </a:pPr>
              <a:endParaRPr lang="en-US" sz="1086" kern="0">
                <a:solidFill>
                  <a:srgbClr val="000000"/>
                </a:solidFill>
                <a:latin typeface="72 Brand"/>
              </a:endParaRPr>
            </a:p>
          </p:txBody>
        </p:sp>
      </p:grpSp>
      <p:sp>
        <p:nvSpPr>
          <p:cNvPr id="937" name="TextBox 936">
            <a:extLst>
              <a:ext uri="{FF2B5EF4-FFF2-40B4-BE49-F238E27FC236}">
                <a16:creationId xmlns:a16="http://schemas.microsoft.com/office/drawing/2014/main" id="{D1F9BEB5-046C-F85B-10B7-9A355AD98CA3}"/>
              </a:ext>
            </a:extLst>
          </p:cNvPr>
          <p:cNvSpPr txBox="1"/>
          <p:nvPr/>
        </p:nvSpPr>
        <p:spPr>
          <a:xfrm>
            <a:off x="4934721" y="2516198"/>
            <a:ext cx="919644" cy="138427"/>
          </a:xfrm>
          <a:prstGeom prst="rect">
            <a:avLst/>
          </a:prstGeom>
          <a:noFill/>
        </p:spPr>
        <p:txBody>
          <a:bodyPr wrap="non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000" kern="0">
                <a:gradFill>
                  <a:gsLst>
                    <a:gs pos="35165">
                      <a:srgbClr val="FFFFFF"/>
                    </a:gs>
                    <a:gs pos="64000">
                      <a:srgbClr val="FFFFFF"/>
                    </a:gs>
                  </a:gsLst>
                  <a:lin ang="10800000" scaled="1"/>
                </a:gradFill>
                <a:latin typeface="72 Brand Book" panose="020B0404030603020204" pitchFamily="34" charset="0"/>
              </a:rPr>
              <a:t>Analytics</a:t>
            </a:r>
            <a:r>
              <a:rPr lang="en-US" sz="1000" kern="0">
                <a:gradFill>
                  <a:gsLst>
                    <a:gs pos="35165">
                      <a:srgbClr val="FFFFFF"/>
                    </a:gs>
                    <a:gs pos="64000">
                      <a:srgbClr val="FFFFFF"/>
                    </a:gs>
                  </a:gsLst>
                  <a:lin ang="10800000" scaled="1"/>
                </a:gradFill>
                <a:latin typeface="72 Brand" panose="020B0504030603020204" pitchFamily="34" charset="0"/>
              </a:rPr>
              <a:t> </a:t>
            </a:r>
            <a:r>
              <a:rPr lang="en-US" sz="1000" kern="0">
                <a:gradFill>
                  <a:gsLst>
                    <a:gs pos="35165">
                      <a:srgbClr val="FFFFFF"/>
                    </a:gs>
                    <a:gs pos="64000">
                      <a:srgbClr val="FFFFFF"/>
                    </a:gs>
                  </a:gsLst>
                  <a:lin ang="10800000" scaled="1"/>
                </a:gradFill>
                <a:latin typeface="72 Brand Medium" panose="020B0504030603020204" pitchFamily="34" charset="0"/>
              </a:rPr>
              <a:t>agents</a:t>
            </a:r>
          </a:p>
        </p:txBody>
      </p:sp>
      <p:sp>
        <p:nvSpPr>
          <p:cNvPr id="945" name="TextBox 944">
            <a:extLst>
              <a:ext uri="{FF2B5EF4-FFF2-40B4-BE49-F238E27FC236}">
                <a16:creationId xmlns:a16="http://schemas.microsoft.com/office/drawing/2014/main" id="{C71D2F8D-B892-0AAB-8CF6-5BB12AB4A440}"/>
              </a:ext>
            </a:extLst>
          </p:cNvPr>
          <p:cNvSpPr txBox="1"/>
          <p:nvPr/>
        </p:nvSpPr>
        <p:spPr>
          <a:xfrm>
            <a:off x="6820018" y="2516198"/>
            <a:ext cx="579986" cy="138427"/>
          </a:xfrm>
          <a:prstGeom prst="rect">
            <a:avLst/>
          </a:prstGeom>
          <a:noFill/>
        </p:spPr>
        <p:txBody>
          <a:bodyPr wrap="non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000" kern="0">
                <a:gradFill>
                  <a:gsLst>
                    <a:gs pos="35165">
                      <a:srgbClr val="FFFFFF"/>
                    </a:gs>
                    <a:gs pos="64000">
                      <a:srgbClr val="FFFFFF"/>
                    </a:gs>
                  </a:gsLst>
                  <a:lin ang="10800000" scaled="1"/>
                </a:gradFill>
                <a:latin typeface="72 Brand Book" panose="020B0404030603020204" pitchFamily="34" charset="0"/>
              </a:rPr>
              <a:t>CX</a:t>
            </a:r>
            <a:r>
              <a:rPr lang="en-US" sz="1000" kern="0">
                <a:gradFill>
                  <a:gsLst>
                    <a:gs pos="35165">
                      <a:srgbClr val="FFFFFF"/>
                    </a:gs>
                    <a:gs pos="64000">
                      <a:srgbClr val="FFFFFF"/>
                    </a:gs>
                  </a:gsLst>
                  <a:lin ang="10800000" scaled="1"/>
                </a:gradFill>
                <a:latin typeface="72 Brand" panose="020B0504030603020204" pitchFamily="34" charset="0"/>
              </a:rPr>
              <a:t> </a:t>
            </a:r>
            <a:r>
              <a:rPr lang="en-US" sz="1000" kern="0">
                <a:gradFill>
                  <a:gsLst>
                    <a:gs pos="35165">
                      <a:srgbClr val="FFFFFF"/>
                    </a:gs>
                    <a:gs pos="64000">
                      <a:srgbClr val="FFFFFF"/>
                    </a:gs>
                  </a:gsLst>
                  <a:lin ang="10800000" scaled="1"/>
                </a:gradFill>
                <a:latin typeface="72 Brand Medium" panose="020B0504030603020204" pitchFamily="34" charset="0"/>
              </a:rPr>
              <a:t>agents</a:t>
            </a:r>
          </a:p>
        </p:txBody>
      </p:sp>
      <p:sp>
        <p:nvSpPr>
          <p:cNvPr id="953" name="TextBox 952">
            <a:extLst>
              <a:ext uri="{FF2B5EF4-FFF2-40B4-BE49-F238E27FC236}">
                <a16:creationId xmlns:a16="http://schemas.microsoft.com/office/drawing/2014/main" id="{82144F3B-04A7-6C33-63AC-507E2EB3FB74}"/>
              </a:ext>
            </a:extLst>
          </p:cNvPr>
          <p:cNvSpPr txBox="1"/>
          <p:nvPr/>
        </p:nvSpPr>
        <p:spPr>
          <a:xfrm>
            <a:off x="3248461" y="2516198"/>
            <a:ext cx="857161" cy="138427"/>
          </a:xfrm>
          <a:prstGeom prst="rect">
            <a:avLst/>
          </a:prstGeom>
          <a:noFill/>
        </p:spPr>
        <p:txBody>
          <a:bodyPr wrap="non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000" kern="0">
                <a:gradFill>
                  <a:gsLst>
                    <a:gs pos="35165">
                      <a:srgbClr val="FFFFFF"/>
                    </a:gs>
                    <a:gs pos="64000">
                      <a:srgbClr val="FFFFFF"/>
                    </a:gs>
                  </a:gsLst>
                  <a:lin ang="10800000" scaled="1"/>
                </a:gradFill>
                <a:latin typeface="72 Brand Book" panose="020B0404030603020204" pitchFamily="34" charset="0"/>
              </a:rPr>
              <a:t>Finance</a:t>
            </a:r>
            <a:r>
              <a:rPr lang="en-US" sz="1000" kern="0">
                <a:gradFill>
                  <a:gsLst>
                    <a:gs pos="35165">
                      <a:srgbClr val="FFFFFF"/>
                    </a:gs>
                    <a:gs pos="64000">
                      <a:srgbClr val="FFFFFF"/>
                    </a:gs>
                  </a:gsLst>
                  <a:lin ang="10800000" scaled="1"/>
                </a:gradFill>
                <a:latin typeface="72 Brand" panose="020B0504030603020204" pitchFamily="34" charset="0"/>
              </a:rPr>
              <a:t> </a:t>
            </a:r>
            <a:r>
              <a:rPr lang="en-US" sz="1000" kern="0">
                <a:gradFill>
                  <a:gsLst>
                    <a:gs pos="35165">
                      <a:srgbClr val="FFFFFF"/>
                    </a:gs>
                    <a:gs pos="64000">
                      <a:srgbClr val="FFFFFF"/>
                    </a:gs>
                  </a:gsLst>
                  <a:lin ang="10800000" scaled="1"/>
                </a:gradFill>
                <a:latin typeface="72 Brand Medium" panose="020B0504030603020204" pitchFamily="34" charset="0"/>
              </a:rPr>
              <a:t>agents</a:t>
            </a:r>
          </a:p>
        </p:txBody>
      </p:sp>
      <p:sp>
        <p:nvSpPr>
          <p:cNvPr id="954" name="TextBox 953">
            <a:extLst>
              <a:ext uri="{FF2B5EF4-FFF2-40B4-BE49-F238E27FC236}">
                <a16:creationId xmlns:a16="http://schemas.microsoft.com/office/drawing/2014/main" id="{893F766A-2D2A-DAC9-027F-EDFCE74DD987}"/>
              </a:ext>
            </a:extLst>
          </p:cNvPr>
          <p:cNvSpPr txBox="1"/>
          <p:nvPr/>
        </p:nvSpPr>
        <p:spPr>
          <a:xfrm>
            <a:off x="5098945" y="2921608"/>
            <a:ext cx="591201" cy="138427"/>
          </a:xfrm>
          <a:prstGeom prst="rect">
            <a:avLst/>
          </a:prstGeom>
          <a:noFill/>
        </p:spPr>
        <p:txBody>
          <a:bodyPr wrap="non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000" kern="0">
                <a:gradFill>
                  <a:gsLst>
                    <a:gs pos="35165">
                      <a:srgbClr val="FFFFFF"/>
                    </a:gs>
                    <a:gs pos="64000">
                      <a:srgbClr val="FFFFFF"/>
                    </a:gs>
                  </a:gsLst>
                  <a:lin ang="10800000" scaled="1"/>
                </a:gradFill>
                <a:latin typeface="72 Brand Book" panose="020B0404030603020204" pitchFamily="34" charset="0"/>
              </a:rPr>
              <a:t>HR</a:t>
            </a:r>
            <a:r>
              <a:rPr lang="en-US" sz="1000" kern="0">
                <a:gradFill>
                  <a:gsLst>
                    <a:gs pos="35165">
                      <a:srgbClr val="FFFFFF"/>
                    </a:gs>
                    <a:gs pos="64000">
                      <a:srgbClr val="FFFFFF"/>
                    </a:gs>
                  </a:gsLst>
                  <a:lin ang="10800000" scaled="1"/>
                </a:gradFill>
                <a:latin typeface="72 Brand" panose="020B0504030603020204" pitchFamily="34" charset="0"/>
              </a:rPr>
              <a:t> </a:t>
            </a:r>
            <a:r>
              <a:rPr lang="en-US" sz="1000" kern="0">
                <a:gradFill>
                  <a:gsLst>
                    <a:gs pos="35165">
                      <a:srgbClr val="FFFFFF"/>
                    </a:gs>
                    <a:gs pos="64000">
                      <a:srgbClr val="FFFFFF"/>
                    </a:gs>
                  </a:gsLst>
                  <a:lin ang="10800000" scaled="1"/>
                </a:gradFill>
                <a:latin typeface="72 Brand Medium" panose="020B0504030603020204" pitchFamily="34" charset="0"/>
              </a:rPr>
              <a:t>agents</a:t>
            </a:r>
          </a:p>
        </p:txBody>
      </p:sp>
      <p:sp>
        <p:nvSpPr>
          <p:cNvPr id="955" name="TextBox 954">
            <a:extLst>
              <a:ext uri="{FF2B5EF4-FFF2-40B4-BE49-F238E27FC236}">
                <a16:creationId xmlns:a16="http://schemas.microsoft.com/office/drawing/2014/main" id="{A279CD0C-A8AD-2366-CBFD-5480CD60CA2E}"/>
              </a:ext>
            </a:extLst>
          </p:cNvPr>
          <p:cNvSpPr txBox="1"/>
          <p:nvPr/>
        </p:nvSpPr>
        <p:spPr>
          <a:xfrm>
            <a:off x="6715077" y="2921608"/>
            <a:ext cx="789869" cy="138427"/>
          </a:xfrm>
          <a:prstGeom prst="rect">
            <a:avLst/>
          </a:prstGeom>
          <a:noFill/>
        </p:spPr>
        <p:txBody>
          <a:bodyPr wrap="non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000" kern="0">
                <a:gradFill>
                  <a:gsLst>
                    <a:gs pos="35165">
                      <a:srgbClr val="FFFFFF"/>
                    </a:gs>
                    <a:gs pos="64000">
                      <a:srgbClr val="FFFFFF"/>
                    </a:gs>
                  </a:gsLst>
                  <a:lin ang="10800000" scaled="1"/>
                </a:gradFill>
                <a:latin typeface="72 Brand Book" panose="020B0404030603020204" pitchFamily="34" charset="0"/>
              </a:rPr>
              <a:t>Spend</a:t>
            </a:r>
            <a:r>
              <a:rPr lang="en-US" sz="1000" kern="0">
                <a:gradFill>
                  <a:gsLst>
                    <a:gs pos="35165">
                      <a:srgbClr val="FFFFFF"/>
                    </a:gs>
                    <a:gs pos="64000">
                      <a:srgbClr val="FFFFFF"/>
                    </a:gs>
                  </a:gsLst>
                  <a:lin ang="10800000" scaled="1"/>
                </a:gradFill>
                <a:latin typeface="72 Brand" panose="020B0504030603020204" pitchFamily="34" charset="0"/>
              </a:rPr>
              <a:t> </a:t>
            </a:r>
            <a:r>
              <a:rPr lang="en-US" sz="1000" kern="0">
                <a:gradFill>
                  <a:gsLst>
                    <a:gs pos="35165">
                      <a:srgbClr val="FFFFFF"/>
                    </a:gs>
                    <a:gs pos="64000">
                      <a:srgbClr val="FFFFFF"/>
                    </a:gs>
                  </a:gsLst>
                  <a:lin ang="10800000" scaled="1"/>
                </a:gradFill>
                <a:latin typeface="72 Brand Medium" panose="020B0504030603020204" pitchFamily="34" charset="0"/>
              </a:rPr>
              <a:t>agents</a:t>
            </a:r>
          </a:p>
        </p:txBody>
      </p:sp>
      <p:sp>
        <p:nvSpPr>
          <p:cNvPr id="956" name="TextBox 955">
            <a:extLst>
              <a:ext uri="{FF2B5EF4-FFF2-40B4-BE49-F238E27FC236}">
                <a16:creationId xmlns:a16="http://schemas.microsoft.com/office/drawing/2014/main" id="{141B2A52-DFA0-0423-1931-CC74E0DA0402}"/>
              </a:ext>
            </a:extLst>
          </p:cNvPr>
          <p:cNvSpPr txBox="1"/>
          <p:nvPr/>
        </p:nvSpPr>
        <p:spPr>
          <a:xfrm>
            <a:off x="3107470" y="2921608"/>
            <a:ext cx="1139142" cy="138427"/>
          </a:xfrm>
          <a:prstGeom prst="rect">
            <a:avLst/>
          </a:prstGeom>
          <a:noFill/>
        </p:spPr>
        <p:txBody>
          <a:bodyPr wrap="none" lIns="0" tIns="0" rIns="0" bIns="0" rtlCol="0">
            <a:spAutoFit/>
          </a:bodyPr>
          <a:lstStyle/>
          <a:p>
            <a:pPr algn="ctr" defTabSz="1074053" fontAlgn="base">
              <a:lnSpc>
                <a:spcPct val="90000"/>
              </a:lnSpc>
              <a:spcBef>
                <a:spcPct val="50000"/>
              </a:spcBef>
              <a:spcAft>
                <a:spcPct val="0"/>
              </a:spcAft>
              <a:buClr>
                <a:srgbClr val="000000"/>
              </a:buClr>
              <a:buSzPct val="100000"/>
              <a:defRPr/>
            </a:pPr>
            <a:r>
              <a:rPr lang="en-US" sz="1000" kern="0">
                <a:gradFill>
                  <a:gsLst>
                    <a:gs pos="35165">
                      <a:srgbClr val="FFFFFF"/>
                    </a:gs>
                    <a:gs pos="64000">
                      <a:srgbClr val="FFFFFF"/>
                    </a:gs>
                  </a:gsLst>
                  <a:lin ang="10800000" scaled="1"/>
                </a:gradFill>
                <a:latin typeface="72 Brand Book" panose="020B0404030603020204" pitchFamily="34" charset="0"/>
              </a:rPr>
              <a:t>Supply chain</a:t>
            </a:r>
            <a:r>
              <a:rPr lang="en-US" sz="1000" kern="0">
                <a:gradFill>
                  <a:gsLst>
                    <a:gs pos="35165">
                      <a:srgbClr val="FFFFFF"/>
                    </a:gs>
                    <a:gs pos="64000">
                      <a:srgbClr val="FFFFFF"/>
                    </a:gs>
                  </a:gsLst>
                  <a:lin ang="10800000" scaled="1"/>
                </a:gradFill>
                <a:latin typeface="72 Brand" panose="020B0504030603020204" pitchFamily="34" charset="0"/>
              </a:rPr>
              <a:t> </a:t>
            </a:r>
            <a:r>
              <a:rPr lang="en-US" sz="1000" kern="0">
                <a:gradFill>
                  <a:gsLst>
                    <a:gs pos="35165">
                      <a:srgbClr val="FFFFFF"/>
                    </a:gs>
                    <a:gs pos="64000">
                      <a:srgbClr val="FFFFFF"/>
                    </a:gs>
                  </a:gsLst>
                  <a:lin ang="10800000" scaled="1"/>
                </a:gradFill>
                <a:latin typeface="72 Brand Medium" panose="020B0504030603020204" pitchFamily="34" charset="0"/>
              </a:rPr>
              <a:t>agents</a:t>
            </a:r>
          </a:p>
        </p:txBody>
      </p:sp>
      <p:grpSp>
        <p:nvGrpSpPr>
          <p:cNvPr id="1792" name="Group 1791">
            <a:extLst>
              <a:ext uri="{FF2B5EF4-FFF2-40B4-BE49-F238E27FC236}">
                <a16:creationId xmlns:a16="http://schemas.microsoft.com/office/drawing/2014/main" id="{8F3B78FB-99DF-DF7D-DDA2-0B67B0CA7FBD}"/>
              </a:ext>
            </a:extLst>
          </p:cNvPr>
          <p:cNvGrpSpPr/>
          <p:nvPr/>
        </p:nvGrpSpPr>
        <p:grpSpPr>
          <a:xfrm>
            <a:off x="3232933" y="4100229"/>
            <a:ext cx="266929" cy="225920"/>
            <a:chOff x="13085502" y="13932642"/>
            <a:chExt cx="1375110" cy="1163844"/>
          </a:xfrm>
        </p:grpSpPr>
        <p:sp>
          <p:nvSpPr>
            <p:cNvPr id="1823" name="Can 1882">
              <a:extLst>
                <a:ext uri="{FF2B5EF4-FFF2-40B4-BE49-F238E27FC236}">
                  <a16:creationId xmlns:a16="http://schemas.microsoft.com/office/drawing/2014/main" id="{D03F4A0F-4B78-2A3D-2C7B-73565D0AF868}"/>
                </a:ext>
              </a:extLst>
            </p:cNvPr>
            <p:cNvSpPr/>
            <p:nvPr/>
          </p:nvSpPr>
          <p:spPr bwMode="gray">
            <a:xfrm>
              <a:off x="13085502" y="14269630"/>
              <a:ext cx="832029" cy="826856"/>
            </a:xfrm>
            <a:prstGeom prst="can">
              <a:avLst/>
            </a:prstGeom>
            <a:solidFill>
              <a:srgbClr val="4DB1FF"/>
            </a:solidFill>
            <a:ln w="6858" algn="ctr">
              <a:solidFill>
                <a:srgbClr val="D1EFFF">
                  <a:alpha val="9781"/>
                </a:srgbClr>
              </a:solidFill>
              <a:miter lim="800000"/>
              <a:headEnd/>
              <a:tailEnd/>
            </a:ln>
          </p:spPr>
          <p:txBody>
            <a:bodyPr lIns="24288" tIns="19430" rIns="24288" bIns="19430" rtlCol="0" anchor="ctr"/>
            <a:lstStyle/>
            <a:p>
              <a:pPr algn="ctr" defTabSz="1088449" fontAlgn="base">
                <a:spcBef>
                  <a:spcPct val="50000"/>
                </a:spcBef>
                <a:spcAft>
                  <a:spcPct val="0"/>
                </a:spcAft>
                <a:buClr>
                  <a:srgbClr val="F0AB00"/>
                </a:buClr>
                <a:buSzPct val="80000"/>
              </a:pPr>
              <a:endParaRPr lang="en-GB" sz="2098" kern="0">
                <a:solidFill>
                  <a:srgbClr val="000000"/>
                </a:solidFill>
                <a:latin typeface="72 Brand"/>
              </a:endParaRPr>
            </a:p>
          </p:txBody>
        </p:sp>
        <p:sp>
          <p:nvSpPr>
            <p:cNvPr id="1824" name="Can 1883">
              <a:extLst>
                <a:ext uri="{FF2B5EF4-FFF2-40B4-BE49-F238E27FC236}">
                  <a16:creationId xmlns:a16="http://schemas.microsoft.com/office/drawing/2014/main" id="{03860170-E6F6-FD0C-0DE3-430980B2371A}"/>
                </a:ext>
              </a:extLst>
            </p:cNvPr>
            <p:cNvSpPr/>
            <p:nvPr/>
          </p:nvSpPr>
          <p:spPr bwMode="gray">
            <a:xfrm>
              <a:off x="13628583" y="13932642"/>
              <a:ext cx="832029" cy="1163844"/>
            </a:xfrm>
            <a:prstGeom prst="can">
              <a:avLst/>
            </a:prstGeom>
            <a:solidFill>
              <a:srgbClr val="4DB1FF"/>
            </a:solidFill>
            <a:ln w="6858" algn="ctr">
              <a:solidFill>
                <a:srgbClr val="D1EFFF">
                  <a:alpha val="9781"/>
                </a:srgbClr>
              </a:solidFill>
              <a:miter lim="800000"/>
              <a:headEnd/>
              <a:tailEnd/>
            </a:ln>
          </p:spPr>
          <p:txBody>
            <a:bodyPr lIns="24288" tIns="19430" rIns="24288" bIns="19430" rtlCol="0" anchor="ctr"/>
            <a:lstStyle/>
            <a:p>
              <a:pPr algn="ctr" defTabSz="1088449" fontAlgn="base">
                <a:spcBef>
                  <a:spcPct val="50000"/>
                </a:spcBef>
                <a:spcAft>
                  <a:spcPct val="0"/>
                </a:spcAft>
                <a:buClr>
                  <a:srgbClr val="F0AB00"/>
                </a:buClr>
                <a:buSzPct val="80000"/>
              </a:pPr>
              <a:endParaRPr lang="en-GB" sz="2098" kern="0">
                <a:solidFill>
                  <a:srgbClr val="000000"/>
                </a:solidFill>
                <a:latin typeface="72 Brand"/>
              </a:endParaRPr>
            </a:p>
          </p:txBody>
        </p:sp>
      </p:grpSp>
      <p:grpSp>
        <p:nvGrpSpPr>
          <p:cNvPr id="1794" name="Group 1793">
            <a:extLst>
              <a:ext uri="{FF2B5EF4-FFF2-40B4-BE49-F238E27FC236}">
                <a16:creationId xmlns:a16="http://schemas.microsoft.com/office/drawing/2014/main" id="{EB8B00F4-6665-19DF-8039-3F7B9ED04648}"/>
              </a:ext>
            </a:extLst>
          </p:cNvPr>
          <p:cNvGrpSpPr/>
          <p:nvPr/>
        </p:nvGrpSpPr>
        <p:grpSpPr>
          <a:xfrm>
            <a:off x="4200264" y="4100229"/>
            <a:ext cx="266929" cy="225920"/>
            <a:chOff x="13085502" y="13932642"/>
            <a:chExt cx="1375110" cy="1163844"/>
          </a:xfrm>
        </p:grpSpPr>
        <p:sp>
          <p:nvSpPr>
            <p:cNvPr id="1821" name="Can 1882">
              <a:extLst>
                <a:ext uri="{FF2B5EF4-FFF2-40B4-BE49-F238E27FC236}">
                  <a16:creationId xmlns:a16="http://schemas.microsoft.com/office/drawing/2014/main" id="{48927618-FFC8-6D42-F68C-2C6AE228A569}"/>
                </a:ext>
              </a:extLst>
            </p:cNvPr>
            <p:cNvSpPr/>
            <p:nvPr/>
          </p:nvSpPr>
          <p:spPr bwMode="gray">
            <a:xfrm>
              <a:off x="13085502" y="14269630"/>
              <a:ext cx="832029" cy="826856"/>
            </a:xfrm>
            <a:prstGeom prst="can">
              <a:avLst/>
            </a:prstGeom>
            <a:solidFill>
              <a:srgbClr val="4DB1FF"/>
            </a:solidFill>
            <a:ln w="6858" algn="ctr">
              <a:solidFill>
                <a:srgbClr val="D1EFFF">
                  <a:alpha val="9781"/>
                </a:srgbClr>
              </a:solidFill>
              <a:miter lim="800000"/>
              <a:headEnd/>
              <a:tailEnd/>
            </a:ln>
          </p:spPr>
          <p:txBody>
            <a:bodyPr lIns="24288" tIns="19430" rIns="24288" bIns="19430" rtlCol="0" anchor="ctr"/>
            <a:lstStyle/>
            <a:p>
              <a:pPr algn="ctr" defTabSz="1088449" fontAlgn="base">
                <a:spcBef>
                  <a:spcPct val="50000"/>
                </a:spcBef>
                <a:spcAft>
                  <a:spcPct val="0"/>
                </a:spcAft>
                <a:buClr>
                  <a:srgbClr val="F0AB00"/>
                </a:buClr>
                <a:buSzPct val="80000"/>
              </a:pPr>
              <a:endParaRPr lang="en-GB" sz="2098" kern="0">
                <a:solidFill>
                  <a:srgbClr val="000000"/>
                </a:solidFill>
                <a:latin typeface="72 Brand"/>
              </a:endParaRPr>
            </a:p>
          </p:txBody>
        </p:sp>
        <p:sp>
          <p:nvSpPr>
            <p:cNvPr id="1822" name="Can 1883">
              <a:extLst>
                <a:ext uri="{FF2B5EF4-FFF2-40B4-BE49-F238E27FC236}">
                  <a16:creationId xmlns:a16="http://schemas.microsoft.com/office/drawing/2014/main" id="{87F010A9-C23E-B63B-2EFC-207589944A37}"/>
                </a:ext>
              </a:extLst>
            </p:cNvPr>
            <p:cNvSpPr/>
            <p:nvPr/>
          </p:nvSpPr>
          <p:spPr bwMode="gray">
            <a:xfrm>
              <a:off x="13628583" y="13932642"/>
              <a:ext cx="832029" cy="1163844"/>
            </a:xfrm>
            <a:prstGeom prst="can">
              <a:avLst/>
            </a:prstGeom>
            <a:solidFill>
              <a:srgbClr val="4DB1FF"/>
            </a:solidFill>
            <a:ln w="6858" algn="ctr">
              <a:solidFill>
                <a:srgbClr val="D1EFFF">
                  <a:alpha val="9781"/>
                </a:srgbClr>
              </a:solidFill>
              <a:miter lim="800000"/>
              <a:headEnd/>
              <a:tailEnd/>
            </a:ln>
          </p:spPr>
          <p:txBody>
            <a:bodyPr lIns="24288" tIns="19430" rIns="24288" bIns="19430" rtlCol="0" anchor="ctr"/>
            <a:lstStyle/>
            <a:p>
              <a:pPr algn="ctr" defTabSz="1088449" fontAlgn="base">
                <a:spcBef>
                  <a:spcPct val="50000"/>
                </a:spcBef>
                <a:spcAft>
                  <a:spcPct val="0"/>
                </a:spcAft>
                <a:buClr>
                  <a:srgbClr val="F0AB00"/>
                </a:buClr>
                <a:buSzPct val="80000"/>
              </a:pPr>
              <a:endParaRPr lang="en-GB" sz="2098" kern="0">
                <a:solidFill>
                  <a:srgbClr val="000000"/>
                </a:solidFill>
                <a:latin typeface="72 Brand"/>
              </a:endParaRPr>
            </a:p>
          </p:txBody>
        </p:sp>
      </p:grpSp>
      <p:grpSp>
        <p:nvGrpSpPr>
          <p:cNvPr id="1795" name="Group 1794">
            <a:extLst>
              <a:ext uri="{FF2B5EF4-FFF2-40B4-BE49-F238E27FC236}">
                <a16:creationId xmlns:a16="http://schemas.microsoft.com/office/drawing/2014/main" id="{AE0A8902-534B-35D1-2C09-C7D7EBBE825D}"/>
              </a:ext>
            </a:extLst>
          </p:cNvPr>
          <p:cNvGrpSpPr/>
          <p:nvPr/>
        </p:nvGrpSpPr>
        <p:grpSpPr>
          <a:xfrm>
            <a:off x="5167595" y="4100229"/>
            <a:ext cx="266929" cy="225920"/>
            <a:chOff x="13085502" y="13932642"/>
            <a:chExt cx="1375110" cy="1163844"/>
          </a:xfrm>
        </p:grpSpPr>
        <p:sp>
          <p:nvSpPr>
            <p:cNvPr id="1819" name="Can 1882">
              <a:extLst>
                <a:ext uri="{FF2B5EF4-FFF2-40B4-BE49-F238E27FC236}">
                  <a16:creationId xmlns:a16="http://schemas.microsoft.com/office/drawing/2014/main" id="{771648E3-EFA1-0411-0BA1-1484873F87DE}"/>
                </a:ext>
              </a:extLst>
            </p:cNvPr>
            <p:cNvSpPr/>
            <p:nvPr/>
          </p:nvSpPr>
          <p:spPr bwMode="gray">
            <a:xfrm>
              <a:off x="13085502" y="14269630"/>
              <a:ext cx="832029" cy="826856"/>
            </a:xfrm>
            <a:prstGeom prst="can">
              <a:avLst/>
            </a:prstGeom>
            <a:solidFill>
              <a:srgbClr val="4DB1FF"/>
            </a:solidFill>
            <a:ln w="6858" algn="ctr">
              <a:solidFill>
                <a:srgbClr val="D1EFFF">
                  <a:alpha val="9781"/>
                </a:srgbClr>
              </a:solidFill>
              <a:miter lim="800000"/>
              <a:headEnd/>
              <a:tailEnd/>
            </a:ln>
          </p:spPr>
          <p:txBody>
            <a:bodyPr lIns="24288" tIns="19430" rIns="24288" bIns="19430" rtlCol="0" anchor="ctr"/>
            <a:lstStyle/>
            <a:p>
              <a:pPr algn="ctr" defTabSz="1088449" fontAlgn="base">
                <a:spcBef>
                  <a:spcPct val="50000"/>
                </a:spcBef>
                <a:spcAft>
                  <a:spcPct val="0"/>
                </a:spcAft>
                <a:buClr>
                  <a:srgbClr val="F0AB00"/>
                </a:buClr>
                <a:buSzPct val="80000"/>
              </a:pPr>
              <a:endParaRPr lang="en-GB" sz="2098" kern="0">
                <a:solidFill>
                  <a:srgbClr val="000000"/>
                </a:solidFill>
                <a:latin typeface="72 Brand"/>
              </a:endParaRPr>
            </a:p>
          </p:txBody>
        </p:sp>
        <p:sp>
          <p:nvSpPr>
            <p:cNvPr id="1820" name="Can 1883">
              <a:extLst>
                <a:ext uri="{FF2B5EF4-FFF2-40B4-BE49-F238E27FC236}">
                  <a16:creationId xmlns:a16="http://schemas.microsoft.com/office/drawing/2014/main" id="{583B7675-1F25-D038-0208-B7EEA30442B3}"/>
                </a:ext>
              </a:extLst>
            </p:cNvPr>
            <p:cNvSpPr/>
            <p:nvPr/>
          </p:nvSpPr>
          <p:spPr bwMode="gray">
            <a:xfrm>
              <a:off x="13628583" y="13932642"/>
              <a:ext cx="832029" cy="1163844"/>
            </a:xfrm>
            <a:prstGeom prst="can">
              <a:avLst/>
            </a:prstGeom>
            <a:solidFill>
              <a:srgbClr val="4DB1FF"/>
            </a:solidFill>
            <a:ln w="6858" algn="ctr">
              <a:solidFill>
                <a:srgbClr val="D1EFFF">
                  <a:alpha val="9781"/>
                </a:srgbClr>
              </a:solidFill>
              <a:miter lim="800000"/>
              <a:headEnd/>
              <a:tailEnd/>
            </a:ln>
          </p:spPr>
          <p:txBody>
            <a:bodyPr lIns="24288" tIns="19430" rIns="24288" bIns="19430" rtlCol="0" anchor="ctr"/>
            <a:lstStyle/>
            <a:p>
              <a:pPr algn="ctr" defTabSz="1088449" fontAlgn="base">
                <a:spcBef>
                  <a:spcPct val="50000"/>
                </a:spcBef>
                <a:spcAft>
                  <a:spcPct val="0"/>
                </a:spcAft>
                <a:buClr>
                  <a:srgbClr val="F0AB00"/>
                </a:buClr>
                <a:buSzPct val="80000"/>
              </a:pPr>
              <a:endParaRPr lang="en-GB" sz="2098" kern="0">
                <a:solidFill>
                  <a:srgbClr val="000000"/>
                </a:solidFill>
                <a:latin typeface="72 Brand"/>
              </a:endParaRPr>
            </a:p>
          </p:txBody>
        </p:sp>
      </p:grpSp>
      <p:grpSp>
        <p:nvGrpSpPr>
          <p:cNvPr id="1796" name="Group 1795">
            <a:extLst>
              <a:ext uri="{FF2B5EF4-FFF2-40B4-BE49-F238E27FC236}">
                <a16:creationId xmlns:a16="http://schemas.microsoft.com/office/drawing/2014/main" id="{22ED952D-160F-CF5D-D16B-002037A956C4}"/>
              </a:ext>
            </a:extLst>
          </p:cNvPr>
          <p:cNvGrpSpPr/>
          <p:nvPr/>
        </p:nvGrpSpPr>
        <p:grpSpPr>
          <a:xfrm>
            <a:off x="6134926" y="4100229"/>
            <a:ext cx="266929" cy="225920"/>
            <a:chOff x="13085502" y="13932642"/>
            <a:chExt cx="1375110" cy="1163844"/>
          </a:xfrm>
        </p:grpSpPr>
        <p:sp>
          <p:nvSpPr>
            <p:cNvPr id="1817" name="Can 1882">
              <a:extLst>
                <a:ext uri="{FF2B5EF4-FFF2-40B4-BE49-F238E27FC236}">
                  <a16:creationId xmlns:a16="http://schemas.microsoft.com/office/drawing/2014/main" id="{E72AECC9-6BF9-FF98-33AF-7A75C09DA096}"/>
                </a:ext>
              </a:extLst>
            </p:cNvPr>
            <p:cNvSpPr/>
            <p:nvPr/>
          </p:nvSpPr>
          <p:spPr bwMode="gray">
            <a:xfrm>
              <a:off x="13085502" y="14269630"/>
              <a:ext cx="832029" cy="826856"/>
            </a:xfrm>
            <a:prstGeom prst="can">
              <a:avLst/>
            </a:prstGeom>
            <a:solidFill>
              <a:srgbClr val="4DB1FF"/>
            </a:solidFill>
            <a:ln w="6858" algn="ctr">
              <a:solidFill>
                <a:srgbClr val="D1EFFF">
                  <a:alpha val="9781"/>
                </a:srgbClr>
              </a:solidFill>
              <a:miter lim="800000"/>
              <a:headEnd/>
              <a:tailEnd/>
            </a:ln>
          </p:spPr>
          <p:txBody>
            <a:bodyPr lIns="24288" tIns="19430" rIns="24288" bIns="19430" rtlCol="0" anchor="ctr"/>
            <a:lstStyle/>
            <a:p>
              <a:pPr algn="ctr" defTabSz="1088449" fontAlgn="base">
                <a:spcBef>
                  <a:spcPct val="50000"/>
                </a:spcBef>
                <a:spcAft>
                  <a:spcPct val="0"/>
                </a:spcAft>
                <a:buClr>
                  <a:srgbClr val="F0AB00"/>
                </a:buClr>
                <a:buSzPct val="80000"/>
              </a:pPr>
              <a:endParaRPr lang="en-GB" sz="2098" kern="0">
                <a:solidFill>
                  <a:srgbClr val="000000"/>
                </a:solidFill>
                <a:latin typeface="72 Brand"/>
              </a:endParaRPr>
            </a:p>
          </p:txBody>
        </p:sp>
        <p:sp>
          <p:nvSpPr>
            <p:cNvPr id="1818" name="Can 1883">
              <a:extLst>
                <a:ext uri="{FF2B5EF4-FFF2-40B4-BE49-F238E27FC236}">
                  <a16:creationId xmlns:a16="http://schemas.microsoft.com/office/drawing/2014/main" id="{8EA9F530-42E7-F500-7654-1A3A1A4CA456}"/>
                </a:ext>
              </a:extLst>
            </p:cNvPr>
            <p:cNvSpPr/>
            <p:nvPr/>
          </p:nvSpPr>
          <p:spPr bwMode="gray">
            <a:xfrm>
              <a:off x="13628583" y="13932642"/>
              <a:ext cx="832029" cy="1163844"/>
            </a:xfrm>
            <a:prstGeom prst="can">
              <a:avLst/>
            </a:prstGeom>
            <a:solidFill>
              <a:srgbClr val="4DB1FF"/>
            </a:solidFill>
            <a:ln w="6858" algn="ctr">
              <a:solidFill>
                <a:srgbClr val="D1EFFF">
                  <a:alpha val="9781"/>
                </a:srgbClr>
              </a:solidFill>
              <a:miter lim="800000"/>
              <a:headEnd/>
              <a:tailEnd/>
            </a:ln>
          </p:spPr>
          <p:txBody>
            <a:bodyPr lIns="24288" tIns="19430" rIns="24288" bIns="19430" rtlCol="0" anchor="ctr"/>
            <a:lstStyle/>
            <a:p>
              <a:pPr algn="ctr" defTabSz="1088449" fontAlgn="base">
                <a:spcBef>
                  <a:spcPct val="50000"/>
                </a:spcBef>
                <a:spcAft>
                  <a:spcPct val="0"/>
                </a:spcAft>
                <a:buClr>
                  <a:srgbClr val="F0AB00"/>
                </a:buClr>
                <a:buSzPct val="80000"/>
              </a:pPr>
              <a:endParaRPr lang="en-GB" sz="2098" kern="0">
                <a:solidFill>
                  <a:srgbClr val="000000"/>
                </a:solidFill>
                <a:latin typeface="72 Brand"/>
              </a:endParaRPr>
            </a:p>
          </p:txBody>
        </p:sp>
      </p:grpSp>
      <p:grpSp>
        <p:nvGrpSpPr>
          <p:cNvPr id="1798" name="Group 1797">
            <a:extLst>
              <a:ext uri="{FF2B5EF4-FFF2-40B4-BE49-F238E27FC236}">
                <a16:creationId xmlns:a16="http://schemas.microsoft.com/office/drawing/2014/main" id="{3E4114A9-6201-3416-949B-4D1F01524AE8}"/>
              </a:ext>
            </a:extLst>
          </p:cNvPr>
          <p:cNvGrpSpPr/>
          <p:nvPr/>
        </p:nvGrpSpPr>
        <p:grpSpPr>
          <a:xfrm>
            <a:off x="7102258" y="4100229"/>
            <a:ext cx="266929" cy="225920"/>
            <a:chOff x="13085502" y="13932642"/>
            <a:chExt cx="1375110" cy="1163844"/>
          </a:xfrm>
        </p:grpSpPr>
        <p:sp>
          <p:nvSpPr>
            <p:cNvPr id="1815" name="Can 1882">
              <a:extLst>
                <a:ext uri="{FF2B5EF4-FFF2-40B4-BE49-F238E27FC236}">
                  <a16:creationId xmlns:a16="http://schemas.microsoft.com/office/drawing/2014/main" id="{3E78B77D-3D78-F3A7-D5EE-E2C41CEDA59D}"/>
                </a:ext>
              </a:extLst>
            </p:cNvPr>
            <p:cNvSpPr/>
            <p:nvPr/>
          </p:nvSpPr>
          <p:spPr bwMode="gray">
            <a:xfrm>
              <a:off x="13085502" y="14269630"/>
              <a:ext cx="832029" cy="826856"/>
            </a:xfrm>
            <a:prstGeom prst="can">
              <a:avLst/>
            </a:prstGeom>
            <a:solidFill>
              <a:srgbClr val="4DB1FF"/>
            </a:solidFill>
            <a:ln w="6858" algn="ctr">
              <a:solidFill>
                <a:srgbClr val="D1EFFF">
                  <a:alpha val="9781"/>
                </a:srgbClr>
              </a:solidFill>
              <a:miter lim="800000"/>
              <a:headEnd/>
              <a:tailEnd/>
            </a:ln>
          </p:spPr>
          <p:txBody>
            <a:bodyPr lIns="24288" tIns="19430" rIns="24288" bIns="19430" rtlCol="0" anchor="ctr"/>
            <a:lstStyle/>
            <a:p>
              <a:pPr algn="ctr" defTabSz="1088449" fontAlgn="base">
                <a:spcBef>
                  <a:spcPct val="50000"/>
                </a:spcBef>
                <a:spcAft>
                  <a:spcPct val="0"/>
                </a:spcAft>
                <a:buClr>
                  <a:srgbClr val="F0AB00"/>
                </a:buClr>
                <a:buSzPct val="80000"/>
              </a:pPr>
              <a:endParaRPr lang="en-GB" sz="2098" kern="0">
                <a:solidFill>
                  <a:srgbClr val="000000"/>
                </a:solidFill>
                <a:latin typeface="72 Brand"/>
              </a:endParaRPr>
            </a:p>
          </p:txBody>
        </p:sp>
        <p:sp>
          <p:nvSpPr>
            <p:cNvPr id="1816" name="Can 1883">
              <a:extLst>
                <a:ext uri="{FF2B5EF4-FFF2-40B4-BE49-F238E27FC236}">
                  <a16:creationId xmlns:a16="http://schemas.microsoft.com/office/drawing/2014/main" id="{EB8105CB-08E1-C7DB-BB9C-5E5C0BEA08BD}"/>
                </a:ext>
              </a:extLst>
            </p:cNvPr>
            <p:cNvSpPr/>
            <p:nvPr/>
          </p:nvSpPr>
          <p:spPr bwMode="gray">
            <a:xfrm>
              <a:off x="13628583" y="13932642"/>
              <a:ext cx="832029" cy="1163844"/>
            </a:xfrm>
            <a:prstGeom prst="can">
              <a:avLst/>
            </a:prstGeom>
            <a:solidFill>
              <a:srgbClr val="4DB1FF"/>
            </a:solidFill>
            <a:ln w="6858" algn="ctr">
              <a:solidFill>
                <a:srgbClr val="D1EFFF">
                  <a:alpha val="9781"/>
                </a:srgbClr>
              </a:solidFill>
              <a:miter lim="800000"/>
              <a:headEnd/>
              <a:tailEnd/>
            </a:ln>
          </p:spPr>
          <p:txBody>
            <a:bodyPr lIns="24288" tIns="19430" rIns="24288" bIns="19430" rtlCol="0" anchor="ctr"/>
            <a:lstStyle/>
            <a:p>
              <a:pPr algn="ctr" defTabSz="1088449" fontAlgn="base">
                <a:spcBef>
                  <a:spcPct val="50000"/>
                </a:spcBef>
                <a:spcAft>
                  <a:spcPct val="0"/>
                </a:spcAft>
                <a:buClr>
                  <a:srgbClr val="F0AB00"/>
                </a:buClr>
                <a:buSzPct val="80000"/>
              </a:pPr>
              <a:endParaRPr lang="en-GB" sz="2098" kern="0">
                <a:solidFill>
                  <a:srgbClr val="000000"/>
                </a:solidFill>
                <a:latin typeface="72 Brand"/>
              </a:endParaRPr>
            </a:p>
          </p:txBody>
        </p:sp>
      </p:grpSp>
      <p:sp>
        <p:nvSpPr>
          <p:cNvPr id="1799" name="Rectangle: Rounded Corners 1798">
            <a:extLst>
              <a:ext uri="{FF2B5EF4-FFF2-40B4-BE49-F238E27FC236}">
                <a16:creationId xmlns:a16="http://schemas.microsoft.com/office/drawing/2014/main" id="{E1BAA481-260C-91F5-FF7A-EF10B292CD4C}"/>
              </a:ext>
            </a:extLst>
          </p:cNvPr>
          <p:cNvSpPr/>
          <p:nvPr/>
        </p:nvSpPr>
        <p:spPr bwMode="gray">
          <a:xfrm>
            <a:off x="2667858" y="3668725"/>
            <a:ext cx="5183271" cy="794787"/>
          </a:xfrm>
          <a:prstGeom prst="roundRect">
            <a:avLst>
              <a:gd name="adj" fmla="val 7573"/>
            </a:avLst>
          </a:prstGeom>
          <a:noFill/>
          <a:ln w="6350" algn="ctr">
            <a:solidFill>
              <a:srgbClr val="89D1FF"/>
            </a:solidFill>
            <a:miter lim="800000"/>
            <a:headEnd/>
            <a:tailEnd/>
          </a:ln>
        </p:spPr>
        <p:txBody>
          <a:bodyPr lIns="182784" tIns="146228" rIns="182784" bIns="146228" rtlCol="0" anchor="t"/>
          <a:lstStyle/>
          <a:p>
            <a:pPr defTabSz="913852" fontAlgn="base">
              <a:spcBef>
                <a:spcPct val="50000"/>
              </a:spcBef>
              <a:spcAft>
                <a:spcPct val="0"/>
              </a:spcAft>
              <a:buClr>
                <a:srgbClr val="F0AB00"/>
              </a:buClr>
              <a:buSzPct val="80000"/>
              <a:defRPr/>
            </a:pPr>
            <a:endParaRPr lang="en-US" sz="1200" kern="0">
              <a:solidFill>
                <a:srgbClr val="000000"/>
              </a:solidFill>
              <a:latin typeface="72 Brand"/>
              <a:ea typeface="72 Brand" pitchFamily="34" charset="-128"/>
              <a:cs typeface="72 Brand" pitchFamily="34" charset="-128"/>
            </a:endParaRPr>
          </a:p>
        </p:txBody>
      </p:sp>
      <p:sp>
        <p:nvSpPr>
          <p:cNvPr id="1800" name="TextBox 1799">
            <a:extLst>
              <a:ext uri="{FF2B5EF4-FFF2-40B4-BE49-F238E27FC236}">
                <a16:creationId xmlns:a16="http://schemas.microsoft.com/office/drawing/2014/main" id="{8A8B93C6-908E-D286-122F-97654C6F9982}"/>
              </a:ext>
            </a:extLst>
          </p:cNvPr>
          <p:cNvSpPr txBox="1"/>
          <p:nvPr/>
        </p:nvSpPr>
        <p:spPr>
          <a:xfrm>
            <a:off x="3815571" y="4374340"/>
            <a:ext cx="3091865" cy="161499"/>
          </a:xfrm>
          <a:prstGeom prst="rect">
            <a:avLst/>
          </a:prstGeom>
          <a:solidFill>
            <a:srgbClr val="0070F2"/>
          </a:solidFill>
        </p:spPr>
        <p:txBody>
          <a:bodyPr wrap="none" lIns="22848" tIns="11424" rIns="22848" bIns="11424">
            <a:spAutoFit/>
          </a:bodyPr>
          <a:lstStyle/>
          <a:p>
            <a:pPr algn="ctr" defTabSz="1074053" fontAlgn="base">
              <a:lnSpc>
                <a:spcPct val="90000"/>
              </a:lnSpc>
              <a:spcAft>
                <a:spcPct val="0"/>
              </a:spcAft>
              <a:buClr>
                <a:srgbClr val="000000"/>
              </a:buClr>
              <a:buSzPct val="100000"/>
              <a:defRPr/>
            </a:pPr>
            <a:r>
              <a:rPr lang="en-US" sz="1000" i="1">
                <a:solidFill>
                  <a:srgbClr val="89D1FF"/>
                </a:solidFill>
                <a:latin typeface="72 Brand"/>
                <a:cs typeface="72"/>
              </a:rPr>
              <a:t>Semantically aligned SAP and non-SAP Data Products</a:t>
            </a:r>
          </a:p>
        </p:txBody>
      </p:sp>
      <p:sp>
        <p:nvSpPr>
          <p:cNvPr id="1801" name="TextBox 1800">
            <a:extLst>
              <a:ext uri="{FF2B5EF4-FFF2-40B4-BE49-F238E27FC236}">
                <a16:creationId xmlns:a16="http://schemas.microsoft.com/office/drawing/2014/main" id="{DA16EC1F-661E-1803-B4A7-C8FB8CA6AAF5}"/>
              </a:ext>
            </a:extLst>
          </p:cNvPr>
          <p:cNvSpPr txBox="1"/>
          <p:nvPr/>
        </p:nvSpPr>
        <p:spPr>
          <a:xfrm>
            <a:off x="4748068" y="3288512"/>
            <a:ext cx="1292950" cy="147657"/>
          </a:xfrm>
          <a:prstGeom prst="rect">
            <a:avLst/>
          </a:prstGeom>
          <a:solidFill>
            <a:srgbClr val="DEF3FF"/>
          </a:solidFill>
        </p:spPr>
        <p:txBody>
          <a:bodyPr wrap="square" lIns="22848" tIns="11424" rIns="22848" bIns="11424">
            <a:spAutoFit/>
          </a:bodyPr>
          <a:lstStyle/>
          <a:p>
            <a:pPr algn="ctr" defTabSz="1074053" fontAlgn="base">
              <a:lnSpc>
                <a:spcPct val="90000"/>
              </a:lnSpc>
              <a:spcAft>
                <a:spcPct val="0"/>
              </a:spcAft>
              <a:buClr>
                <a:srgbClr val="000000"/>
              </a:buClr>
              <a:buSzPct val="100000"/>
              <a:defRPr/>
            </a:pPr>
            <a:r>
              <a:rPr lang="en-US" sz="900">
                <a:gradFill>
                  <a:gsLst>
                    <a:gs pos="0">
                      <a:srgbClr val="7858FF"/>
                    </a:gs>
                    <a:gs pos="100000">
                      <a:srgbClr val="7858FF"/>
                    </a:gs>
                  </a:gsLst>
                  <a:lin ang="0" scaled="1"/>
                </a:gradFill>
                <a:latin typeface="72 Brand Medium" panose="020B0504030603020204" pitchFamily="34" charset="0"/>
                <a:cs typeface="72"/>
              </a:rPr>
              <a:t>SAP Knowledge Graph</a:t>
            </a:r>
          </a:p>
        </p:txBody>
      </p:sp>
      <p:grpSp>
        <p:nvGrpSpPr>
          <p:cNvPr id="1802" name="Group 1801">
            <a:extLst>
              <a:ext uri="{FF2B5EF4-FFF2-40B4-BE49-F238E27FC236}">
                <a16:creationId xmlns:a16="http://schemas.microsoft.com/office/drawing/2014/main" id="{C797B7B5-4367-77A0-24B9-1D7EAE2CA4EA}"/>
              </a:ext>
            </a:extLst>
          </p:cNvPr>
          <p:cNvGrpSpPr/>
          <p:nvPr/>
        </p:nvGrpSpPr>
        <p:grpSpPr>
          <a:xfrm>
            <a:off x="8586842" y="3648860"/>
            <a:ext cx="583283" cy="446870"/>
            <a:chOff x="746465" y="1093411"/>
            <a:chExt cx="2948584" cy="2258987"/>
          </a:xfrm>
        </p:grpSpPr>
        <p:sp>
          <p:nvSpPr>
            <p:cNvPr id="1803" name="Rectangle: Rounded Corners 355">
              <a:extLst>
                <a:ext uri="{FF2B5EF4-FFF2-40B4-BE49-F238E27FC236}">
                  <a16:creationId xmlns:a16="http://schemas.microsoft.com/office/drawing/2014/main" id="{B0B74E2C-DB03-7ADC-0455-3CAC56EB6EFD}"/>
                </a:ext>
              </a:extLst>
            </p:cNvPr>
            <p:cNvSpPr/>
            <p:nvPr/>
          </p:nvSpPr>
          <p:spPr bwMode="auto">
            <a:xfrm>
              <a:off x="1305896" y="1093411"/>
              <a:ext cx="2389153" cy="2258987"/>
            </a:xfrm>
            <a:prstGeom prst="roundRect">
              <a:avLst>
                <a:gd name="adj" fmla="val 3830"/>
              </a:avLst>
            </a:prstGeom>
            <a:solidFill>
              <a:srgbClr val="E7F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6" tIns="146190" rIns="182736" bIns="146190" numCol="1" spcCol="0" rtlCol="0" fromWordArt="0" anchor="t" anchorCtr="0" forceAA="0" compatLnSpc="1">
              <a:prstTxWarp prst="textNoShape">
                <a:avLst/>
              </a:prstTxWarp>
              <a:noAutofit/>
            </a:bodyPr>
            <a:lstStyle/>
            <a:p>
              <a:pPr defTabSz="931632" eaLnBrk="0" fontAlgn="base" hangingPunct="0">
                <a:spcBef>
                  <a:spcPct val="0"/>
                </a:spcBef>
                <a:spcAft>
                  <a:spcPct val="0"/>
                </a:spcAft>
                <a:defRPr/>
              </a:pPr>
              <a:endParaRPr lang="en-US" sz="1997">
                <a:gradFill>
                  <a:gsLst>
                    <a:gs pos="0">
                      <a:srgbClr val="FFFFFF"/>
                    </a:gs>
                    <a:gs pos="100000">
                      <a:srgbClr val="FFFFFF"/>
                    </a:gs>
                  </a:gsLst>
                  <a:lin ang="5400000" scaled="1"/>
                </a:gradFill>
                <a:latin typeface="72 Brand" panose="020B0504030603020204" pitchFamily="34" charset="0"/>
              </a:endParaRPr>
            </a:p>
          </p:txBody>
        </p:sp>
        <p:sp>
          <p:nvSpPr>
            <p:cNvPr id="1804" name="Rectangle: Rounded Corners 356">
              <a:extLst>
                <a:ext uri="{FF2B5EF4-FFF2-40B4-BE49-F238E27FC236}">
                  <a16:creationId xmlns:a16="http://schemas.microsoft.com/office/drawing/2014/main" id="{C453455C-F3A3-701B-C7C7-EA7EB413FC40}"/>
                </a:ext>
              </a:extLst>
            </p:cNvPr>
            <p:cNvSpPr/>
            <p:nvPr/>
          </p:nvSpPr>
          <p:spPr bwMode="auto">
            <a:xfrm>
              <a:off x="1505003" y="2516265"/>
              <a:ext cx="946151" cy="554806"/>
            </a:xfrm>
            <a:prstGeom prst="roundRect">
              <a:avLst>
                <a:gd name="adj" fmla="val 8384"/>
              </a:avLst>
            </a:prstGeom>
            <a:solidFill>
              <a:srgbClr val="E7F4FF"/>
            </a:solidFill>
            <a:ln>
              <a:solidFill>
                <a:srgbClr val="89D1FF"/>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6" tIns="146190" rIns="182736" bIns="146190" numCol="1" spcCol="0" rtlCol="0" fromWordArt="0" anchor="t" anchorCtr="0" forceAA="0" compatLnSpc="1">
              <a:prstTxWarp prst="textNoShape">
                <a:avLst/>
              </a:prstTxWarp>
              <a:noAutofit/>
            </a:bodyPr>
            <a:lstStyle/>
            <a:p>
              <a:pPr defTabSz="931632">
                <a:defRPr/>
              </a:pPr>
              <a:endParaRPr lang="en-US" sz="1997">
                <a:gradFill>
                  <a:gsLst>
                    <a:gs pos="0">
                      <a:srgbClr val="FFFFFF"/>
                    </a:gs>
                    <a:gs pos="100000">
                      <a:srgbClr val="FFFFFF"/>
                    </a:gs>
                  </a:gsLst>
                  <a:lin ang="5400000" scaled="1"/>
                </a:gradFill>
                <a:latin typeface="72 Brand" panose="020B0504030603020204" pitchFamily="34" charset="0"/>
              </a:endParaRPr>
            </a:p>
          </p:txBody>
        </p:sp>
        <p:sp>
          <p:nvSpPr>
            <p:cNvPr id="1805" name="Rectangle: Rounded Corners 357">
              <a:extLst>
                <a:ext uri="{FF2B5EF4-FFF2-40B4-BE49-F238E27FC236}">
                  <a16:creationId xmlns:a16="http://schemas.microsoft.com/office/drawing/2014/main" id="{0BCAA75A-982D-2807-FADD-22475B088CB2}"/>
                </a:ext>
              </a:extLst>
            </p:cNvPr>
            <p:cNvSpPr/>
            <p:nvPr/>
          </p:nvSpPr>
          <p:spPr bwMode="auto">
            <a:xfrm>
              <a:off x="2592002" y="2514202"/>
              <a:ext cx="946151" cy="554806"/>
            </a:xfrm>
            <a:prstGeom prst="roundRect">
              <a:avLst>
                <a:gd name="adj" fmla="val 8384"/>
              </a:avLst>
            </a:prstGeom>
            <a:solidFill>
              <a:srgbClr val="E7F4FF"/>
            </a:solidFill>
            <a:ln>
              <a:solidFill>
                <a:srgbClr val="89D1FF"/>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6" tIns="146190" rIns="182736" bIns="146190" numCol="1" spcCol="0" rtlCol="0" fromWordArt="0" anchor="t" anchorCtr="0" forceAA="0" compatLnSpc="1">
              <a:prstTxWarp prst="textNoShape">
                <a:avLst/>
              </a:prstTxWarp>
              <a:noAutofit/>
            </a:bodyPr>
            <a:lstStyle/>
            <a:p>
              <a:pPr defTabSz="931632" eaLnBrk="0" fontAlgn="base" hangingPunct="0">
                <a:spcBef>
                  <a:spcPct val="0"/>
                </a:spcBef>
                <a:spcAft>
                  <a:spcPct val="0"/>
                </a:spcAft>
                <a:defRPr/>
              </a:pPr>
              <a:endParaRPr lang="en-US" sz="1997">
                <a:gradFill>
                  <a:gsLst>
                    <a:gs pos="0">
                      <a:srgbClr val="FFFFFF"/>
                    </a:gs>
                    <a:gs pos="100000">
                      <a:srgbClr val="FFFFFF"/>
                    </a:gs>
                  </a:gsLst>
                  <a:lin ang="5400000" scaled="1"/>
                </a:gradFill>
                <a:latin typeface="72 Brand" panose="020B0504030603020204" pitchFamily="34" charset="0"/>
              </a:endParaRPr>
            </a:p>
          </p:txBody>
        </p:sp>
        <p:sp>
          <p:nvSpPr>
            <p:cNvPr id="1806" name="Rectangle: Top Corners Rounded 358">
              <a:extLst>
                <a:ext uri="{FF2B5EF4-FFF2-40B4-BE49-F238E27FC236}">
                  <a16:creationId xmlns:a16="http://schemas.microsoft.com/office/drawing/2014/main" id="{E709A412-0511-3B66-3846-72D3AA81C3AB}"/>
                </a:ext>
              </a:extLst>
            </p:cNvPr>
            <p:cNvSpPr/>
            <p:nvPr/>
          </p:nvSpPr>
          <p:spPr bwMode="auto">
            <a:xfrm>
              <a:off x="1306689" y="1095692"/>
              <a:ext cx="2387565" cy="326812"/>
            </a:xfrm>
            <a:prstGeom prst="round2SameRect">
              <a:avLst>
                <a:gd name="adj1" fmla="val 26028"/>
                <a:gd name="adj2" fmla="val 0"/>
              </a:avLst>
            </a:prstGeom>
            <a:solidFill>
              <a:srgbClr val="1B90FF"/>
            </a:solidFill>
            <a:ln w="6350">
              <a:solidFill>
                <a:srgbClr val="1B9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6" tIns="146190" rIns="182736" bIns="146190" numCol="1" spcCol="0" rtlCol="0" fromWordArt="0" anchor="t" anchorCtr="0" forceAA="0" compatLnSpc="1">
              <a:prstTxWarp prst="textNoShape">
                <a:avLst/>
              </a:prstTxWarp>
              <a:noAutofit/>
            </a:bodyPr>
            <a:lstStyle/>
            <a:p>
              <a:pPr defTabSz="931632"/>
              <a:endParaRPr lang="en-US" sz="1997">
                <a:gradFill>
                  <a:gsLst>
                    <a:gs pos="0">
                      <a:srgbClr val="FFFFFF"/>
                    </a:gs>
                    <a:gs pos="100000">
                      <a:srgbClr val="FFFFFF"/>
                    </a:gs>
                  </a:gsLst>
                  <a:lin ang="5400000" scaled="1"/>
                </a:gradFill>
                <a:latin typeface="72 Brand" panose="020B0504030603020204" pitchFamily="34" charset="0"/>
                <a:cs typeface="72" panose="020B0503030000000003" pitchFamily="34" charset="0"/>
              </a:endParaRPr>
            </a:p>
          </p:txBody>
        </p:sp>
        <p:cxnSp>
          <p:nvCxnSpPr>
            <p:cNvPr id="1807" name="Straight Connector 1806">
              <a:extLst>
                <a:ext uri="{FF2B5EF4-FFF2-40B4-BE49-F238E27FC236}">
                  <a16:creationId xmlns:a16="http://schemas.microsoft.com/office/drawing/2014/main" id="{C0E7264A-9AB9-E3D8-6793-C1BAD6B2F252}"/>
                </a:ext>
              </a:extLst>
            </p:cNvPr>
            <p:cNvCxnSpPr>
              <a:cxnSpLocks/>
            </p:cNvCxnSpPr>
            <p:nvPr/>
          </p:nvCxnSpPr>
          <p:spPr>
            <a:xfrm>
              <a:off x="2567608" y="1809995"/>
              <a:ext cx="930172" cy="0"/>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08" name="Rectangle: Rounded Corners 360">
              <a:extLst>
                <a:ext uri="{FF2B5EF4-FFF2-40B4-BE49-F238E27FC236}">
                  <a16:creationId xmlns:a16="http://schemas.microsoft.com/office/drawing/2014/main" id="{914D6D3E-E272-955B-EB99-3A7D178F7A4B}"/>
                </a:ext>
              </a:extLst>
            </p:cNvPr>
            <p:cNvSpPr/>
            <p:nvPr/>
          </p:nvSpPr>
          <p:spPr bwMode="auto">
            <a:xfrm>
              <a:off x="2068829" y="1215752"/>
              <a:ext cx="730339" cy="95390"/>
            </a:xfrm>
            <a:prstGeom prst="roundRect">
              <a:avLst>
                <a:gd name="adj" fmla="val 50000"/>
              </a:avLst>
            </a:prstGeom>
            <a:solidFill>
              <a:srgbClr val="D1EFFF"/>
            </a:solidFill>
            <a:ln>
              <a:solidFill>
                <a:srgbClr val="89D1FF">
                  <a:alpha val="14000"/>
                </a:srgbClr>
              </a:solidFill>
            </a:ln>
            <a:effectLst>
              <a:outerShdw blurRad="50800" dist="50800" dir="5400000" algn="ctr" rotWithShape="0">
                <a:srgbClr val="1B90FF">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6" tIns="146190" rIns="182736" bIns="146190" numCol="1" spcCol="0" rtlCol="0" fromWordArt="0" anchor="t" anchorCtr="0" forceAA="0" compatLnSpc="1">
              <a:prstTxWarp prst="textNoShape">
                <a:avLst/>
              </a:prstTxWarp>
              <a:noAutofit/>
            </a:bodyPr>
            <a:lstStyle/>
            <a:p>
              <a:pPr defTabSz="931632">
                <a:defRPr/>
              </a:pPr>
              <a:endParaRPr lang="en-US" sz="1997">
                <a:gradFill>
                  <a:gsLst>
                    <a:gs pos="0">
                      <a:srgbClr val="FFFFFF"/>
                    </a:gs>
                    <a:gs pos="100000">
                      <a:srgbClr val="FFFFFF"/>
                    </a:gs>
                  </a:gsLst>
                  <a:lin ang="5400000" scaled="1"/>
                </a:gradFill>
                <a:latin typeface="72 Brand" panose="020B0504030603020204" pitchFamily="34" charset="0"/>
              </a:endParaRPr>
            </a:p>
          </p:txBody>
        </p:sp>
        <p:sp>
          <p:nvSpPr>
            <p:cNvPr id="1809" name="Rectangle: Rounded Corners 361">
              <a:extLst>
                <a:ext uri="{FF2B5EF4-FFF2-40B4-BE49-F238E27FC236}">
                  <a16:creationId xmlns:a16="http://schemas.microsoft.com/office/drawing/2014/main" id="{604E14AF-FAFA-AC0D-7CA5-9E3ADB40CB3A}"/>
                </a:ext>
              </a:extLst>
            </p:cNvPr>
            <p:cNvSpPr/>
            <p:nvPr/>
          </p:nvSpPr>
          <p:spPr bwMode="auto">
            <a:xfrm>
              <a:off x="2952823" y="1214221"/>
              <a:ext cx="482122" cy="94387"/>
            </a:xfrm>
            <a:prstGeom prst="roundRect">
              <a:avLst>
                <a:gd name="adj" fmla="val 50000"/>
              </a:avLst>
            </a:prstGeom>
            <a:solidFill>
              <a:srgbClr val="E7F4FF"/>
            </a:solidFill>
            <a:ln>
              <a:noFill/>
              <a:headEnd type="none" w="med" len="med"/>
              <a:tailEnd type="none" w="med" len="med"/>
            </a:ln>
            <a:effectLst>
              <a:outerShdw blurRad="50800" dist="50800" dir="5400000" algn="ctr" rotWithShape="0">
                <a:srgbClr val="1B90FF">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6" tIns="146190" rIns="182736" bIns="146190" numCol="1" spcCol="0" rtlCol="0" fromWordArt="0" anchor="t" anchorCtr="0" forceAA="0" compatLnSpc="1">
              <a:prstTxWarp prst="textNoShape">
                <a:avLst/>
              </a:prstTxWarp>
              <a:noAutofit/>
            </a:bodyPr>
            <a:lstStyle/>
            <a:p>
              <a:pPr defTabSz="931632" fontAlgn="base">
                <a:spcBef>
                  <a:spcPct val="0"/>
                </a:spcBef>
                <a:spcAft>
                  <a:spcPct val="0"/>
                </a:spcAft>
                <a:defRPr/>
              </a:pPr>
              <a:endParaRPr lang="en-US" sz="1997">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1810" name="Oval 1809">
              <a:extLst>
                <a:ext uri="{FF2B5EF4-FFF2-40B4-BE49-F238E27FC236}">
                  <a16:creationId xmlns:a16="http://schemas.microsoft.com/office/drawing/2014/main" id="{E6111BBD-881C-69CC-F2E3-464149C69E30}"/>
                </a:ext>
              </a:extLst>
            </p:cNvPr>
            <p:cNvSpPr/>
            <p:nvPr/>
          </p:nvSpPr>
          <p:spPr bwMode="auto">
            <a:xfrm>
              <a:off x="1510045" y="1174546"/>
              <a:ext cx="177801" cy="177800"/>
            </a:xfrm>
            <a:prstGeom prst="ellipse">
              <a:avLst/>
            </a:prstGeom>
            <a:solidFill>
              <a:srgbClr val="E7F4FF"/>
            </a:solidFill>
            <a:ln>
              <a:solidFill>
                <a:srgbClr val="E7F4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6" tIns="146190" rIns="182736" bIns="146190" numCol="1" spcCol="0" rtlCol="0" fromWordArt="0" anchor="t" anchorCtr="0" forceAA="0" compatLnSpc="1">
              <a:prstTxWarp prst="textNoShape">
                <a:avLst/>
              </a:prstTxWarp>
              <a:noAutofit/>
            </a:bodyPr>
            <a:lstStyle/>
            <a:p>
              <a:pPr defTabSz="931632" eaLnBrk="0" fontAlgn="base" hangingPunct="0">
                <a:spcBef>
                  <a:spcPct val="0"/>
                </a:spcBef>
                <a:spcAft>
                  <a:spcPct val="0"/>
                </a:spcAft>
                <a:defRPr/>
              </a:pPr>
              <a:endParaRPr lang="en-US" sz="1997">
                <a:gradFill>
                  <a:gsLst>
                    <a:gs pos="0">
                      <a:srgbClr val="FFFFFF"/>
                    </a:gs>
                    <a:gs pos="100000">
                      <a:srgbClr val="FFFFFF"/>
                    </a:gs>
                  </a:gsLst>
                  <a:lin ang="5400000" scaled="1"/>
                </a:gradFill>
                <a:latin typeface="72 Brand" panose="020B0504030603020204" pitchFamily="34" charset="0"/>
              </a:endParaRPr>
            </a:p>
          </p:txBody>
        </p:sp>
        <p:sp>
          <p:nvSpPr>
            <p:cNvPr id="1811" name="Rectangle: Rounded Corners 365">
              <a:extLst>
                <a:ext uri="{FF2B5EF4-FFF2-40B4-BE49-F238E27FC236}">
                  <a16:creationId xmlns:a16="http://schemas.microsoft.com/office/drawing/2014/main" id="{995ED573-8B02-4D70-6D00-1E776F1D8FD5}"/>
                </a:ext>
              </a:extLst>
            </p:cNvPr>
            <p:cNvSpPr/>
            <p:nvPr/>
          </p:nvSpPr>
          <p:spPr bwMode="auto">
            <a:xfrm>
              <a:off x="746465" y="1771332"/>
              <a:ext cx="1528009" cy="895997"/>
            </a:xfrm>
            <a:prstGeom prst="roundRect">
              <a:avLst>
                <a:gd name="adj" fmla="val 8384"/>
              </a:avLst>
            </a:pr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6" tIns="146190" rIns="182736" bIns="146190" numCol="1" spcCol="0" rtlCol="0" fromWordArt="0" anchor="t" anchorCtr="0" forceAA="0" compatLnSpc="1">
              <a:prstTxWarp prst="textNoShape">
                <a:avLst/>
              </a:prstTxWarp>
              <a:noAutofit/>
            </a:bodyPr>
            <a:lstStyle/>
            <a:p>
              <a:pPr defTabSz="931632">
                <a:defRPr/>
              </a:pPr>
              <a:endParaRPr lang="en-US" sz="1997">
                <a:gradFill>
                  <a:gsLst>
                    <a:gs pos="0">
                      <a:srgbClr val="FFFFFF"/>
                    </a:gs>
                    <a:gs pos="100000">
                      <a:srgbClr val="FFFFFF"/>
                    </a:gs>
                  </a:gsLst>
                  <a:lin ang="5400000" scaled="1"/>
                </a:gradFill>
                <a:latin typeface="72 Brand" panose="020B0504030603020204" pitchFamily="34" charset="0"/>
              </a:endParaRPr>
            </a:p>
          </p:txBody>
        </p:sp>
        <p:sp>
          <p:nvSpPr>
            <p:cNvPr id="1812" name="Rectangle: Rounded Corners 366">
              <a:extLst>
                <a:ext uri="{FF2B5EF4-FFF2-40B4-BE49-F238E27FC236}">
                  <a16:creationId xmlns:a16="http://schemas.microsoft.com/office/drawing/2014/main" id="{E7F3F92D-E940-1B62-2C26-E0403A29AFFA}"/>
                </a:ext>
              </a:extLst>
            </p:cNvPr>
            <p:cNvSpPr/>
            <p:nvPr/>
          </p:nvSpPr>
          <p:spPr bwMode="auto">
            <a:xfrm>
              <a:off x="1330035" y="1916636"/>
              <a:ext cx="325923" cy="325923"/>
            </a:xfrm>
            <a:prstGeom prst="roundRect">
              <a:avLst/>
            </a:prstGeom>
            <a:solidFill>
              <a:srgbClr val="E7F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36" tIns="146190" rIns="182736" bIns="146190" numCol="1" spcCol="0" rtlCol="0" fromWordArt="0" anchor="t" anchorCtr="0" forceAA="0" compatLnSpc="1">
              <a:prstTxWarp prst="textNoShape">
                <a:avLst/>
              </a:prstTxWarp>
              <a:noAutofit/>
            </a:bodyPr>
            <a:lstStyle/>
            <a:p>
              <a:pPr defTabSz="931632">
                <a:defRPr/>
              </a:pPr>
              <a:endParaRPr lang="en-US" sz="1997">
                <a:gradFill>
                  <a:gsLst>
                    <a:gs pos="0">
                      <a:srgbClr val="FFFFFF"/>
                    </a:gs>
                    <a:gs pos="100000">
                      <a:srgbClr val="FFFFFF"/>
                    </a:gs>
                  </a:gsLst>
                  <a:lin ang="5400000" scaled="1"/>
                </a:gradFill>
                <a:latin typeface="72 Brand" panose="020B0504030603020204" pitchFamily="34" charset="0"/>
              </a:endParaRPr>
            </a:p>
          </p:txBody>
        </p:sp>
        <p:cxnSp>
          <p:nvCxnSpPr>
            <p:cNvPr id="1813" name="Straight Connector 1812">
              <a:extLst>
                <a:ext uri="{FF2B5EF4-FFF2-40B4-BE49-F238E27FC236}">
                  <a16:creationId xmlns:a16="http://schemas.microsoft.com/office/drawing/2014/main" id="{7A817B26-4EBB-4A4F-3DF4-E9D2D259238F}"/>
                </a:ext>
              </a:extLst>
            </p:cNvPr>
            <p:cNvCxnSpPr>
              <a:cxnSpLocks/>
            </p:cNvCxnSpPr>
            <p:nvPr/>
          </p:nvCxnSpPr>
          <p:spPr>
            <a:xfrm>
              <a:off x="2866231" y="2006642"/>
              <a:ext cx="639425" cy="0"/>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14" name="Straight Connector 1813">
              <a:extLst>
                <a:ext uri="{FF2B5EF4-FFF2-40B4-BE49-F238E27FC236}">
                  <a16:creationId xmlns:a16="http://schemas.microsoft.com/office/drawing/2014/main" id="{9FE8DEDB-FD77-63DB-F1DC-C3C25B6F8369}"/>
                </a:ext>
              </a:extLst>
            </p:cNvPr>
            <p:cNvCxnSpPr>
              <a:cxnSpLocks/>
            </p:cNvCxnSpPr>
            <p:nvPr/>
          </p:nvCxnSpPr>
          <p:spPr>
            <a:xfrm>
              <a:off x="1185290" y="2441509"/>
              <a:ext cx="639425" cy="0"/>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072" name="TextBox 2071">
            <a:extLst>
              <a:ext uri="{FF2B5EF4-FFF2-40B4-BE49-F238E27FC236}">
                <a16:creationId xmlns:a16="http://schemas.microsoft.com/office/drawing/2014/main" id="{3A9AFAC1-017D-CD90-68C1-BB6F79F95A76}"/>
              </a:ext>
            </a:extLst>
          </p:cNvPr>
          <p:cNvSpPr txBox="1"/>
          <p:nvPr/>
        </p:nvSpPr>
        <p:spPr>
          <a:xfrm>
            <a:off x="3677040" y="6081787"/>
            <a:ext cx="3615433" cy="193849"/>
          </a:xfrm>
          <a:prstGeom prst="rect">
            <a:avLst/>
          </a:prstGeom>
          <a:noFill/>
        </p:spPr>
        <p:txBody>
          <a:bodyPr wrap="none" lIns="0" tIns="0" rIns="0" bIns="0" rtlCol="0" anchor="t">
            <a:spAutoFit/>
          </a:bodyPr>
          <a:lstStyle>
            <a:defPPr>
              <a:defRPr lang="de-DE"/>
            </a:defPPr>
            <a:lvl1pPr marR="0" lvl="0" indent="0" defTabSz="3868600" fontAlgn="base">
              <a:lnSpc>
                <a:spcPct val="90000"/>
              </a:lnSpc>
              <a:spcBef>
                <a:spcPts val="0"/>
              </a:spcBef>
              <a:spcAft>
                <a:spcPct val="0"/>
              </a:spcAft>
              <a:buClr>
                <a:srgbClr val="000000"/>
              </a:buClr>
              <a:buSzPct val="100000"/>
              <a:buFontTx/>
              <a:buNone/>
              <a:tabLst/>
              <a:defRPr kumimoji="0" sz="3911" b="0" i="0" u="none" strike="noStrike" cap="none" spc="0" normalizeH="0" baseline="0">
                <a:ln>
                  <a:noFill/>
                </a:ln>
                <a:gradFill>
                  <a:gsLst>
                    <a:gs pos="0">
                      <a:srgbClr val="FFFFFF"/>
                    </a:gs>
                    <a:gs pos="100000">
                      <a:srgbClr val="FFFFFF"/>
                    </a:gs>
                  </a:gsLst>
                  <a:lin ang="2700000" scaled="1"/>
                </a:gradFill>
                <a:effectLst/>
                <a:uLnTx/>
                <a:uFillTx/>
                <a:latin typeface="72 Brand"/>
                <a:cs typeface="72"/>
              </a:defRPr>
            </a:lvl1pPr>
          </a:lstStyle>
          <a:p>
            <a:pPr defTabSz="1087470">
              <a:spcBef>
                <a:spcPct val="50000"/>
              </a:spcBef>
              <a:defRPr/>
            </a:pPr>
            <a:r>
              <a:rPr lang="en-US" sz="1000">
                <a:gradFill>
                  <a:gsLst>
                    <a:gs pos="0">
                      <a:schemeClr val="tx1"/>
                    </a:gs>
                    <a:gs pos="100000">
                      <a:schemeClr val="tx1"/>
                    </a:gs>
                  </a:gsLst>
                  <a:lin ang="5400000" scaled="1"/>
                </a:gradFill>
              </a:rPr>
              <a:t>powered by </a:t>
            </a:r>
            <a:r>
              <a:rPr lang="en-US" sz="1400" kern="0">
                <a:gradFill>
                  <a:gsLst>
                    <a:gs pos="0">
                      <a:schemeClr val="tx1"/>
                    </a:gs>
                    <a:gs pos="100000">
                      <a:schemeClr val="tx1"/>
                    </a:gs>
                  </a:gsLst>
                  <a:lin ang="5400000" scaled="1"/>
                </a:gradFill>
                <a:latin typeface="72 Brand Medium"/>
              </a:rPr>
              <a:t>SAP</a:t>
            </a:r>
            <a:r>
              <a:rPr lang="en-US" sz="1000">
                <a:gradFill>
                  <a:gsLst>
                    <a:gs pos="0">
                      <a:schemeClr val="tx1"/>
                    </a:gs>
                    <a:gs pos="100000">
                      <a:schemeClr val="tx1"/>
                    </a:gs>
                  </a:gsLst>
                  <a:lin ang="5400000" scaled="1"/>
                </a:gradFill>
                <a:ea typeface="72 Brand"/>
              </a:rPr>
              <a:t>  </a:t>
            </a:r>
            <a:r>
              <a:rPr lang="en-US" sz="1400" kern="0">
                <a:gradFill>
                  <a:gsLst>
                    <a:gs pos="0">
                      <a:schemeClr val="tx1"/>
                    </a:gs>
                    <a:gs pos="100000">
                      <a:schemeClr val="tx1"/>
                    </a:gs>
                  </a:gsLst>
                  <a:lin ang="5400000" scaled="1"/>
                </a:gradFill>
                <a:latin typeface="72 Brand Medium"/>
              </a:rPr>
              <a:t>Business Technology Platform</a:t>
            </a:r>
          </a:p>
        </p:txBody>
      </p:sp>
    </p:spTree>
    <p:extLst>
      <p:ext uri="{BB962C8B-B14F-4D97-AF65-F5344CB8AC3E}">
        <p14:creationId xmlns:p14="http://schemas.microsoft.com/office/powerpoint/2010/main" val="2502115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AD0D2-66EE-7C81-F0B3-B126F4B2E4D3}"/>
              </a:ext>
            </a:extLst>
          </p:cNvPr>
          <p:cNvSpPr>
            <a:spLocks noGrp="1"/>
          </p:cNvSpPr>
          <p:nvPr>
            <p:ph type="title"/>
          </p:nvPr>
        </p:nvSpPr>
        <p:spPr/>
        <p:txBody>
          <a:bodyPr/>
          <a:lstStyle/>
          <a:p>
            <a:r>
              <a:rPr lang="de-CH" b="1" dirty="0" err="1">
                <a:gradFill>
                  <a:gsLst>
                    <a:gs pos="0">
                      <a:srgbClr val="000000"/>
                    </a:gs>
                    <a:gs pos="100000">
                      <a:srgbClr val="000000"/>
                    </a:gs>
                  </a:gsLst>
                  <a:lin ang="18900000" scaled="1"/>
                </a:gradFill>
                <a:latin typeface="+mj-lt"/>
              </a:rPr>
              <a:t>Agentic</a:t>
            </a:r>
            <a:r>
              <a:rPr lang="de-CH" b="1" dirty="0">
                <a:gradFill>
                  <a:gsLst>
                    <a:gs pos="0">
                      <a:srgbClr val="000000"/>
                    </a:gs>
                    <a:gs pos="100000">
                      <a:srgbClr val="000000"/>
                    </a:gs>
                  </a:gsLst>
                  <a:lin ang="18900000" scaled="1"/>
                </a:gradFill>
                <a:latin typeface="+mj-lt"/>
              </a:rPr>
              <a:t> </a:t>
            </a:r>
            <a:r>
              <a:rPr lang="de-CH" b="1" dirty="0" err="1">
                <a:gradFill>
                  <a:gsLst>
                    <a:gs pos="0">
                      <a:srgbClr val="000000"/>
                    </a:gs>
                    <a:gs pos="100000">
                      <a:srgbClr val="000000"/>
                    </a:gs>
                  </a:gsLst>
                  <a:lin ang="18900000" scaled="1"/>
                </a:gradFill>
                <a:latin typeface="+mj-lt"/>
              </a:rPr>
              <a:t>processes</a:t>
            </a:r>
            <a:r>
              <a:rPr lang="de-CH" b="1" dirty="0">
                <a:gradFill>
                  <a:gsLst>
                    <a:gs pos="0">
                      <a:srgbClr val="000000"/>
                    </a:gs>
                    <a:gs pos="100000">
                      <a:srgbClr val="000000"/>
                    </a:gs>
                  </a:gsLst>
                  <a:lin ang="18900000" scaled="1"/>
                </a:gradFill>
                <a:latin typeface="+mj-lt"/>
              </a:rPr>
              <a:t> </a:t>
            </a:r>
            <a:r>
              <a:rPr lang="de-CH" b="1" dirty="0" err="1">
                <a:gradFill>
                  <a:gsLst>
                    <a:gs pos="0">
                      <a:srgbClr val="000000"/>
                    </a:gs>
                    <a:gs pos="100000">
                      <a:srgbClr val="000000"/>
                    </a:gs>
                  </a:gsLst>
                  <a:lin ang="18900000" scaled="1"/>
                </a:gradFill>
                <a:latin typeface="+mj-lt"/>
              </a:rPr>
              <a:t>represent</a:t>
            </a:r>
            <a:r>
              <a:rPr lang="de-CH" b="1" dirty="0">
                <a:gradFill>
                  <a:gsLst>
                    <a:gs pos="0">
                      <a:srgbClr val="000000"/>
                    </a:gs>
                    <a:gs pos="100000">
                      <a:srgbClr val="000000"/>
                    </a:gs>
                  </a:gsLst>
                  <a:lin ang="18900000" scaled="1"/>
                </a:gradFill>
                <a:latin typeface="+mj-lt"/>
              </a:rPr>
              <a:t> a </a:t>
            </a:r>
            <a:r>
              <a:rPr lang="de-CH" b="1" dirty="0" err="1">
                <a:gradFill>
                  <a:gsLst>
                    <a:gs pos="0">
                      <a:srgbClr val="000000"/>
                    </a:gs>
                    <a:gs pos="100000">
                      <a:srgbClr val="000000"/>
                    </a:gs>
                  </a:gsLst>
                  <a:lin ang="18900000" scaled="1"/>
                </a:gradFill>
                <a:latin typeface="+mj-lt"/>
              </a:rPr>
              <a:t>next</a:t>
            </a:r>
            <a:r>
              <a:rPr lang="de-CH" b="1" dirty="0">
                <a:gradFill>
                  <a:gsLst>
                    <a:gs pos="0">
                      <a:srgbClr val="000000"/>
                    </a:gs>
                    <a:gs pos="100000">
                      <a:srgbClr val="000000"/>
                    </a:gs>
                  </a:gsLst>
                  <a:lin ang="18900000" scaled="1"/>
                </a:gradFill>
                <a:latin typeface="+mj-lt"/>
              </a:rPr>
              <a:t> </a:t>
            </a:r>
            <a:r>
              <a:rPr lang="de-CH" b="1" dirty="0" err="1">
                <a:gradFill>
                  <a:gsLst>
                    <a:gs pos="0">
                      <a:srgbClr val="000000"/>
                    </a:gs>
                    <a:gs pos="100000">
                      <a:srgbClr val="000000"/>
                    </a:gs>
                  </a:gsLst>
                  <a:lin ang="18900000" scaled="1"/>
                </a:gradFill>
                <a:latin typeface="+mj-lt"/>
              </a:rPr>
              <a:t>generation</a:t>
            </a:r>
            <a:r>
              <a:rPr lang="de-CH" b="1" dirty="0">
                <a:gradFill>
                  <a:gsLst>
                    <a:gs pos="0">
                      <a:srgbClr val="000000"/>
                    </a:gs>
                    <a:gs pos="100000">
                      <a:srgbClr val="000000"/>
                    </a:gs>
                  </a:gsLst>
                  <a:lin ang="18900000" scaled="1"/>
                </a:gradFill>
                <a:latin typeface="+mj-lt"/>
              </a:rPr>
              <a:t> </a:t>
            </a:r>
            <a:r>
              <a:rPr lang="de-CH" b="1" dirty="0" err="1">
                <a:gradFill>
                  <a:gsLst>
                    <a:gs pos="0">
                      <a:srgbClr val="000000"/>
                    </a:gs>
                    <a:gs pos="100000">
                      <a:srgbClr val="000000"/>
                    </a:gs>
                  </a:gsLst>
                  <a:lin ang="18900000" scaled="1"/>
                </a:gradFill>
                <a:latin typeface="+mj-lt"/>
              </a:rPr>
              <a:t>of</a:t>
            </a:r>
            <a:r>
              <a:rPr lang="de-CH" b="1" dirty="0">
                <a:gradFill>
                  <a:gsLst>
                    <a:gs pos="0">
                      <a:srgbClr val="000000"/>
                    </a:gs>
                    <a:gs pos="100000">
                      <a:srgbClr val="000000"/>
                    </a:gs>
                  </a:gsLst>
                  <a:lin ang="18900000" scaled="1"/>
                </a:gradFill>
                <a:latin typeface="+mj-lt"/>
              </a:rPr>
              <a:t> </a:t>
            </a:r>
            <a:r>
              <a:rPr lang="de-CH" b="1" dirty="0" err="1">
                <a:gradFill>
                  <a:gsLst>
                    <a:gs pos="0">
                      <a:srgbClr val="000000"/>
                    </a:gs>
                    <a:gs pos="100000">
                      <a:srgbClr val="000000"/>
                    </a:gs>
                  </a:gsLst>
                  <a:lin ang="18900000" scaled="1"/>
                </a:gradFill>
                <a:latin typeface="+mj-lt"/>
              </a:rPr>
              <a:t>automation</a:t>
            </a:r>
            <a:endParaRPr lang="en-CH" b="1" dirty="0">
              <a:gradFill>
                <a:gsLst>
                  <a:gs pos="0">
                    <a:srgbClr val="000000"/>
                  </a:gs>
                  <a:gs pos="100000">
                    <a:srgbClr val="000000"/>
                  </a:gs>
                </a:gsLst>
                <a:lin ang="18900000" scaled="1"/>
              </a:gradFill>
              <a:latin typeface="+mj-lt"/>
            </a:endParaRPr>
          </a:p>
        </p:txBody>
      </p:sp>
      <p:pic>
        <p:nvPicPr>
          <p:cNvPr id="4" name="Picture 3">
            <a:extLst>
              <a:ext uri="{FF2B5EF4-FFF2-40B4-BE49-F238E27FC236}">
                <a16:creationId xmlns:a16="http://schemas.microsoft.com/office/drawing/2014/main" id="{4796689B-E9C2-63FC-0A39-065EF92B2D5B}"/>
              </a:ext>
            </a:extLst>
          </p:cNvPr>
          <p:cNvPicPr>
            <a:picLocks noChangeAspect="1"/>
          </p:cNvPicPr>
          <p:nvPr/>
        </p:nvPicPr>
        <p:blipFill>
          <a:blip r:embed="rId2"/>
          <a:stretch>
            <a:fillRect/>
          </a:stretch>
        </p:blipFill>
        <p:spPr>
          <a:xfrm>
            <a:off x="1318661" y="1054117"/>
            <a:ext cx="8372056" cy="5366904"/>
          </a:xfrm>
          <a:prstGeom prst="roundRect">
            <a:avLst>
              <a:gd name="adj" fmla="val 1917"/>
            </a:avLst>
          </a:prstGeom>
          <a:ln>
            <a:solidFill>
              <a:schemeClr val="bg1">
                <a:lumMod val="50000"/>
              </a:schemeClr>
            </a:solidFill>
          </a:ln>
        </p:spPr>
      </p:pic>
      <p:sp>
        <p:nvSpPr>
          <p:cNvPr id="6" name="TextBox 5">
            <a:extLst>
              <a:ext uri="{FF2B5EF4-FFF2-40B4-BE49-F238E27FC236}">
                <a16:creationId xmlns:a16="http://schemas.microsoft.com/office/drawing/2014/main" id="{15BE2122-E116-37F1-52C2-8323FD8DE846}"/>
              </a:ext>
            </a:extLst>
          </p:cNvPr>
          <p:cNvSpPr txBox="1"/>
          <p:nvPr/>
        </p:nvSpPr>
        <p:spPr>
          <a:xfrm>
            <a:off x="1166159" y="6463378"/>
            <a:ext cx="8979087" cy="276855"/>
          </a:xfrm>
          <a:prstGeom prst="rect">
            <a:avLst/>
          </a:prstGeom>
          <a:noFill/>
        </p:spPr>
        <p:txBody>
          <a:bodyPr wrap="square">
            <a:spAutoFit/>
          </a:bodyPr>
          <a:lstStyle/>
          <a:p>
            <a:pPr algn="l"/>
            <a:r>
              <a:rPr lang="de-CH" sz="1199" dirty="0"/>
              <a:t>Source: </a:t>
            </a:r>
            <a:r>
              <a:rPr lang="de-CH" sz="1199" dirty="0" err="1"/>
              <a:t>Andreesen</a:t>
            </a:r>
            <a:r>
              <a:rPr lang="de-CH" sz="1199" dirty="0"/>
              <a:t> </a:t>
            </a:r>
            <a:r>
              <a:rPr lang="de-CH" sz="1199" dirty="0" err="1"/>
              <a:t>Horrowitz</a:t>
            </a:r>
            <a:r>
              <a:rPr lang="de-CH" sz="1199" dirty="0"/>
              <a:t>, </a:t>
            </a:r>
            <a:r>
              <a:rPr lang="en-US" sz="1199" dirty="0"/>
              <a:t>RIP to RPA: The Rise of Intelligent Automation, published Nov, 13 2024</a:t>
            </a:r>
          </a:p>
        </p:txBody>
      </p:sp>
      <p:sp>
        <p:nvSpPr>
          <p:cNvPr id="3" name="Oval 2">
            <a:extLst>
              <a:ext uri="{FF2B5EF4-FFF2-40B4-BE49-F238E27FC236}">
                <a16:creationId xmlns:a16="http://schemas.microsoft.com/office/drawing/2014/main" id="{8DE84CD3-BBBD-FEB4-AC46-C2604344F3F8}"/>
              </a:ext>
              <a:ext uri="{C183D7F6-B498-43B3-948B-1728B52AA6E4}">
                <adec:decorative xmlns:adec="http://schemas.microsoft.com/office/drawing/2017/decorative" val="1"/>
              </a:ext>
            </a:extLst>
          </p:cNvPr>
          <p:cNvSpPr/>
          <p:nvPr/>
        </p:nvSpPr>
        <p:spPr bwMode="gray">
          <a:xfrm>
            <a:off x="10807846" y="550199"/>
            <a:ext cx="740337" cy="740336"/>
          </a:xfrm>
          <a:prstGeom prst="ellipse">
            <a:avLst/>
          </a:prstGeom>
          <a:noFill/>
          <a:ln w="12700" algn="ctr">
            <a:gradFill>
              <a:gsLst>
                <a:gs pos="0">
                  <a:srgbClr val="89D1FF"/>
                </a:gs>
                <a:gs pos="100000">
                  <a:srgbClr val="1B90FF"/>
                </a:gs>
              </a:gsLst>
              <a:lin ang="5400000" scaled="1"/>
            </a:grad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
        <p:nvSpPr>
          <p:cNvPr id="5" name="Rectangle: Rounded Corners 1922">
            <a:extLst>
              <a:ext uri="{FF2B5EF4-FFF2-40B4-BE49-F238E27FC236}">
                <a16:creationId xmlns:a16="http://schemas.microsoft.com/office/drawing/2014/main" id="{1474951C-B87E-02C1-1851-4BF0A1A0C132}"/>
              </a:ext>
            </a:extLst>
          </p:cNvPr>
          <p:cNvSpPr/>
          <p:nvPr/>
        </p:nvSpPr>
        <p:spPr bwMode="gray">
          <a:xfrm>
            <a:off x="10666040" y="501842"/>
            <a:ext cx="1023949" cy="234614"/>
          </a:xfrm>
          <a:prstGeom prst="roundRect">
            <a:avLst>
              <a:gd name="adj" fmla="val 14916"/>
            </a:avLst>
          </a:prstGeom>
          <a:solidFill>
            <a:srgbClr val="7858FF"/>
          </a:solidFill>
          <a:ln w="15238" cap="flat">
            <a:noFill/>
            <a:prstDash val="solid"/>
            <a:miter/>
          </a:ln>
        </p:spPr>
        <p:txBody>
          <a:bodyPr rtlCol="0" anchor="ctr"/>
          <a:lstStyle/>
          <a:p>
            <a:pPr algn="ctr" defTabSz="1088122"/>
            <a:r>
              <a:rPr lang="en-US" sz="1100">
                <a:gradFill>
                  <a:gsLst>
                    <a:gs pos="0">
                      <a:schemeClr val="bg1"/>
                    </a:gs>
                    <a:gs pos="100000">
                      <a:schemeClr val="bg1"/>
                    </a:gs>
                  </a:gsLst>
                  <a:lin ang="0" scaled="0"/>
                </a:gradFill>
                <a:latin typeface="+mj-lt"/>
              </a:rPr>
              <a:t>AI</a:t>
            </a:r>
          </a:p>
        </p:txBody>
      </p:sp>
      <p:sp>
        <p:nvSpPr>
          <p:cNvPr id="7" name="Rectangle: Rounded Corners 1926">
            <a:extLst>
              <a:ext uri="{FF2B5EF4-FFF2-40B4-BE49-F238E27FC236}">
                <a16:creationId xmlns:a16="http://schemas.microsoft.com/office/drawing/2014/main" id="{EA3A5590-287D-D554-8063-DC4DBCC3BB85}"/>
              </a:ext>
            </a:extLst>
          </p:cNvPr>
          <p:cNvSpPr/>
          <p:nvPr/>
        </p:nvSpPr>
        <p:spPr bwMode="gray">
          <a:xfrm>
            <a:off x="10666040" y="1104278"/>
            <a:ext cx="1023949" cy="234614"/>
          </a:xfrm>
          <a:prstGeom prst="roundRect">
            <a:avLst>
              <a:gd name="adj" fmla="val 16401"/>
            </a:avLst>
          </a:prstGeom>
          <a:gradFill flip="none" rotWithShape="1">
            <a:gsLst>
              <a:gs pos="0">
                <a:srgbClr val="A6E0FF"/>
              </a:gs>
              <a:gs pos="100000">
                <a:srgbClr val="89D1FF"/>
              </a:gs>
            </a:gsLst>
            <a:lin ang="2700000" scaled="1"/>
            <a:tileRect/>
          </a:gradFill>
          <a:ln w="15238" cap="flat">
            <a:noFill/>
            <a:prstDash val="solid"/>
            <a:miter/>
          </a:ln>
        </p:spPr>
        <p:txBody>
          <a:bodyPr lIns="91440" tIns="91440" rIns="91440" bIns="91440" rtlCol="0" anchor="ctr"/>
          <a:lstStyle/>
          <a:p>
            <a:pPr algn="ctr" defTabSz="913943" fontAlgn="base">
              <a:spcAft>
                <a:spcPts val="600"/>
              </a:spcAft>
              <a:buClr>
                <a:srgbClr val="F0AB00"/>
              </a:buClr>
              <a:buSzPct val="80000"/>
            </a:pPr>
            <a:r>
              <a:rPr lang="en-US" sz="1100" kern="0">
                <a:latin typeface="+mj-lt"/>
              </a:rPr>
              <a:t>Applications</a:t>
            </a:r>
          </a:p>
        </p:txBody>
      </p:sp>
      <p:sp>
        <p:nvSpPr>
          <p:cNvPr id="9" name="Rectangle: Rounded Corners 1924">
            <a:extLst>
              <a:ext uri="{FF2B5EF4-FFF2-40B4-BE49-F238E27FC236}">
                <a16:creationId xmlns:a16="http://schemas.microsoft.com/office/drawing/2014/main" id="{FF16D1FF-23A7-A095-D341-D846422F31B7}"/>
              </a:ext>
            </a:extLst>
          </p:cNvPr>
          <p:cNvSpPr/>
          <p:nvPr/>
        </p:nvSpPr>
        <p:spPr bwMode="gray">
          <a:xfrm>
            <a:off x="10666040" y="803060"/>
            <a:ext cx="1023949" cy="234614"/>
          </a:xfrm>
          <a:prstGeom prst="roundRect">
            <a:avLst>
              <a:gd name="adj" fmla="val 17081"/>
            </a:avLst>
          </a:prstGeom>
          <a:solidFill>
            <a:srgbClr val="0070F2"/>
          </a:solidFill>
          <a:ln w="15238" cap="flat">
            <a:noFill/>
            <a:prstDash val="solid"/>
            <a:miter/>
          </a:ln>
        </p:spPr>
        <p:txBody>
          <a:bodyPr rtlCol="0" anchor="ctr"/>
          <a:lstStyle/>
          <a:p>
            <a:pPr algn="ctr" defTabSz="1088122"/>
            <a:r>
              <a:rPr lang="en-US" sz="1100">
                <a:gradFill>
                  <a:gsLst>
                    <a:gs pos="0">
                      <a:schemeClr val="bg1"/>
                    </a:gs>
                    <a:gs pos="100000">
                      <a:schemeClr val="bg1"/>
                    </a:gs>
                  </a:gsLst>
                  <a:lin ang="0" scaled="0"/>
                </a:gradFill>
                <a:latin typeface="+mj-lt"/>
              </a:rPr>
              <a:t>Data</a:t>
            </a:r>
          </a:p>
        </p:txBody>
      </p:sp>
      <p:sp>
        <p:nvSpPr>
          <p:cNvPr id="11" name="Rectangle 1925">
            <a:extLst>
              <a:ext uri="{FF2B5EF4-FFF2-40B4-BE49-F238E27FC236}">
                <a16:creationId xmlns:a16="http://schemas.microsoft.com/office/drawing/2014/main" id="{02CCBAAA-3A77-D5BB-6A53-72072FA31F27}"/>
              </a:ext>
              <a:ext uri="{C183D7F6-B498-43B3-948B-1728B52AA6E4}">
                <adec:decorative xmlns:adec="http://schemas.microsoft.com/office/drawing/2017/decorative" val="1"/>
              </a:ext>
            </a:extLst>
          </p:cNvPr>
          <p:cNvSpPr/>
          <p:nvPr/>
        </p:nvSpPr>
        <p:spPr bwMode="gray">
          <a:xfrm>
            <a:off x="10631338" y="782655"/>
            <a:ext cx="1055852" cy="572154"/>
          </a:xfrm>
          <a:prstGeom prst="rect">
            <a:avLst/>
          </a:prstGeom>
          <a:solidFill>
            <a:schemeClr val="bg1">
              <a:alpha val="80000"/>
            </a:schemeClr>
          </a:solidFill>
          <a:ln w="25400" algn="ctr">
            <a:no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Tree>
    <p:extLst>
      <p:ext uri="{BB962C8B-B14F-4D97-AF65-F5344CB8AC3E}">
        <p14:creationId xmlns:p14="http://schemas.microsoft.com/office/powerpoint/2010/main" val="7775512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441672-D005-28BA-2D26-88F5349B31D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5FF61AD-3D5F-8EBF-B555-1178073AB47E}"/>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988191389"/>
              </p:ext>
            </p:extLst>
          </p:nvPr>
        </p:nvGraphicFramePr>
        <p:xfrm>
          <a:off x="441" y="43877"/>
          <a:ext cx="341" cy="44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D5FF61AD-3D5F-8EBF-B555-1178073AB47E}"/>
                          </a:ext>
                          <a:ext uri="{C183D7F6-B498-43B3-948B-1728B52AA6E4}">
                            <adec:decorative xmlns:adec="http://schemas.microsoft.com/office/drawing/2017/decorative" val="1"/>
                          </a:ext>
                        </a:extLst>
                      </p:cNvPr>
                      <p:cNvPicPr/>
                      <p:nvPr/>
                    </p:nvPicPr>
                    <p:blipFill>
                      <a:blip r:embed="rId5"/>
                      <a:stretch>
                        <a:fillRect/>
                      </a:stretch>
                    </p:blipFill>
                    <p:spPr>
                      <a:xfrm>
                        <a:off x="441" y="43877"/>
                        <a:ext cx="341" cy="441"/>
                      </a:xfrm>
                      <a:prstGeom prst="rect">
                        <a:avLst/>
                      </a:prstGeom>
                    </p:spPr>
                  </p:pic>
                </p:oleObj>
              </mc:Fallback>
            </mc:AlternateContent>
          </a:graphicData>
        </a:graphic>
      </p:graphicFrame>
      <p:sp>
        <p:nvSpPr>
          <p:cNvPr id="1845" name="TextBox 1844">
            <a:extLst>
              <a:ext uri="{FF2B5EF4-FFF2-40B4-BE49-F238E27FC236}">
                <a16:creationId xmlns:a16="http://schemas.microsoft.com/office/drawing/2014/main" id="{899C7993-9F4D-D3F1-50B9-ED4E3E9B78B4}"/>
              </a:ext>
            </a:extLst>
          </p:cNvPr>
          <p:cNvSpPr txBox="1"/>
          <p:nvPr/>
        </p:nvSpPr>
        <p:spPr>
          <a:xfrm>
            <a:off x="511200" y="954000"/>
            <a:ext cx="8117042" cy="215444"/>
          </a:xfrm>
          <a:prstGeom prst="rect">
            <a:avLst/>
          </a:prstGeom>
          <a:noFill/>
        </p:spPr>
        <p:txBody>
          <a:bodyPr wrap="square" lIns="0" tIns="0" rIns="0" bIns="0" anchor="t">
            <a:spAutoFit/>
          </a:bodyPr>
          <a:lstStyle/>
          <a:p>
            <a:pPr marL="0" marR="0" lvl="0" indent="0" algn="l" defTabSz="108779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72 Brand"/>
                <a:ea typeface="+mn-ea"/>
                <a:cs typeface="+mn-cs"/>
              </a:rPr>
              <a:t>Orchestrating across end-to-end processes and optimizing end-to-end planning</a:t>
            </a:r>
          </a:p>
        </p:txBody>
      </p:sp>
      <p:sp>
        <p:nvSpPr>
          <p:cNvPr id="4" name="Title 3">
            <a:extLst>
              <a:ext uri="{FF2B5EF4-FFF2-40B4-BE49-F238E27FC236}">
                <a16:creationId xmlns:a16="http://schemas.microsoft.com/office/drawing/2014/main" id="{E9C5C9EF-B937-B22F-F886-E756EFE95C58}"/>
              </a:ext>
            </a:extLst>
          </p:cNvPr>
          <p:cNvSpPr>
            <a:spLocks noGrp="1"/>
          </p:cNvSpPr>
          <p:nvPr>
            <p:ph type="title"/>
          </p:nvPr>
        </p:nvSpPr>
        <p:spPr/>
        <p:txBody>
          <a:bodyPr/>
          <a:lstStyle/>
          <a:p>
            <a:r>
              <a:rPr lang="en-GB" sz="2400" b="1" dirty="0">
                <a:gradFill>
                  <a:gsLst>
                    <a:gs pos="0">
                      <a:srgbClr val="000000"/>
                    </a:gs>
                    <a:gs pos="100000">
                      <a:srgbClr val="000000"/>
                    </a:gs>
                  </a:gsLst>
                  <a:lin ang="18900000" scaled="1"/>
                </a:gradFill>
                <a:latin typeface="+mj-lt"/>
              </a:rPr>
              <a:t>Systems of AI agents</a:t>
            </a:r>
            <a:endParaRPr lang="en-DE" sz="2400" b="1">
              <a:gradFill>
                <a:gsLst>
                  <a:gs pos="0">
                    <a:srgbClr val="000000"/>
                  </a:gs>
                  <a:gs pos="100000">
                    <a:srgbClr val="000000"/>
                  </a:gs>
                </a:gsLst>
                <a:lin ang="18900000" scaled="1"/>
              </a:gradFill>
              <a:latin typeface="+mj-lt"/>
            </a:endParaRPr>
          </a:p>
        </p:txBody>
      </p:sp>
      <p:grpSp>
        <p:nvGrpSpPr>
          <p:cNvPr id="23" name="Group 22">
            <a:extLst>
              <a:ext uri="{FF2B5EF4-FFF2-40B4-BE49-F238E27FC236}">
                <a16:creationId xmlns:a16="http://schemas.microsoft.com/office/drawing/2014/main" id="{F6AE3350-8E5E-92BB-D8F2-92EADB691680}"/>
              </a:ext>
            </a:extLst>
          </p:cNvPr>
          <p:cNvGrpSpPr/>
          <p:nvPr/>
        </p:nvGrpSpPr>
        <p:grpSpPr>
          <a:xfrm>
            <a:off x="1086326" y="1346217"/>
            <a:ext cx="10022523" cy="4938129"/>
            <a:chOff x="1086326" y="1346217"/>
            <a:chExt cx="10022523" cy="4938129"/>
          </a:xfrm>
        </p:grpSpPr>
        <p:sp>
          <p:nvSpPr>
            <p:cNvPr id="27" name="Rounded Rectangle 90">
              <a:extLst>
                <a:ext uri="{FF2B5EF4-FFF2-40B4-BE49-F238E27FC236}">
                  <a16:creationId xmlns:a16="http://schemas.microsoft.com/office/drawing/2014/main" id="{2F85BB78-596F-D757-914C-3885BA134466}"/>
                </a:ext>
              </a:extLst>
            </p:cNvPr>
            <p:cNvSpPr/>
            <p:nvPr/>
          </p:nvSpPr>
          <p:spPr bwMode="gray">
            <a:xfrm>
              <a:off x="1086326" y="1973138"/>
              <a:ext cx="10022523" cy="4311208"/>
            </a:xfrm>
            <a:prstGeom prst="roundRect">
              <a:avLst>
                <a:gd name="adj" fmla="val 2671"/>
              </a:avLst>
            </a:prstGeom>
            <a:gradFill flip="none" rotWithShape="1">
              <a:gsLst>
                <a:gs pos="0">
                  <a:srgbClr val="B894FF">
                    <a:alpha val="14078"/>
                  </a:srgbClr>
                </a:gs>
                <a:gs pos="99000">
                  <a:srgbClr val="B894FF">
                    <a:alpha val="11090"/>
                  </a:srgbClr>
                </a:gs>
              </a:gsLst>
              <a:lin ang="2700000" scaled="1"/>
              <a:tileRect/>
            </a:gradFill>
            <a:ln w="12700" algn="ctr">
              <a:solidFill>
                <a:srgbClr val="7858FF"/>
              </a:solidFill>
              <a:miter lim="800000"/>
              <a:headEnd/>
              <a:tailEnd type="arrow" w="med" len="sm"/>
            </a:ln>
          </p:spPr>
          <p:txBody>
            <a:bodyPr lIns="649856" tIns="519888" rIns="649856" bIns="519888" rtlCol="0" anchor="t"/>
            <a:lstStyle/>
            <a:p>
              <a:pPr marL="0" marR="0" lvl="0" indent="0" algn="l" defTabSz="3869763" rtl="0" eaLnBrk="1" fontAlgn="base" latinLnBrk="0" hangingPunct="1">
                <a:lnSpc>
                  <a:spcPct val="100000"/>
                </a:lnSpc>
                <a:spcBef>
                  <a:spcPct val="50000"/>
                </a:spcBef>
                <a:spcAft>
                  <a:spcPct val="0"/>
                </a:spcAft>
                <a:buClr>
                  <a:srgbClr val="F0AB00"/>
                </a:buClr>
                <a:buSzPct val="80000"/>
                <a:buFontTx/>
                <a:buNone/>
                <a:tabLst/>
                <a:defRPr/>
              </a:pPr>
              <a:endParaRPr kumimoji="0" lang="en-US" sz="4266" b="0" i="0" u="none" strike="noStrike" kern="0" cap="none" spc="0" normalizeH="0" baseline="0" noProof="0">
                <a:ln>
                  <a:noFill/>
                </a:ln>
                <a:solidFill>
                  <a:srgbClr val="000000"/>
                </a:solidFill>
                <a:effectLst/>
                <a:uLnTx/>
                <a:uFillTx/>
                <a:latin typeface="72 Brand"/>
                <a:ea typeface="+mn-ea"/>
                <a:cs typeface="+mn-cs"/>
              </a:endParaRPr>
            </a:p>
          </p:txBody>
        </p:sp>
        <p:sp>
          <p:nvSpPr>
            <p:cNvPr id="28" name="Rectangle: Rounded Corners 6">
              <a:extLst>
                <a:ext uri="{FF2B5EF4-FFF2-40B4-BE49-F238E27FC236}">
                  <a16:creationId xmlns:a16="http://schemas.microsoft.com/office/drawing/2014/main" id="{FFA69FA1-4290-8D4F-2BDD-A8AD2B6A521F}"/>
                </a:ext>
              </a:extLst>
            </p:cNvPr>
            <p:cNvSpPr/>
            <p:nvPr/>
          </p:nvSpPr>
          <p:spPr bwMode="gray">
            <a:xfrm>
              <a:off x="6163188" y="3404848"/>
              <a:ext cx="4764836" cy="2696054"/>
            </a:xfrm>
            <a:prstGeom prst="roundRect">
              <a:avLst>
                <a:gd name="adj" fmla="val 4060"/>
              </a:avLst>
            </a:prstGeom>
            <a:gradFill>
              <a:gsLst>
                <a:gs pos="0">
                  <a:srgbClr val="7858FF">
                    <a:alpha val="32000"/>
                  </a:srgbClr>
                </a:gs>
                <a:gs pos="99000">
                  <a:srgbClr val="B894FF">
                    <a:alpha val="11090"/>
                  </a:srgbClr>
                </a:gs>
              </a:gsLst>
              <a:lin ang="2700000" scaled="1"/>
            </a:gradFill>
            <a:ln w="12700" algn="ctr">
              <a:noFill/>
              <a:miter lim="800000"/>
              <a:headEnd/>
              <a:tailEnd type="arrow" w="med" len="sm"/>
            </a:ln>
          </p:spPr>
          <p:txBody>
            <a:bodyPr lIns="649856" tIns="519888" rIns="649856" bIns="519888" rtlCol="0" anchor="t"/>
            <a:lstStyle/>
            <a:p>
              <a:pPr marL="0" marR="0" lvl="0" indent="0" algn="l" defTabSz="3869763" rtl="0" eaLnBrk="1" fontAlgn="base" latinLnBrk="0" hangingPunct="1">
                <a:lnSpc>
                  <a:spcPct val="100000"/>
                </a:lnSpc>
                <a:spcBef>
                  <a:spcPct val="50000"/>
                </a:spcBef>
                <a:spcAft>
                  <a:spcPct val="0"/>
                </a:spcAft>
                <a:buClr>
                  <a:srgbClr val="F0AB00"/>
                </a:buClr>
                <a:buSzPct val="80000"/>
                <a:buFontTx/>
                <a:buNone/>
                <a:tabLst/>
                <a:defRPr/>
              </a:pPr>
              <a:endParaRPr kumimoji="0" lang="en-US" sz="4266" b="0" i="0" u="none" strike="noStrike" kern="0" cap="none" spc="0" normalizeH="0" baseline="0" noProof="0">
                <a:ln>
                  <a:noFill/>
                </a:ln>
                <a:solidFill>
                  <a:srgbClr val="000000"/>
                </a:solidFill>
                <a:effectLst/>
                <a:uLnTx/>
                <a:uFillTx/>
                <a:latin typeface="72 Brand"/>
                <a:ea typeface="+mn-ea"/>
                <a:cs typeface="+mn-cs"/>
              </a:endParaRPr>
            </a:p>
          </p:txBody>
        </p:sp>
        <p:sp>
          <p:nvSpPr>
            <p:cNvPr id="29" name="Rectangle: Rounded Corners 6">
              <a:extLst>
                <a:ext uri="{FF2B5EF4-FFF2-40B4-BE49-F238E27FC236}">
                  <a16:creationId xmlns:a16="http://schemas.microsoft.com/office/drawing/2014/main" id="{7B1A6F88-16A1-5D4A-FA3B-FE783F87CE7C}"/>
                </a:ext>
              </a:extLst>
            </p:cNvPr>
            <p:cNvSpPr/>
            <p:nvPr/>
          </p:nvSpPr>
          <p:spPr bwMode="gray">
            <a:xfrm>
              <a:off x="1258557" y="3404848"/>
              <a:ext cx="4744680" cy="2696054"/>
            </a:xfrm>
            <a:prstGeom prst="roundRect">
              <a:avLst>
                <a:gd name="adj" fmla="val 3718"/>
              </a:avLst>
            </a:prstGeom>
            <a:gradFill flip="none" rotWithShape="1">
              <a:gsLst>
                <a:gs pos="0">
                  <a:srgbClr val="7858FF">
                    <a:alpha val="32000"/>
                  </a:srgbClr>
                </a:gs>
                <a:gs pos="99000">
                  <a:srgbClr val="B894FF">
                    <a:alpha val="11090"/>
                  </a:srgbClr>
                </a:gs>
              </a:gsLst>
              <a:lin ang="2700000" scaled="1"/>
              <a:tileRect/>
            </a:gradFill>
            <a:ln w="12700" algn="ctr">
              <a:noFill/>
              <a:miter lim="800000"/>
              <a:headEnd/>
              <a:tailEnd type="arrow" w="med" len="sm"/>
            </a:ln>
          </p:spPr>
          <p:txBody>
            <a:bodyPr lIns="649856" tIns="519888" rIns="649856" bIns="519888" rtlCol="0" anchor="t"/>
            <a:lstStyle/>
            <a:p>
              <a:pPr marL="0" marR="0" lvl="0" indent="0" algn="l" defTabSz="3869763" rtl="0" eaLnBrk="1" fontAlgn="base" latinLnBrk="0" hangingPunct="1">
                <a:lnSpc>
                  <a:spcPct val="100000"/>
                </a:lnSpc>
                <a:spcBef>
                  <a:spcPct val="50000"/>
                </a:spcBef>
                <a:spcAft>
                  <a:spcPct val="0"/>
                </a:spcAft>
                <a:buClr>
                  <a:srgbClr val="F0AB00"/>
                </a:buClr>
                <a:buSzPct val="80000"/>
                <a:buFontTx/>
                <a:buNone/>
                <a:tabLst/>
                <a:defRPr/>
              </a:pPr>
              <a:endParaRPr kumimoji="0" lang="en-US" sz="4266" b="0" i="0" u="none" strike="noStrike" kern="0" cap="none" spc="0" normalizeH="0" baseline="0" noProof="0">
                <a:ln>
                  <a:noFill/>
                </a:ln>
                <a:solidFill>
                  <a:srgbClr val="000000"/>
                </a:solidFill>
                <a:effectLst/>
                <a:uLnTx/>
                <a:uFillTx/>
                <a:latin typeface="72 Brand"/>
                <a:ea typeface="+mn-ea"/>
                <a:cs typeface="+mn-cs"/>
              </a:endParaRPr>
            </a:p>
          </p:txBody>
        </p:sp>
        <p:sp>
          <p:nvSpPr>
            <p:cNvPr id="36" name="TextBox 35">
              <a:extLst>
                <a:ext uri="{FF2B5EF4-FFF2-40B4-BE49-F238E27FC236}">
                  <a16:creationId xmlns:a16="http://schemas.microsoft.com/office/drawing/2014/main" id="{CE973777-6711-BE7B-A21E-0A0227C6642A}"/>
                </a:ext>
              </a:extLst>
            </p:cNvPr>
            <p:cNvSpPr txBox="1"/>
            <p:nvPr/>
          </p:nvSpPr>
          <p:spPr>
            <a:xfrm>
              <a:off x="1357295" y="5769438"/>
              <a:ext cx="756227" cy="246221"/>
            </a:xfrm>
            <a:prstGeom prst="rect">
              <a:avLst/>
            </a:prstGeom>
            <a:noFill/>
          </p:spPr>
          <p:txBody>
            <a:bodyPr wrap="square">
              <a:spAutoFit/>
            </a:bodyPr>
            <a:lstStyle/>
            <a:p>
              <a:pPr marL="0" marR="0" lvl="0" indent="0" algn="l" defTabSz="3901411"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0">
                        <a:srgbClr val="7858FF"/>
                      </a:gs>
                      <a:gs pos="100000">
                        <a:srgbClr val="7858FF"/>
                      </a:gs>
                    </a:gsLst>
                    <a:lin ang="0" scaled="1"/>
                  </a:gradFill>
                  <a:effectLst/>
                  <a:uLnTx/>
                  <a:uFillTx/>
                  <a:latin typeface="72 Brand"/>
                  <a:ea typeface="+mn-ea"/>
                  <a:cs typeface="+mn-cs"/>
                </a:rPr>
                <a:t>Example</a:t>
              </a:r>
            </a:p>
          </p:txBody>
        </p:sp>
        <p:sp>
          <p:nvSpPr>
            <p:cNvPr id="37" name="TextBox 36">
              <a:extLst>
                <a:ext uri="{FF2B5EF4-FFF2-40B4-BE49-F238E27FC236}">
                  <a16:creationId xmlns:a16="http://schemas.microsoft.com/office/drawing/2014/main" id="{78E0D5D9-3A37-70F8-54DD-327DC5F266C1}"/>
                </a:ext>
              </a:extLst>
            </p:cNvPr>
            <p:cNvSpPr txBox="1"/>
            <p:nvPr/>
          </p:nvSpPr>
          <p:spPr>
            <a:xfrm>
              <a:off x="6327328" y="5769438"/>
              <a:ext cx="756227" cy="246221"/>
            </a:xfrm>
            <a:prstGeom prst="rect">
              <a:avLst/>
            </a:prstGeom>
            <a:noFill/>
          </p:spPr>
          <p:txBody>
            <a:bodyPr wrap="square">
              <a:spAutoFit/>
            </a:bodyPr>
            <a:lstStyle/>
            <a:p>
              <a:pPr marL="0" marR="0" lvl="0" indent="0" algn="l" defTabSz="3901411"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0">
                        <a:srgbClr val="7858FF"/>
                      </a:gs>
                      <a:gs pos="100000">
                        <a:srgbClr val="7858FF"/>
                      </a:gs>
                    </a:gsLst>
                    <a:lin ang="0" scaled="1"/>
                  </a:gradFill>
                  <a:effectLst/>
                  <a:uLnTx/>
                  <a:uFillTx/>
                  <a:latin typeface="72 Brand"/>
                  <a:ea typeface="+mn-ea"/>
                  <a:cs typeface="+mn-cs"/>
                </a:rPr>
                <a:t>Example</a:t>
              </a:r>
            </a:p>
          </p:txBody>
        </p:sp>
        <p:sp>
          <p:nvSpPr>
            <p:cNvPr id="38" name="TextBox 37">
              <a:extLst>
                <a:ext uri="{FF2B5EF4-FFF2-40B4-BE49-F238E27FC236}">
                  <a16:creationId xmlns:a16="http://schemas.microsoft.com/office/drawing/2014/main" id="{961487AA-999D-8413-B3DC-056DA4EEA0A5}"/>
                </a:ext>
              </a:extLst>
            </p:cNvPr>
            <p:cNvSpPr txBox="1"/>
            <p:nvPr/>
          </p:nvSpPr>
          <p:spPr>
            <a:xfrm>
              <a:off x="1776940" y="3571827"/>
              <a:ext cx="3707914" cy="240373"/>
            </a:xfrm>
            <a:prstGeom prst="rect">
              <a:avLst/>
            </a:prstGeom>
            <a:noFill/>
          </p:spPr>
          <p:txBody>
            <a:bodyPr wrap="none" lIns="24689" tIns="12344" rIns="24689" bIns="12344">
              <a:spAutoFit/>
            </a:bodyPr>
            <a:lstStyle/>
            <a:p>
              <a:pPr marL="0" marR="0" lvl="0" indent="0" algn="ctr" defTabSz="390141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32967">
                        <a:srgbClr val="000000"/>
                      </a:gs>
                      <a:gs pos="63000">
                        <a:srgbClr val="000000"/>
                      </a:gs>
                    </a:gsLst>
                  </a:gradFill>
                  <a:effectLst/>
                  <a:uLnTx/>
                  <a:uFillTx/>
                  <a:latin typeface="72 Brand Medium"/>
                  <a:ea typeface="72 Brand" pitchFamily="34" charset="-128"/>
                  <a:cs typeface="72 Brand" pitchFamily="34" charset="-128"/>
                </a:rPr>
                <a:t>Joule will orchestrate end-to-end processes</a:t>
              </a:r>
              <a:endParaRPr kumimoji="0" lang="en-US" sz="1400" b="0" i="0" u="none" strike="noStrike" kern="1200" cap="none" spc="0" normalizeH="0" baseline="0" noProof="0">
                <a:ln>
                  <a:noFill/>
                </a:ln>
                <a:gradFill>
                  <a:gsLst>
                    <a:gs pos="32967">
                      <a:srgbClr val="000000"/>
                    </a:gs>
                    <a:gs pos="63000">
                      <a:srgbClr val="000000"/>
                    </a:gs>
                  </a:gsLst>
                </a:gradFill>
                <a:effectLst/>
                <a:uLnTx/>
                <a:uFillTx/>
                <a:latin typeface="Arial"/>
                <a:ea typeface="+mn-ea"/>
                <a:cs typeface="+mn-cs"/>
              </a:endParaRPr>
            </a:p>
          </p:txBody>
        </p:sp>
        <p:sp>
          <p:nvSpPr>
            <p:cNvPr id="39" name="TextBox 38">
              <a:extLst>
                <a:ext uri="{FF2B5EF4-FFF2-40B4-BE49-F238E27FC236}">
                  <a16:creationId xmlns:a16="http://schemas.microsoft.com/office/drawing/2014/main" id="{3A81A45A-F4C1-C227-0FA5-28132506EA2E}"/>
                </a:ext>
              </a:extLst>
            </p:cNvPr>
            <p:cNvSpPr txBox="1"/>
            <p:nvPr/>
          </p:nvSpPr>
          <p:spPr>
            <a:xfrm>
              <a:off x="1745966" y="3868325"/>
              <a:ext cx="3769863" cy="138499"/>
            </a:xfrm>
            <a:prstGeom prst="rect">
              <a:avLst/>
            </a:prstGeom>
            <a:noFill/>
          </p:spPr>
          <p:txBody>
            <a:bodyPr wrap="square" lIns="0" tIns="0" rIns="0" bIns="0" rtlCol="0">
              <a:spAutoFit/>
            </a:bodyPr>
            <a:lstStyle/>
            <a:p>
              <a:pPr marL="0" marR="0" lvl="0" indent="0" algn="ctr" defTabSz="3868600" rtl="0" eaLnBrk="1" fontAlgn="base" latinLnBrk="0" hangingPunct="1">
                <a:lnSpc>
                  <a:spcPct val="90000"/>
                </a:lnSpc>
                <a:spcBef>
                  <a:spcPts val="0"/>
                </a:spcBef>
                <a:spcAft>
                  <a:spcPct val="0"/>
                </a:spcAft>
                <a:buClr>
                  <a:srgbClr val="000000"/>
                </a:buClr>
                <a:buSzPct val="100000"/>
                <a:buFontTx/>
                <a:buNone/>
                <a:tabLst/>
                <a:defRPr/>
              </a:pPr>
              <a:r>
                <a:rPr kumimoji="0" lang="en-GB" sz="1000" b="0" i="0" u="none" strike="noStrike" kern="1200" cap="none" spc="0" normalizeH="0" baseline="0" noProof="0">
                  <a:ln>
                    <a:noFill/>
                  </a:ln>
                  <a:gradFill>
                    <a:gsLst>
                      <a:gs pos="32967">
                        <a:srgbClr val="000000"/>
                      </a:gs>
                      <a:gs pos="63000">
                        <a:srgbClr val="000000"/>
                      </a:gs>
                    </a:gsLst>
                  </a:gradFill>
                  <a:effectLst/>
                  <a:uLnTx/>
                  <a:uFillTx/>
                  <a:latin typeface="72 Brand"/>
                  <a:ea typeface="+mn-ea"/>
                  <a:cs typeface="72"/>
                </a:rPr>
                <a:t>Demand and supply planning including procurement negotiation </a:t>
              </a:r>
              <a:endParaRPr kumimoji="0" lang="en-US" sz="1000" b="0" i="0" u="none" strike="noStrike" kern="1200" cap="none" spc="0" normalizeH="0" baseline="0" noProof="0">
                <a:ln>
                  <a:noFill/>
                </a:ln>
                <a:gradFill>
                  <a:gsLst>
                    <a:gs pos="32967">
                      <a:srgbClr val="000000"/>
                    </a:gs>
                    <a:gs pos="63000">
                      <a:srgbClr val="000000"/>
                    </a:gs>
                  </a:gsLst>
                </a:gradFill>
                <a:effectLst/>
                <a:uLnTx/>
                <a:uFillTx/>
                <a:latin typeface="72 Brand"/>
                <a:ea typeface="+mn-ea"/>
                <a:cs typeface="72"/>
              </a:endParaRPr>
            </a:p>
          </p:txBody>
        </p:sp>
        <p:sp>
          <p:nvSpPr>
            <p:cNvPr id="40" name="Rectangle: Rounded Corners 6">
              <a:extLst>
                <a:ext uri="{FF2B5EF4-FFF2-40B4-BE49-F238E27FC236}">
                  <a16:creationId xmlns:a16="http://schemas.microsoft.com/office/drawing/2014/main" id="{4679BCE9-BD68-3C83-052B-75F54B97ADCE}"/>
                </a:ext>
              </a:extLst>
            </p:cNvPr>
            <p:cNvSpPr/>
            <p:nvPr/>
          </p:nvSpPr>
          <p:spPr bwMode="gray">
            <a:xfrm>
              <a:off x="1415729" y="4321025"/>
              <a:ext cx="4430336" cy="1395902"/>
            </a:xfrm>
            <a:prstGeom prst="roundRect">
              <a:avLst>
                <a:gd name="adj" fmla="val 7397"/>
              </a:avLst>
            </a:prstGeom>
            <a:solidFill>
              <a:srgbClr val="B894FF">
                <a:alpha val="49735"/>
              </a:srgbClr>
            </a:solidFill>
            <a:ln w="15238" cap="flat">
              <a:noFill/>
              <a:prstDash val="solid"/>
              <a:miter/>
            </a:ln>
            <a:effectLst/>
          </p:spPr>
          <p:txBody>
            <a:bodyPr lIns="24689" tIns="12344" rIns="24689" bIns="12344" rtlCol="0" anchor="ctr"/>
            <a:lstStyle/>
            <a:p>
              <a:pPr marL="0" marR="0" lvl="0" indent="0" algn="l" defTabSz="3866282" rtl="0" eaLnBrk="1" fontAlgn="auto" latinLnBrk="0" hangingPunct="1">
                <a:lnSpc>
                  <a:spcPct val="100000"/>
                </a:lnSpc>
                <a:spcBef>
                  <a:spcPts val="0"/>
                </a:spcBef>
                <a:spcAft>
                  <a:spcPts val="0"/>
                </a:spcAft>
                <a:buClrTx/>
                <a:buSzTx/>
                <a:buFontTx/>
                <a:buNone/>
                <a:tabLst/>
                <a:defRPr/>
              </a:pPr>
              <a:endParaRPr kumimoji="0" lang="en-US" sz="7111"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1" name="TextBox 40">
              <a:extLst>
                <a:ext uri="{FF2B5EF4-FFF2-40B4-BE49-F238E27FC236}">
                  <a16:creationId xmlns:a16="http://schemas.microsoft.com/office/drawing/2014/main" id="{E967D00D-CDBE-C5CA-3356-FC3BB6C41A1F}"/>
                </a:ext>
              </a:extLst>
            </p:cNvPr>
            <p:cNvSpPr txBox="1"/>
            <p:nvPr/>
          </p:nvSpPr>
          <p:spPr>
            <a:xfrm>
              <a:off x="1988679" y="4573290"/>
              <a:ext cx="1471558" cy="276999"/>
            </a:xfrm>
            <a:prstGeom prst="rect">
              <a:avLst/>
            </a:prstGeom>
            <a:noFill/>
          </p:spPr>
          <p:txBody>
            <a:bodyPr wrap="none" lIns="0" tIns="0" rIns="0" bIns="0" rtlCol="0">
              <a:spAutoFit/>
            </a:bodyPr>
            <a:lstStyle/>
            <a:p>
              <a:pPr marL="0" marR="0" lvl="0" indent="0" algn="ctr" defTabSz="3868600"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0">
                        <a:srgbClr val="7858FF"/>
                      </a:gs>
                      <a:gs pos="100000">
                        <a:srgbClr val="7858FF"/>
                      </a:gs>
                    </a:gsLst>
                    <a:lin ang="0" scaled="1"/>
                  </a:gradFill>
                  <a:effectLst/>
                  <a:uLnTx/>
                  <a:uFillTx/>
                  <a:latin typeface="72 Brand"/>
                  <a:ea typeface="+mn-ea"/>
                  <a:cs typeface="+mn-cs"/>
                </a:rPr>
                <a:t>Predict customer demand</a:t>
              </a:r>
              <a:br>
                <a:rPr kumimoji="0" lang="en-US" sz="1000" b="0" i="0" u="none" strike="noStrike" kern="0" cap="none" spc="0" normalizeH="0" baseline="0" noProof="0">
                  <a:ln>
                    <a:noFill/>
                  </a:ln>
                  <a:gradFill>
                    <a:gsLst>
                      <a:gs pos="0">
                        <a:srgbClr val="7858FF"/>
                      </a:gs>
                      <a:gs pos="100000">
                        <a:srgbClr val="7858FF"/>
                      </a:gs>
                    </a:gsLst>
                    <a:lin ang="0" scaled="1"/>
                  </a:gradFill>
                  <a:effectLst/>
                  <a:uLnTx/>
                  <a:uFillTx/>
                  <a:latin typeface="72 Brand"/>
                  <a:ea typeface="+mn-ea"/>
                  <a:cs typeface="+mn-cs"/>
                </a:rPr>
              </a:br>
              <a:r>
                <a:rPr kumimoji="0" lang="en-US" sz="1000" b="0" i="0" u="none" strike="noStrike" kern="0" cap="none" spc="0" normalizeH="0" baseline="0" noProof="0">
                  <a:ln>
                    <a:noFill/>
                  </a:ln>
                  <a:gradFill>
                    <a:gsLst>
                      <a:gs pos="0">
                        <a:srgbClr val="7858FF"/>
                      </a:gs>
                      <a:gs pos="100000">
                        <a:srgbClr val="7858FF"/>
                      </a:gs>
                    </a:gsLst>
                    <a:lin ang="0" scaled="1"/>
                  </a:gradFill>
                  <a:effectLst/>
                  <a:uLnTx/>
                  <a:uFillTx/>
                  <a:latin typeface="72 Brand"/>
                  <a:ea typeface="+mn-ea"/>
                  <a:cs typeface="+mn-cs"/>
                </a:rPr>
                <a:t>for new running shoe</a:t>
              </a:r>
            </a:p>
          </p:txBody>
        </p:sp>
        <p:sp>
          <p:nvSpPr>
            <p:cNvPr id="42" name="TextBox 41">
              <a:extLst>
                <a:ext uri="{FF2B5EF4-FFF2-40B4-BE49-F238E27FC236}">
                  <a16:creationId xmlns:a16="http://schemas.microsoft.com/office/drawing/2014/main" id="{1B5FE34B-2199-82F0-634B-41C0CB0D6849}"/>
                </a:ext>
              </a:extLst>
            </p:cNvPr>
            <p:cNvSpPr txBox="1"/>
            <p:nvPr/>
          </p:nvSpPr>
          <p:spPr>
            <a:xfrm>
              <a:off x="3844127" y="4573290"/>
              <a:ext cx="1314462" cy="276999"/>
            </a:xfrm>
            <a:prstGeom prst="rect">
              <a:avLst/>
            </a:prstGeom>
            <a:noFill/>
          </p:spPr>
          <p:txBody>
            <a:bodyPr wrap="none" lIns="0" tIns="0" rIns="0" bIns="0" rtlCol="0">
              <a:spAutoFit/>
            </a:bodyPr>
            <a:lstStyle/>
            <a:p>
              <a:pPr marL="0" marR="0" lvl="0" indent="0" algn="ctr" defTabSz="3868600"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0">
                        <a:srgbClr val="7858FF"/>
                      </a:gs>
                      <a:gs pos="100000">
                        <a:srgbClr val="7858FF"/>
                      </a:gs>
                    </a:gsLst>
                    <a:lin ang="0" scaled="1"/>
                  </a:gradFill>
                  <a:effectLst/>
                  <a:uLnTx/>
                  <a:uFillTx/>
                  <a:latin typeface="72 Brand"/>
                  <a:ea typeface="+mn-ea"/>
                  <a:cs typeface="+mn-cs"/>
                </a:rPr>
                <a:t>Real-time procurement</a:t>
              </a:r>
              <a:br>
                <a:rPr kumimoji="0" lang="en-US" sz="1000" b="0" i="0" u="none" strike="noStrike" kern="0" cap="none" spc="0" normalizeH="0" baseline="0" noProof="0">
                  <a:ln>
                    <a:noFill/>
                  </a:ln>
                  <a:gradFill>
                    <a:gsLst>
                      <a:gs pos="0">
                        <a:srgbClr val="7858FF"/>
                      </a:gs>
                      <a:gs pos="100000">
                        <a:srgbClr val="7858FF"/>
                      </a:gs>
                    </a:gsLst>
                    <a:lin ang="0" scaled="1"/>
                  </a:gradFill>
                  <a:effectLst/>
                  <a:uLnTx/>
                  <a:uFillTx/>
                  <a:latin typeface="72 Brand"/>
                  <a:ea typeface="+mn-ea"/>
                  <a:cs typeface="+mn-cs"/>
                </a:rPr>
              </a:br>
              <a:r>
                <a:rPr kumimoji="0" lang="en-US" sz="1000" b="0" i="0" u="none" strike="noStrike" kern="0" cap="none" spc="0" normalizeH="0" baseline="0" noProof="0">
                  <a:ln>
                    <a:noFill/>
                  </a:ln>
                  <a:gradFill>
                    <a:gsLst>
                      <a:gs pos="0">
                        <a:srgbClr val="7858FF"/>
                      </a:gs>
                      <a:gs pos="100000">
                        <a:srgbClr val="7858FF"/>
                      </a:gs>
                    </a:gsLst>
                    <a:lin ang="0" scaled="1"/>
                  </a:gradFill>
                  <a:effectLst/>
                  <a:uLnTx/>
                  <a:uFillTx/>
                  <a:latin typeface="72 Brand"/>
                  <a:ea typeface="+mn-ea"/>
                  <a:cs typeface="+mn-cs"/>
                </a:rPr>
                <a:t>demand</a:t>
              </a:r>
            </a:p>
          </p:txBody>
        </p:sp>
        <p:sp>
          <p:nvSpPr>
            <p:cNvPr id="43" name="TextBox 42">
              <a:extLst>
                <a:ext uri="{FF2B5EF4-FFF2-40B4-BE49-F238E27FC236}">
                  <a16:creationId xmlns:a16="http://schemas.microsoft.com/office/drawing/2014/main" id="{EFCC806B-A6FB-575E-C6EA-208A4E1BF4E6}"/>
                </a:ext>
              </a:extLst>
            </p:cNvPr>
            <p:cNvSpPr txBox="1"/>
            <p:nvPr/>
          </p:nvSpPr>
          <p:spPr>
            <a:xfrm>
              <a:off x="4127860" y="5305522"/>
              <a:ext cx="746999" cy="276999"/>
            </a:xfrm>
            <a:prstGeom prst="rect">
              <a:avLst/>
            </a:prstGeom>
            <a:noFill/>
          </p:spPr>
          <p:txBody>
            <a:bodyPr wrap="none" lIns="0" tIns="0" rIns="0" bIns="0" rtlCol="0">
              <a:spAutoFit/>
            </a:bodyPr>
            <a:lstStyle/>
            <a:p>
              <a:pPr marL="0" marR="0" lvl="0" indent="0" algn="ctr" defTabSz="3868600"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0">
                        <a:srgbClr val="7858FF"/>
                      </a:gs>
                      <a:gs pos="100000">
                        <a:srgbClr val="7858FF"/>
                      </a:gs>
                    </a:gsLst>
                    <a:lin ang="0" scaled="1"/>
                  </a:gradFill>
                  <a:effectLst/>
                  <a:uLnTx/>
                  <a:uFillTx/>
                  <a:latin typeface="72 Brand"/>
                  <a:ea typeface="+mn-ea"/>
                  <a:cs typeface="+mn-cs"/>
                </a:rPr>
                <a:t>Select </a:t>
              </a:r>
              <a:br>
                <a:rPr kumimoji="0" lang="en-US" sz="1000" b="0" i="0" u="none" strike="noStrike" kern="0" cap="none" spc="0" normalizeH="0" baseline="0" noProof="0">
                  <a:ln>
                    <a:noFill/>
                  </a:ln>
                  <a:gradFill>
                    <a:gsLst>
                      <a:gs pos="0">
                        <a:srgbClr val="7858FF"/>
                      </a:gs>
                      <a:gs pos="100000">
                        <a:srgbClr val="7858FF"/>
                      </a:gs>
                    </a:gsLst>
                    <a:lin ang="0" scaled="1"/>
                  </a:gradFill>
                  <a:effectLst/>
                  <a:uLnTx/>
                  <a:uFillTx/>
                  <a:latin typeface="72 Brand"/>
                  <a:ea typeface="+mn-ea"/>
                  <a:cs typeface="+mn-cs"/>
                </a:rPr>
              </a:br>
              <a:r>
                <a:rPr kumimoji="0" lang="en-US" sz="1000" b="0" i="0" u="none" strike="noStrike" kern="0" cap="none" spc="0" normalizeH="0" baseline="0" noProof="0">
                  <a:ln>
                    <a:noFill/>
                  </a:ln>
                  <a:gradFill>
                    <a:gsLst>
                      <a:gs pos="0">
                        <a:srgbClr val="7858FF"/>
                      </a:gs>
                      <a:gs pos="100000">
                        <a:srgbClr val="7858FF"/>
                      </a:gs>
                    </a:gsLst>
                    <a:lin ang="0" scaled="1"/>
                  </a:gradFill>
                  <a:effectLst/>
                  <a:uLnTx/>
                  <a:uFillTx/>
                  <a:latin typeface="72 Brand"/>
                  <a:ea typeface="+mn-ea"/>
                  <a:cs typeface="+mn-cs"/>
                </a:rPr>
                <a:t>best supplier</a:t>
              </a:r>
            </a:p>
          </p:txBody>
        </p:sp>
        <p:sp>
          <p:nvSpPr>
            <p:cNvPr id="44" name="TextBox 43">
              <a:extLst>
                <a:ext uri="{FF2B5EF4-FFF2-40B4-BE49-F238E27FC236}">
                  <a16:creationId xmlns:a16="http://schemas.microsoft.com/office/drawing/2014/main" id="{522D09A0-D79D-271C-870C-59BF215DB547}"/>
                </a:ext>
              </a:extLst>
            </p:cNvPr>
            <p:cNvSpPr txBox="1"/>
            <p:nvPr/>
          </p:nvSpPr>
          <p:spPr>
            <a:xfrm>
              <a:off x="2221114" y="5326335"/>
              <a:ext cx="1006686" cy="276999"/>
            </a:xfrm>
            <a:prstGeom prst="rect">
              <a:avLst/>
            </a:prstGeom>
            <a:noFill/>
          </p:spPr>
          <p:txBody>
            <a:bodyPr wrap="none" lIns="0" tIns="0" rIns="0" bIns="0" rtlCol="0">
              <a:spAutoFit/>
            </a:bodyPr>
            <a:lstStyle/>
            <a:p>
              <a:pPr marL="0" marR="0" lvl="0" indent="0" algn="ctr" defTabSz="3868600"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0">
                        <a:srgbClr val="7858FF"/>
                      </a:gs>
                      <a:gs pos="100000">
                        <a:srgbClr val="7858FF"/>
                      </a:gs>
                    </a:gsLst>
                    <a:lin ang="0" scaled="1"/>
                  </a:gradFill>
                  <a:effectLst/>
                  <a:uLnTx/>
                  <a:uFillTx/>
                  <a:latin typeface="72 Brand"/>
                  <a:ea typeface="+mn-ea"/>
                  <a:cs typeface="+mn-cs"/>
                </a:rPr>
                <a:t>Manage inventory</a:t>
              </a:r>
              <a:br>
                <a:rPr kumimoji="0" lang="en-US" sz="1000" b="0" i="0" u="none" strike="noStrike" kern="0" cap="none" spc="0" normalizeH="0" baseline="0" noProof="0">
                  <a:ln>
                    <a:noFill/>
                  </a:ln>
                  <a:gradFill>
                    <a:gsLst>
                      <a:gs pos="0">
                        <a:srgbClr val="7858FF"/>
                      </a:gs>
                      <a:gs pos="100000">
                        <a:srgbClr val="7858FF"/>
                      </a:gs>
                    </a:gsLst>
                    <a:lin ang="0" scaled="1"/>
                  </a:gradFill>
                  <a:effectLst/>
                  <a:uLnTx/>
                  <a:uFillTx/>
                  <a:latin typeface="72 Brand"/>
                  <a:ea typeface="+mn-ea"/>
                  <a:cs typeface="+mn-cs"/>
                </a:rPr>
              </a:br>
              <a:r>
                <a:rPr kumimoji="0" lang="en-US" sz="1000" b="0" i="0" u="none" strike="noStrike" kern="0" cap="none" spc="0" normalizeH="0" baseline="0" noProof="0">
                  <a:ln>
                    <a:noFill/>
                  </a:ln>
                  <a:gradFill>
                    <a:gsLst>
                      <a:gs pos="0">
                        <a:srgbClr val="7858FF"/>
                      </a:gs>
                      <a:gs pos="100000">
                        <a:srgbClr val="7858FF"/>
                      </a:gs>
                    </a:gsLst>
                    <a:lin ang="0" scaled="1"/>
                  </a:gradFill>
                  <a:effectLst/>
                  <a:uLnTx/>
                  <a:uFillTx/>
                  <a:latin typeface="72 Brand"/>
                  <a:ea typeface="+mn-ea"/>
                  <a:cs typeface="+mn-cs"/>
                </a:rPr>
                <a:t>to ship on time</a:t>
              </a:r>
            </a:p>
          </p:txBody>
        </p:sp>
        <p:sp>
          <p:nvSpPr>
            <p:cNvPr id="45" name="TextBox 44">
              <a:extLst>
                <a:ext uri="{FF2B5EF4-FFF2-40B4-BE49-F238E27FC236}">
                  <a16:creationId xmlns:a16="http://schemas.microsoft.com/office/drawing/2014/main" id="{064FD027-6ED5-BE8A-90CB-1B6E036BBEF3}"/>
                </a:ext>
              </a:extLst>
            </p:cNvPr>
            <p:cNvSpPr txBox="1"/>
            <p:nvPr/>
          </p:nvSpPr>
          <p:spPr>
            <a:xfrm>
              <a:off x="1753616" y="5084133"/>
              <a:ext cx="333426" cy="276999"/>
            </a:xfrm>
            <a:prstGeom prst="rect">
              <a:avLst/>
            </a:prstGeom>
            <a:noFill/>
          </p:spPr>
          <p:txBody>
            <a:bodyPr wrap="none" lIns="0" tIns="0" rIns="0" bIns="0" rtlCol="0">
              <a:spAutoFit/>
            </a:bodyPr>
            <a:lstStyle/>
            <a:p>
              <a:pPr marL="0" marR="0" lvl="0" indent="0" algn="ctr" defTabSz="3868600"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32967">
                        <a:srgbClr val="000000"/>
                      </a:gs>
                      <a:gs pos="63000">
                        <a:srgbClr val="000000"/>
                      </a:gs>
                    </a:gsLst>
                    <a:lin ang="10800000" scaled="1"/>
                  </a:gradFill>
                  <a:effectLst/>
                  <a:uLnTx/>
                  <a:uFillTx/>
                  <a:latin typeface="72 Brand Book" panose="020B0404030603020204" pitchFamily="34" charset="0"/>
                  <a:ea typeface="+mn-ea"/>
                  <a:cs typeface="+mn-cs"/>
                </a:rPr>
                <a:t>Sales</a:t>
              </a:r>
              <a:br>
                <a:rPr kumimoji="0" lang="en-US" sz="1000" b="0" i="0" u="none" strike="noStrike" kern="0" cap="none" spc="0" normalizeH="0" baseline="0" noProof="0">
                  <a:ln>
                    <a:noFill/>
                  </a:ln>
                  <a:gradFill>
                    <a:gsLst>
                      <a:gs pos="32967">
                        <a:srgbClr val="000000"/>
                      </a:gs>
                      <a:gs pos="63000">
                        <a:srgbClr val="000000"/>
                      </a:gs>
                    </a:gsLst>
                    <a:lin ang="10800000" scaled="1"/>
                  </a:gradFill>
                  <a:effectLst/>
                  <a:uLnTx/>
                  <a:uFillTx/>
                  <a:latin typeface="72 Brand Book" panose="020B0404030603020204" pitchFamily="34" charset="0"/>
                  <a:ea typeface="+mn-ea"/>
                  <a:cs typeface="+mn-cs"/>
                </a:rPr>
              </a:br>
              <a:r>
                <a:rPr kumimoji="0" lang="en-US" sz="1000" b="0" i="0" u="none" strike="noStrike" kern="0" cap="none" spc="0" normalizeH="0" baseline="0" noProof="0">
                  <a:ln>
                    <a:noFill/>
                  </a:ln>
                  <a:gradFill>
                    <a:gsLst>
                      <a:gs pos="32967">
                        <a:srgbClr val="000000"/>
                      </a:gs>
                      <a:gs pos="63000">
                        <a:srgbClr val="000000"/>
                      </a:gs>
                    </a:gsLst>
                    <a:lin ang="10800000" scaled="1"/>
                  </a:gradFill>
                  <a:effectLst/>
                  <a:uLnTx/>
                  <a:uFillTx/>
                  <a:latin typeface="72 Brand Medium" panose="020B0504030603020204" pitchFamily="34" charset="0"/>
                  <a:ea typeface="+mn-ea"/>
                  <a:cs typeface="+mn-cs"/>
                </a:rPr>
                <a:t>agent</a:t>
              </a:r>
            </a:p>
          </p:txBody>
        </p:sp>
        <p:sp>
          <p:nvSpPr>
            <p:cNvPr id="53" name="TextBox 52">
              <a:extLst>
                <a:ext uri="{FF2B5EF4-FFF2-40B4-BE49-F238E27FC236}">
                  <a16:creationId xmlns:a16="http://schemas.microsoft.com/office/drawing/2014/main" id="{ECE687DC-1389-B1AE-B78E-46919A17E5FC}"/>
                </a:ext>
              </a:extLst>
            </p:cNvPr>
            <p:cNvSpPr txBox="1"/>
            <p:nvPr/>
          </p:nvSpPr>
          <p:spPr>
            <a:xfrm>
              <a:off x="3272625" y="5084133"/>
              <a:ext cx="716543" cy="276999"/>
            </a:xfrm>
            <a:prstGeom prst="rect">
              <a:avLst/>
            </a:prstGeom>
            <a:noFill/>
          </p:spPr>
          <p:txBody>
            <a:bodyPr wrap="none" lIns="0" tIns="0" rIns="0" bIns="0" rtlCol="0">
              <a:spAutoFit/>
            </a:bodyPr>
            <a:lstStyle/>
            <a:p>
              <a:pPr marL="0" marR="0" lvl="0" indent="0" algn="ctr" defTabSz="3868600"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32967">
                        <a:srgbClr val="000000"/>
                      </a:gs>
                      <a:gs pos="63000">
                        <a:srgbClr val="000000"/>
                      </a:gs>
                    </a:gsLst>
                    <a:lin ang="10800000" scaled="1"/>
                  </a:gradFill>
                  <a:effectLst/>
                  <a:uLnTx/>
                  <a:uFillTx/>
                  <a:latin typeface="72 Brand Book" panose="020B0404030603020204" pitchFamily="34" charset="0"/>
                  <a:ea typeface="+mn-ea"/>
                  <a:cs typeface="+mn-cs"/>
                </a:rPr>
                <a:t>Supply chain</a:t>
              </a:r>
              <a:br>
                <a:rPr kumimoji="0" lang="en-US" sz="1000" b="0" i="0" u="none" strike="noStrike" kern="0" cap="none" spc="0" normalizeH="0" baseline="0" noProof="0">
                  <a:ln>
                    <a:noFill/>
                  </a:ln>
                  <a:gradFill>
                    <a:gsLst>
                      <a:gs pos="32967">
                        <a:srgbClr val="000000"/>
                      </a:gs>
                      <a:gs pos="63000">
                        <a:srgbClr val="000000"/>
                      </a:gs>
                    </a:gsLst>
                    <a:lin ang="10800000" scaled="1"/>
                  </a:gradFill>
                  <a:effectLst/>
                  <a:uLnTx/>
                  <a:uFillTx/>
                  <a:latin typeface="72 Brand Book" panose="020B0404030603020204" pitchFamily="34" charset="0"/>
                  <a:ea typeface="+mn-ea"/>
                  <a:cs typeface="+mn-cs"/>
                </a:rPr>
              </a:br>
              <a:r>
                <a:rPr kumimoji="0" lang="en-US" sz="1000" b="0" i="0" u="none" strike="noStrike" kern="0" cap="none" spc="0" normalizeH="0" baseline="0" noProof="0">
                  <a:ln>
                    <a:noFill/>
                  </a:ln>
                  <a:gradFill>
                    <a:gsLst>
                      <a:gs pos="32967">
                        <a:srgbClr val="000000"/>
                      </a:gs>
                      <a:gs pos="63000">
                        <a:srgbClr val="000000"/>
                      </a:gs>
                    </a:gsLst>
                    <a:lin ang="10800000" scaled="1"/>
                  </a:gradFill>
                  <a:effectLst/>
                  <a:uLnTx/>
                  <a:uFillTx/>
                  <a:latin typeface="72 Brand Medium" panose="020B0504030603020204" pitchFamily="34" charset="0"/>
                  <a:ea typeface="+mn-ea"/>
                  <a:cs typeface="+mn-cs"/>
                </a:rPr>
                <a:t>agent</a:t>
              </a:r>
            </a:p>
          </p:txBody>
        </p:sp>
        <p:sp>
          <p:nvSpPr>
            <p:cNvPr id="54" name="TextBox 53">
              <a:extLst>
                <a:ext uri="{FF2B5EF4-FFF2-40B4-BE49-F238E27FC236}">
                  <a16:creationId xmlns:a16="http://schemas.microsoft.com/office/drawing/2014/main" id="{2DE00BB9-1598-90B8-6D3E-E6E8E72AB3A9}"/>
                </a:ext>
              </a:extLst>
            </p:cNvPr>
            <p:cNvSpPr txBox="1"/>
            <p:nvPr/>
          </p:nvSpPr>
          <p:spPr>
            <a:xfrm>
              <a:off x="4980789" y="5084133"/>
              <a:ext cx="721352" cy="276999"/>
            </a:xfrm>
            <a:prstGeom prst="rect">
              <a:avLst/>
            </a:prstGeom>
            <a:noFill/>
          </p:spPr>
          <p:txBody>
            <a:bodyPr wrap="none" lIns="0" tIns="0" rIns="0" bIns="0" rtlCol="0">
              <a:spAutoFit/>
            </a:bodyPr>
            <a:lstStyle/>
            <a:p>
              <a:pPr marL="0" marR="0" lvl="0" indent="0" algn="ctr" defTabSz="3868600"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32967">
                        <a:srgbClr val="000000"/>
                      </a:gs>
                      <a:gs pos="63000">
                        <a:srgbClr val="000000"/>
                      </a:gs>
                    </a:gsLst>
                    <a:lin ang="10800000" scaled="1"/>
                  </a:gradFill>
                  <a:effectLst/>
                  <a:uLnTx/>
                  <a:uFillTx/>
                  <a:latin typeface="72 Brand Book" panose="020B0404030603020204" pitchFamily="34" charset="0"/>
                  <a:ea typeface="+mn-ea"/>
                  <a:cs typeface="+mn-cs"/>
                </a:rPr>
                <a:t>Procurement</a:t>
              </a:r>
              <a:br>
                <a:rPr kumimoji="0" lang="en-US" sz="1000" b="0" i="0" u="none" strike="noStrike" kern="0" cap="none" spc="0" normalizeH="0" baseline="0" noProof="0">
                  <a:ln>
                    <a:noFill/>
                  </a:ln>
                  <a:gradFill>
                    <a:gsLst>
                      <a:gs pos="32967">
                        <a:srgbClr val="000000"/>
                      </a:gs>
                      <a:gs pos="63000">
                        <a:srgbClr val="000000"/>
                      </a:gs>
                    </a:gsLst>
                    <a:lin ang="10800000" scaled="1"/>
                  </a:gradFill>
                  <a:effectLst/>
                  <a:uLnTx/>
                  <a:uFillTx/>
                  <a:latin typeface="72 Brand Book" panose="020B0404030603020204" pitchFamily="34" charset="0"/>
                  <a:ea typeface="+mn-ea"/>
                  <a:cs typeface="+mn-cs"/>
                </a:rPr>
              </a:br>
              <a:r>
                <a:rPr kumimoji="0" lang="en-US" sz="1000" b="0" i="0" u="none" strike="noStrike" kern="0" cap="none" spc="0" normalizeH="0" baseline="0" noProof="0">
                  <a:ln>
                    <a:noFill/>
                  </a:ln>
                  <a:gradFill>
                    <a:gsLst>
                      <a:gs pos="32967">
                        <a:srgbClr val="000000"/>
                      </a:gs>
                      <a:gs pos="63000">
                        <a:srgbClr val="000000"/>
                      </a:gs>
                    </a:gsLst>
                    <a:lin ang="10800000" scaled="1"/>
                  </a:gradFill>
                  <a:effectLst/>
                  <a:uLnTx/>
                  <a:uFillTx/>
                  <a:latin typeface="72 Brand Medium" panose="020B0504030603020204" pitchFamily="34" charset="0"/>
                  <a:ea typeface="+mn-ea"/>
                  <a:cs typeface="+mn-cs"/>
                </a:rPr>
                <a:t>agent</a:t>
              </a:r>
            </a:p>
          </p:txBody>
        </p:sp>
        <p:grpSp>
          <p:nvGrpSpPr>
            <p:cNvPr id="55" name="Group 54">
              <a:extLst>
                <a:ext uri="{FF2B5EF4-FFF2-40B4-BE49-F238E27FC236}">
                  <a16:creationId xmlns:a16="http://schemas.microsoft.com/office/drawing/2014/main" id="{D899340E-B41F-8C04-B7D0-5B65DD84D332}"/>
                </a:ext>
              </a:extLst>
            </p:cNvPr>
            <p:cNvGrpSpPr/>
            <p:nvPr/>
          </p:nvGrpSpPr>
          <p:grpSpPr>
            <a:xfrm>
              <a:off x="2393845" y="4998681"/>
              <a:ext cx="665976" cy="48002"/>
              <a:chOff x="11127939" y="7510099"/>
              <a:chExt cx="3566010" cy="257029"/>
            </a:xfrm>
          </p:grpSpPr>
          <p:sp>
            <p:nvSpPr>
              <p:cNvPr id="1906" name="Rectangle 157">
                <a:extLst>
                  <a:ext uri="{FF2B5EF4-FFF2-40B4-BE49-F238E27FC236}">
                    <a16:creationId xmlns:a16="http://schemas.microsoft.com/office/drawing/2014/main" id="{BEAB113F-B97F-7170-1966-A857B6B53D2A}"/>
                  </a:ext>
                </a:extLst>
              </p:cNvPr>
              <p:cNvSpPr/>
              <p:nvPr/>
            </p:nvSpPr>
            <p:spPr bwMode="gray">
              <a:xfrm rot="18849954">
                <a:off x="14409804" y="7510822"/>
                <a:ext cx="257029" cy="255584"/>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6350" cap="rnd" cmpd="sng" algn="ctr">
                <a:solidFill>
                  <a:srgbClr val="7858FF"/>
                </a:solidFill>
                <a:prstDash val="solid"/>
                <a:round/>
                <a:headEnd type="none" w="med" len="med"/>
                <a:tailEnd type="none" w="med" len="med"/>
              </a:ln>
            </p:spPr>
            <p:txBody>
              <a:bodyPr lIns="49365" tIns="39492" rIns="49365" bIns="39492" rtlCol="0" anchor="t"/>
              <a:lstStyle/>
              <a:p>
                <a:pPr marL="0" marR="0" lvl="0" indent="0" algn="l"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a:ln>
                    <a:noFill/>
                  </a:ln>
                  <a:solidFill>
                    <a:srgbClr val="000000"/>
                  </a:solidFill>
                  <a:effectLst/>
                  <a:uLnTx/>
                  <a:uFillTx/>
                  <a:latin typeface="72 Brand"/>
                  <a:ea typeface="+mn-ea"/>
                  <a:cs typeface="+mn-cs"/>
                </a:endParaRPr>
              </a:p>
            </p:txBody>
          </p:sp>
          <p:cxnSp>
            <p:nvCxnSpPr>
              <p:cNvPr id="1907" name="Straight Connector 1906">
                <a:extLst>
                  <a:ext uri="{FF2B5EF4-FFF2-40B4-BE49-F238E27FC236}">
                    <a16:creationId xmlns:a16="http://schemas.microsoft.com/office/drawing/2014/main" id="{330CABDA-529F-2A71-7525-40AB3C5D0C88}"/>
                  </a:ext>
                </a:extLst>
              </p:cNvPr>
              <p:cNvCxnSpPr>
                <a:cxnSpLocks/>
              </p:cNvCxnSpPr>
              <p:nvPr/>
            </p:nvCxnSpPr>
            <p:spPr>
              <a:xfrm>
                <a:off x="11127939" y="7637435"/>
                <a:ext cx="3566010" cy="0"/>
              </a:xfrm>
              <a:prstGeom prst="line">
                <a:avLst/>
              </a:prstGeom>
              <a:ln w="6350" cap="flat" cmpd="sng" algn="ctr">
                <a:gradFill flip="none" rotWithShape="1">
                  <a:gsLst>
                    <a:gs pos="63000">
                      <a:srgbClr val="7858FF"/>
                    </a:gs>
                    <a:gs pos="100000">
                      <a:srgbClr val="B894FF">
                        <a:alpha val="0"/>
                      </a:srgbClr>
                    </a:gs>
                  </a:gsLst>
                  <a:lin ang="10800000" scaled="1"/>
                  <a:tileRect/>
                </a:gradFill>
                <a:prstDash val="solid"/>
                <a:round/>
                <a:headEnd type="none" w="med" len="med"/>
                <a:tailEnd type="none" w="lg" len="med"/>
              </a:ln>
            </p:spPr>
            <p:style>
              <a:lnRef idx="1">
                <a:schemeClr val="accent1"/>
              </a:lnRef>
              <a:fillRef idx="0">
                <a:schemeClr val="accent1"/>
              </a:fillRef>
              <a:effectRef idx="0">
                <a:schemeClr val="accent1"/>
              </a:effectRef>
              <a:fontRef idx="minor">
                <a:schemeClr val="tx1"/>
              </a:fontRef>
            </p:style>
          </p:cxnSp>
        </p:grpSp>
        <p:sp>
          <p:nvSpPr>
            <p:cNvPr id="56" name="TextBox 55">
              <a:extLst>
                <a:ext uri="{FF2B5EF4-FFF2-40B4-BE49-F238E27FC236}">
                  <a16:creationId xmlns:a16="http://schemas.microsoft.com/office/drawing/2014/main" id="{47C1AFCE-481E-CB51-AED9-829A984F8986}"/>
                </a:ext>
              </a:extLst>
            </p:cNvPr>
            <p:cNvSpPr txBox="1"/>
            <p:nvPr/>
          </p:nvSpPr>
          <p:spPr>
            <a:xfrm>
              <a:off x="6747261" y="3571827"/>
              <a:ext cx="3596690" cy="240373"/>
            </a:xfrm>
            <a:prstGeom prst="rect">
              <a:avLst/>
            </a:prstGeom>
            <a:noFill/>
          </p:spPr>
          <p:txBody>
            <a:bodyPr wrap="square" lIns="24689" tIns="12344" rIns="24689" bIns="12344">
              <a:spAutoFit/>
            </a:bodyPr>
            <a:lstStyle/>
            <a:p>
              <a:pPr marL="0" marR="0" lvl="0" indent="0" algn="ctr" defTabSz="390141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32967">
                        <a:srgbClr val="000000"/>
                      </a:gs>
                      <a:gs pos="63000">
                        <a:srgbClr val="000000"/>
                      </a:gs>
                    </a:gsLst>
                  </a:gradFill>
                  <a:effectLst/>
                  <a:uLnTx/>
                  <a:uFillTx/>
                  <a:latin typeface="72 Brand Medium"/>
                  <a:ea typeface="72 Brand" pitchFamily="34" charset="-128"/>
                  <a:cs typeface="72 Brand" pitchFamily="34" charset="-128"/>
                </a:rPr>
                <a:t>Joule will run complex analytical scenarios</a:t>
              </a:r>
              <a:endParaRPr kumimoji="0" lang="en-US" sz="1400" b="0" i="0" u="none" strike="noStrike" kern="1200" cap="none" spc="0" normalizeH="0" baseline="0" noProof="0">
                <a:ln>
                  <a:noFill/>
                </a:ln>
                <a:gradFill>
                  <a:gsLst>
                    <a:gs pos="32967">
                      <a:srgbClr val="000000"/>
                    </a:gs>
                    <a:gs pos="63000">
                      <a:srgbClr val="000000"/>
                    </a:gs>
                  </a:gsLst>
                </a:gradFill>
                <a:effectLst/>
                <a:uLnTx/>
                <a:uFillTx/>
                <a:latin typeface="Arial"/>
                <a:ea typeface="+mn-ea"/>
                <a:cs typeface="+mn-cs"/>
              </a:endParaRPr>
            </a:p>
          </p:txBody>
        </p:sp>
        <p:sp>
          <p:nvSpPr>
            <p:cNvPr id="57" name="TextBox 56">
              <a:extLst>
                <a:ext uri="{FF2B5EF4-FFF2-40B4-BE49-F238E27FC236}">
                  <a16:creationId xmlns:a16="http://schemas.microsoft.com/office/drawing/2014/main" id="{32F7DD99-163F-3D8F-2CDC-75406044CD04}"/>
                </a:ext>
              </a:extLst>
            </p:cNvPr>
            <p:cNvSpPr txBox="1"/>
            <p:nvPr/>
          </p:nvSpPr>
          <p:spPr>
            <a:xfrm>
              <a:off x="6563760" y="3868325"/>
              <a:ext cx="3963691" cy="138499"/>
            </a:xfrm>
            <a:prstGeom prst="rect">
              <a:avLst/>
            </a:prstGeom>
            <a:noFill/>
          </p:spPr>
          <p:txBody>
            <a:bodyPr wrap="square" lIns="0" tIns="0" rIns="0" bIns="0" rtlCol="0">
              <a:spAutoFit/>
            </a:bodyPr>
            <a:lstStyle/>
            <a:p>
              <a:pPr marL="0" marR="0" lvl="0" indent="0" algn="ctr" defTabSz="3868600" rtl="0" eaLnBrk="1" fontAlgn="base" latinLnBrk="0" hangingPunct="1">
                <a:lnSpc>
                  <a:spcPct val="90000"/>
                </a:lnSpc>
                <a:spcBef>
                  <a:spcPts val="0"/>
                </a:spcBef>
                <a:spcAft>
                  <a:spcPct val="0"/>
                </a:spcAft>
                <a:buClr>
                  <a:srgbClr val="000000"/>
                </a:buClr>
                <a:buSzPct val="100000"/>
                <a:buFontTx/>
                <a:buNone/>
                <a:tabLst/>
                <a:defRPr/>
              </a:pPr>
              <a:r>
                <a:rPr kumimoji="0" lang="en-GB" sz="1000" b="0" i="0" u="none" strike="noStrike" kern="1200" cap="none" spc="0" normalizeH="0" baseline="0" noProof="0">
                  <a:ln>
                    <a:noFill/>
                  </a:ln>
                  <a:gradFill>
                    <a:gsLst>
                      <a:gs pos="32967">
                        <a:srgbClr val="000000"/>
                      </a:gs>
                      <a:gs pos="63000">
                        <a:srgbClr val="000000"/>
                      </a:gs>
                    </a:gsLst>
                  </a:gradFill>
                  <a:effectLst/>
                  <a:uLnTx/>
                  <a:uFillTx/>
                  <a:latin typeface="72 Brand"/>
                  <a:ea typeface="+mn-ea"/>
                  <a:cs typeface="72"/>
                </a:rPr>
                <a:t>e.g., real-time financial steering and decision making</a:t>
              </a:r>
              <a:endParaRPr kumimoji="0" lang="en-US" sz="1000" b="0" i="0" u="none" strike="noStrike" kern="1200" cap="none" spc="0" normalizeH="0" baseline="0" noProof="0">
                <a:ln>
                  <a:noFill/>
                </a:ln>
                <a:gradFill>
                  <a:gsLst>
                    <a:gs pos="32967">
                      <a:srgbClr val="000000"/>
                    </a:gs>
                    <a:gs pos="63000">
                      <a:srgbClr val="000000"/>
                    </a:gs>
                  </a:gsLst>
                </a:gradFill>
                <a:effectLst/>
                <a:uLnTx/>
                <a:uFillTx/>
                <a:latin typeface="72 Brand"/>
                <a:ea typeface="+mn-ea"/>
                <a:cs typeface="72"/>
              </a:endParaRPr>
            </a:p>
          </p:txBody>
        </p:sp>
        <p:sp>
          <p:nvSpPr>
            <p:cNvPr id="58" name="Rectangle: Rounded Corners 7">
              <a:extLst>
                <a:ext uri="{FF2B5EF4-FFF2-40B4-BE49-F238E27FC236}">
                  <a16:creationId xmlns:a16="http://schemas.microsoft.com/office/drawing/2014/main" id="{B3FDBD9F-6DB1-1E87-373B-42463343929B}"/>
                </a:ext>
              </a:extLst>
            </p:cNvPr>
            <p:cNvSpPr/>
            <p:nvPr/>
          </p:nvSpPr>
          <p:spPr bwMode="gray">
            <a:xfrm>
              <a:off x="6326002" y="4321025"/>
              <a:ext cx="4439208" cy="1395902"/>
            </a:xfrm>
            <a:prstGeom prst="roundRect">
              <a:avLst>
                <a:gd name="adj" fmla="val 6828"/>
              </a:avLst>
            </a:prstGeom>
            <a:gradFill>
              <a:gsLst>
                <a:gs pos="0">
                  <a:srgbClr val="0070F2">
                    <a:alpha val="91907"/>
                  </a:srgbClr>
                </a:gs>
                <a:gs pos="99000">
                  <a:srgbClr val="0070F2">
                    <a:alpha val="64021"/>
                  </a:srgbClr>
                </a:gs>
              </a:gsLst>
              <a:lin ang="2700000" scaled="1"/>
            </a:gradFill>
            <a:ln w="4287" cap="flat">
              <a:noFill/>
              <a:prstDash val="solid"/>
              <a:miter/>
            </a:ln>
          </p:spPr>
          <p:txBody>
            <a:bodyPr lIns="24689" tIns="12344" rIns="24689" bIns="12344" rtlCol="0" anchor="ctr"/>
            <a:lstStyle/>
            <a:p>
              <a:pPr marL="0" marR="0" lvl="0" indent="0" algn="l" defTabSz="3866282" rtl="0" eaLnBrk="1" fontAlgn="auto" latinLnBrk="0" hangingPunct="1">
                <a:lnSpc>
                  <a:spcPct val="100000"/>
                </a:lnSpc>
                <a:spcBef>
                  <a:spcPts val="0"/>
                </a:spcBef>
                <a:spcAft>
                  <a:spcPts val="0"/>
                </a:spcAft>
                <a:buClrTx/>
                <a:buSzTx/>
                <a:buFontTx/>
                <a:buNone/>
                <a:tabLst/>
                <a:defRPr/>
              </a:pPr>
              <a:endParaRPr kumimoji="0" lang="en-US" sz="7111"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2" name="TextBox 61">
              <a:extLst>
                <a:ext uri="{FF2B5EF4-FFF2-40B4-BE49-F238E27FC236}">
                  <a16:creationId xmlns:a16="http://schemas.microsoft.com/office/drawing/2014/main" id="{C416D12C-CF22-0634-473E-907F17C27F9D}"/>
                </a:ext>
              </a:extLst>
            </p:cNvPr>
            <p:cNvSpPr txBox="1"/>
            <p:nvPr/>
          </p:nvSpPr>
          <p:spPr>
            <a:xfrm>
              <a:off x="9812541" y="4465086"/>
              <a:ext cx="894508" cy="276999"/>
            </a:xfrm>
            <a:prstGeom prst="rect">
              <a:avLst/>
            </a:prstGeom>
            <a:noFill/>
          </p:spPr>
          <p:txBody>
            <a:bodyPr wrap="square" lIns="0" tIns="0" rIns="0" bIns="0" rtlCol="0" anchor="ctr">
              <a:spAutoFit/>
            </a:bodyPr>
            <a:lstStyle/>
            <a:p>
              <a:pPr marL="0" marR="0" lvl="0" indent="0" algn="l" defTabSz="3868600"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t>Inflation</a:t>
              </a:r>
              <a:b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br>
              <a: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t>data</a:t>
              </a:r>
            </a:p>
          </p:txBody>
        </p:sp>
        <p:sp>
          <p:nvSpPr>
            <p:cNvPr id="63" name="TextBox 62">
              <a:extLst>
                <a:ext uri="{FF2B5EF4-FFF2-40B4-BE49-F238E27FC236}">
                  <a16:creationId xmlns:a16="http://schemas.microsoft.com/office/drawing/2014/main" id="{B47397D2-BC6D-B8C3-9CD6-05F1D726611E}"/>
                </a:ext>
              </a:extLst>
            </p:cNvPr>
            <p:cNvSpPr txBox="1"/>
            <p:nvPr/>
          </p:nvSpPr>
          <p:spPr>
            <a:xfrm>
              <a:off x="6527230" y="4465086"/>
              <a:ext cx="894508" cy="276999"/>
            </a:xfrm>
            <a:prstGeom prst="rect">
              <a:avLst/>
            </a:prstGeom>
            <a:noFill/>
          </p:spPr>
          <p:txBody>
            <a:bodyPr wrap="square" lIns="0" tIns="0" rIns="0" bIns="0" rtlCol="0" anchor="ctr">
              <a:spAutoFit/>
            </a:bodyPr>
            <a:lstStyle/>
            <a:p>
              <a:pPr marL="0" marR="0" lvl="0" indent="0" algn="r" defTabSz="3868600"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t>Workforce planning</a:t>
              </a:r>
              <a:endParaRPr kumimoji="0" lang="en-US" sz="1000" b="1"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endParaRPr>
            </a:p>
          </p:txBody>
        </p:sp>
        <p:grpSp>
          <p:nvGrpSpPr>
            <p:cNvPr id="896" name="Group 895">
              <a:extLst>
                <a:ext uri="{FF2B5EF4-FFF2-40B4-BE49-F238E27FC236}">
                  <a16:creationId xmlns:a16="http://schemas.microsoft.com/office/drawing/2014/main" id="{C84C037F-FC9D-8289-2C31-AE22BF6437A7}"/>
                </a:ext>
              </a:extLst>
            </p:cNvPr>
            <p:cNvGrpSpPr/>
            <p:nvPr/>
          </p:nvGrpSpPr>
          <p:grpSpPr>
            <a:xfrm>
              <a:off x="9647816" y="5302370"/>
              <a:ext cx="267069" cy="226038"/>
              <a:chOff x="13085502" y="13932642"/>
              <a:chExt cx="1375110" cy="1163844"/>
            </a:xfrm>
          </p:grpSpPr>
          <p:sp>
            <p:nvSpPr>
              <p:cNvPr id="1904" name="Can 1880">
                <a:extLst>
                  <a:ext uri="{FF2B5EF4-FFF2-40B4-BE49-F238E27FC236}">
                    <a16:creationId xmlns:a16="http://schemas.microsoft.com/office/drawing/2014/main" id="{31428D9B-4271-00D5-0F3E-C6D1C0A62F45}"/>
                  </a:ext>
                </a:extLst>
              </p:cNvPr>
              <p:cNvSpPr/>
              <p:nvPr/>
            </p:nvSpPr>
            <p:spPr bwMode="gray">
              <a:xfrm>
                <a:off x="13085502" y="14269630"/>
                <a:ext cx="832029" cy="826856"/>
              </a:xfrm>
              <a:prstGeom prst="can">
                <a:avLst/>
              </a:prstGeom>
              <a:solidFill>
                <a:srgbClr val="4DB1FF"/>
              </a:solidFill>
              <a:ln w="6858" algn="ctr">
                <a:solidFill>
                  <a:srgbClr val="D1EFFF">
                    <a:alpha val="9781"/>
                  </a:srgbClr>
                </a:solidFill>
                <a:miter lim="800000"/>
                <a:headEnd/>
                <a:tailEnd/>
              </a:ln>
            </p:spPr>
            <p:txBody>
              <a:bodyPr lIns="24300" tIns="19440" rIns="24300" bIns="19440" rtlCol="0" anchor="ctr"/>
              <a:lstStyle/>
              <a:p>
                <a:pPr algn="ctr" fontAlgn="base">
                  <a:spcBef>
                    <a:spcPct val="50000"/>
                  </a:spcBef>
                  <a:spcAft>
                    <a:spcPct val="0"/>
                  </a:spcAft>
                  <a:buClr>
                    <a:srgbClr val="F0AB00"/>
                  </a:buClr>
                  <a:buSzPct val="80000"/>
                </a:pPr>
                <a:endParaRPr lang="en-GB" kern="0">
                  <a:solidFill>
                    <a:srgbClr val="000000"/>
                  </a:solidFill>
                  <a:latin typeface="72 Brand"/>
                </a:endParaRPr>
              </a:p>
            </p:txBody>
          </p:sp>
          <p:sp>
            <p:nvSpPr>
              <p:cNvPr id="1905" name="Can 1881">
                <a:extLst>
                  <a:ext uri="{FF2B5EF4-FFF2-40B4-BE49-F238E27FC236}">
                    <a16:creationId xmlns:a16="http://schemas.microsoft.com/office/drawing/2014/main" id="{F76C3162-DCDB-B361-1104-156B7A58EE1F}"/>
                  </a:ext>
                </a:extLst>
              </p:cNvPr>
              <p:cNvSpPr/>
              <p:nvPr/>
            </p:nvSpPr>
            <p:spPr bwMode="gray">
              <a:xfrm>
                <a:off x="13628583" y="13932642"/>
                <a:ext cx="832029" cy="1163844"/>
              </a:xfrm>
              <a:prstGeom prst="can">
                <a:avLst/>
              </a:prstGeom>
              <a:solidFill>
                <a:srgbClr val="4DB1FF"/>
              </a:solidFill>
              <a:ln w="6858" algn="ctr">
                <a:solidFill>
                  <a:srgbClr val="D1EFFF">
                    <a:alpha val="9781"/>
                  </a:srgbClr>
                </a:solidFill>
                <a:miter lim="800000"/>
                <a:headEnd/>
                <a:tailEnd/>
              </a:ln>
            </p:spPr>
            <p:txBody>
              <a:bodyPr lIns="24300" tIns="19440" rIns="24300" bIns="19440" rtlCol="0" anchor="ctr"/>
              <a:lstStyle/>
              <a:p>
                <a:pPr algn="ctr" fontAlgn="base">
                  <a:spcBef>
                    <a:spcPct val="50000"/>
                  </a:spcBef>
                  <a:spcAft>
                    <a:spcPct val="0"/>
                  </a:spcAft>
                  <a:buClr>
                    <a:srgbClr val="F0AB00"/>
                  </a:buClr>
                  <a:buSzPct val="80000"/>
                </a:pPr>
                <a:endParaRPr lang="en-GB" kern="0">
                  <a:solidFill>
                    <a:srgbClr val="000000"/>
                  </a:solidFill>
                  <a:latin typeface="72 Brand"/>
                </a:endParaRPr>
              </a:p>
            </p:txBody>
          </p:sp>
        </p:grpSp>
        <p:sp>
          <p:nvSpPr>
            <p:cNvPr id="897" name="Oval 896">
              <a:extLst>
                <a:ext uri="{FF2B5EF4-FFF2-40B4-BE49-F238E27FC236}">
                  <a16:creationId xmlns:a16="http://schemas.microsoft.com/office/drawing/2014/main" id="{B1F9FD93-A819-D659-A8A0-7D9DA112D391}"/>
                </a:ext>
              </a:extLst>
            </p:cNvPr>
            <p:cNvSpPr/>
            <p:nvPr/>
          </p:nvSpPr>
          <p:spPr bwMode="gray">
            <a:xfrm>
              <a:off x="9198296" y="4680401"/>
              <a:ext cx="52521" cy="52521"/>
            </a:xfrm>
            <a:prstGeom prst="ellipse">
              <a:avLst/>
            </a:prstGeom>
            <a:solidFill>
              <a:srgbClr val="0070F2"/>
            </a:solidFill>
            <a:ln w="25400" algn="ctr">
              <a:noFill/>
              <a:miter lim="800000"/>
              <a:headEnd/>
              <a:tailEnd/>
            </a:ln>
          </p:spPr>
          <p:txBody>
            <a:bodyPr lIns="175507" tIns="140406" rIns="175507" bIns="140406" rtlCol="0" anchor="t"/>
            <a:lstStyle/>
            <a:p>
              <a:pPr marL="0" marR="0" lvl="0" indent="0" algn="l" defTabSz="3249992" rtl="0" eaLnBrk="1" fontAlgn="base" latinLnBrk="0" hangingPunct="1">
                <a:lnSpc>
                  <a:spcPct val="100000"/>
                </a:lnSpc>
                <a:spcBef>
                  <a:spcPct val="50000"/>
                </a:spcBef>
                <a:spcAft>
                  <a:spcPct val="0"/>
                </a:spcAft>
                <a:buClr>
                  <a:srgbClr val="F0AB00"/>
                </a:buClr>
                <a:buSzPct val="80000"/>
                <a:buFontTx/>
                <a:buNone/>
                <a:tabLst/>
                <a:defRPr/>
              </a:pPr>
              <a:endParaRPr kumimoji="0" lang="en-US" sz="3911"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grpSp>
          <p:nvGrpSpPr>
            <p:cNvPr id="898" name="Group 897">
              <a:extLst>
                <a:ext uri="{FF2B5EF4-FFF2-40B4-BE49-F238E27FC236}">
                  <a16:creationId xmlns:a16="http://schemas.microsoft.com/office/drawing/2014/main" id="{17F8789C-9F15-CF2B-C2A4-4848899B1C92}"/>
                </a:ext>
              </a:extLst>
            </p:cNvPr>
            <p:cNvGrpSpPr/>
            <p:nvPr/>
          </p:nvGrpSpPr>
          <p:grpSpPr>
            <a:xfrm>
              <a:off x="7791869" y="4251148"/>
              <a:ext cx="1497371" cy="1500485"/>
              <a:chOff x="3692636" y="3044649"/>
              <a:chExt cx="1908064" cy="1908064"/>
            </a:xfrm>
          </p:grpSpPr>
          <p:sp>
            <p:nvSpPr>
              <p:cNvPr id="1902" name="Arc 1901">
                <a:extLst>
                  <a:ext uri="{FF2B5EF4-FFF2-40B4-BE49-F238E27FC236}">
                    <a16:creationId xmlns:a16="http://schemas.microsoft.com/office/drawing/2014/main" id="{2BBC8793-A525-09A7-022D-D18B91534F2B}"/>
                  </a:ext>
                </a:extLst>
              </p:cNvPr>
              <p:cNvSpPr/>
              <p:nvPr/>
            </p:nvSpPr>
            <p:spPr>
              <a:xfrm>
                <a:off x="3692636" y="3044649"/>
                <a:ext cx="1908064" cy="1908064"/>
              </a:xfrm>
              <a:prstGeom prst="arc">
                <a:avLst>
                  <a:gd name="adj1" fmla="val 19241949"/>
                  <a:gd name="adj2" fmla="val 2535089"/>
                </a:avLst>
              </a:prstGeom>
              <a:noFill/>
              <a:ln w="6350" algn="ctr">
                <a:solidFill>
                  <a:srgbClr val="0070F2"/>
                </a:solidFill>
                <a:miter lim="800000"/>
                <a:headEnd/>
                <a:tailEnd/>
              </a:ln>
            </p:spPr>
            <p:txBody>
              <a:bodyPr lIns="175553" tIns="140442" rIns="175553" bIns="140442" rtlCol="0" anchor="t"/>
              <a:lstStyle/>
              <a:p>
                <a:pPr marL="0" marR="0" lvl="0" indent="0" algn="l" defTabSz="3250966" rtl="0" eaLnBrk="1" fontAlgn="base" latinLnBrk="0" hangingPunct="1">
                  <a:lnSpc>
                    <a:spcPct val="100000"/>
                  </a:lnSpc>
                  <a:spcBef>
                    <a:spcPct val="50000"/>
                  </a:spcBef>
                  <a:spcAft>
                    <a:spcPct val="0"/>
                  </a:spcAft>
                  <a:buClr>
                    <a:srgbClr val="F0AB00"/>
                  </a:buClr>
                  <a:buSzPct val="80000"/>
                  <a:buFontTx/>
                  <a:buNone/>
                  <a:tabLst/>
                  <a:defRPr/>
                </a:pPr>
                <a:endParaRPr kumimoji="0" lang="en-US" sz="3911" b="0" i="0" u="none" strike="noStrike" kern="0" cap="none" spc="0" normalizeH="0" baseline="0" noProof="0">
                  <a:ln>
                    <a:noFill/>
                  </a:ln>
                  <a:solidFill>
                    <a:srgbClr val="000000"/>
                  </a:solidFill>
                  <a:effectLst/>
                  <a:uLnTx/>
                  <a:uFillTx/>
                  <a:latin typeface="Arial"/>
                  <a:ea typeface="+mn-ea"/>
                  <a:cs typeface="+mn-cs"/>
                </a:endParaRPr>
              </a:p>
            </p:txBody>
          </p:sp>
          <p:sp>
            <p:nvSpPr>
              <p:cNvPr id="1903" name="Arc 1902">
                <a:extLst>
                  <a:ext uri="{FF2B5EF4-FFF2-40B4-BE49-F238E27FC236}">
                    <a16:creationId xmlns:a16="http://schemas.microsoft.com/office/drawing/2014/main" id="{239ACE9F-D6E2-CD3A-FFC5-F073BEDDE08C}"/>
                  </a:ext>
                </a:extLst>
              </p:cNvPr>
              <p:cNvSpPr/>
              <p:nvPr/>
            </p:nvSpPr>
            <p:spPr>
              <a:xfrm flipH="1">
                <a:off x="3692636" y="3044649"/>
                <a:ext cx="1908064" cy="1908064"/>
              </a:xfrm>
              <a:prstGeom prst="arc">
                <a:avLst>
                  <a:gd name="adj1" fmla="val 19241949"/>
                  <a:gd name="adj2" fmla="val 2535089"/>
                </a:avLst>
              </a:prstGeom>
              <a:noFill/>
              <a:ln w="3429" algn="ctr">
                <a:solidFill>
                  <a:srgbClr val="0070F2"/>
                </a:solidFill>
                <a:miter lim="800000"/>
                <a:headEnd/>
                <a:tailEnd/>
              </a:ln>
            </p:spPr>
            <p:txBody>
              <a:bodyPr lIns="175553" tIns="140442" rIns="175553" bIns="140442" rtlCol="0" anchor="t"/>
              <a:lstStyle/>
              <a:p>
                <a:pPr marL="0" marR="0" lvl="0" indent="0" algn="l" defTabSz="3250966" rtl="0" eaLnBrk="1" fontAlgn="base" latinLnBrk="0" hangingPunct="1">
                  <a:lnSpc>
                    <a:spcPct val="100000"/>
                  </a:lnSpc>
                  <a:spcBef>
                    <a:spcPct val="50000"/>
                  </a:spcBef>
                  <a:spcAft>
                    <a:spcPct val="0"/>
                  </a:spcAft>
                  <a:buClr>
                    <a:srgbClr val="F0AB00"/>
                  </a:buClr>
                  <a:buSzPct val="80000"/>
                  <a:buFontTx/>
                  <a:buNone/>
                  <a:tabLst/>
                  <a:defRPr/>
                </a:pPr>
                <a:endParaRPr kumimoji="0" lang="en-US" sz="3911" b="0" i="0" u="none" strike="noStrike" kern="0" cap="none" spc="0" normalizeH="0" baseline="0" noProof="0">
                  <a:ln>
                    <a:noFill/>
                  </a:ln>
                  <a:solidFill>
                    <a:srgbClr val="000000"/>
                  </a:solidFill>
                  <a:effectLst/>
                  <a:uLnTx/>
                  <a:uFillTx/>
                  <a:latin typeface="Arial"/>
                  <a:ea typeface="+mn-ea"/>
                  <a:cs typeface="+mn-cs"/>
                </a:endParaRPr>
              </a:p>
            </p:txBody>
          </p:sp>
        </p:grpSp>
        <p:sp>
          <p:nvSpPr>
            <p:cNvPr id="899" name="Oval 898">
              <a:extLst>
                <a:ext uri="{FF2B5EF4-FFF2-40B4-BE49-F238E27FC236}">
                  <a16:creationId xmlns:a16="http://schemas.microsoft.com/office/drawing/2014/main" id="{9EDDD650-4D55-B0A3-8EFE-5597E38EFF53}"/>
                </a:ext>
              </a:extLst>
            </p:cNvPr>
            <p:cNvSpPr/>
            <p:nvPr/>
          </p:nvSpPr>
          <p:spPr bwMode="gray">
            <a:xfrm>
              <a:off x="8136427" y="4595705"/>
              <a:ext cx="811371" cy="811371"/>
            </a:xfrm>
            <a:prstGeom prst="ellipse">
              <a:avLst/>
            </a:prstGeom>
            <a:noFill/>
            <a:ln w="6350" algn="ctr">
              <a:solidFill>
                <a:srgbClr val="1B90FF"/>
              </a:solidFill>
              <a:miter lim="800000"/>
              <a:headEnd/>
              <a:tailEnd/>
            </a:ln>
          </p:spPr>
          <p:txBody>
            <a:bodyPr lIns="175553" tIns="140442" rIns="175553" bIns="140442" rtlCol="0" anchor="t"/>
            <a:lstStyle/>
            <a:p>
              <a:pPr marL="0" marR="0" lvl="0" indent="0" algn="l" defTabSz="3250966" rtl="0" eaLnBrk="1" fontAlgn="base" latinLnBrk="0" hangingPunct="1">
                <a:lnSpc>
                  <a:spcPct val="100000"/>
                </a:lnSpc>
                <a:spcBef>
                  <a:spcPct val="50000"/>
                </a:spcBef>
                <a:spcAft>
                  <a:spcPct val="0"/>
                </a:spcAft>
                <a:buClr>
                  <a:srgbClr val="F0AB00"/>
                </a:buClr>
                <a:buSzPct val="80000"/>
                <a:buFontTx/>
                <a:buNone/>
                <a:tabLst/>
                <a:defRPr/>
              </a:pPr>
              <a:endParaRPr kumimoji="0" lang="en-US" sz="3911"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sp>
          <p:nvSpPr>
            <p:cNvPr id="900" name="Oval 899">
              <a:extLst>
                <a:ext uri="{FF2B5EF4-FFF2-40B4-BE49-F238E27FC236}">
                  <a16:creationId xmlns:a16="http://schemas.microsoft.com/office/drawing/2014/main" id="{A3A8D7F9-46D3-28B3-C835-D335D2CCAA98}"/>
                </a:ext>
              </a:extLst>
            </p:cNvPr>
            <p:cNvSpPr/>
            <p:nvPr/>
          </p:nvSpPr>
          <p:spPr bwMode="gray">
            <a:xfrm>
              <a:off x="7786764" y="4828612"/>
              <a:ext cx="52521" cy="52521"/>
            </a:xfrm>
            <a:prstGeom prst="ellipse">
              <a:avLst/>
            </a:prstGeom>
            <a:solidFill>
              <a:srgbClr val="0070F2"/>
            </a:solidFill>
            <a:ln w="25400" algn="ctr">
              <a:noFill/>
              <a:miter lim="800000"/>
              <a:headEnd/>
              <a:tailEnd/>
            </a:ln>
          </p:spPr>
          <p:txBody>
            <a:bodyPr lIns="175507" tIns="140406" rIns="175507" bIns="140406" rtlCol="0" anchor="t"/>
            <a:lstStyle/>
            <a:p>
              <a:pPr marL="0" marR="0" lvl="0" indent="0" algn="l" defTabSz="3249992" rtl="0" eaLnBrk="1" fontAlgn="base" latinLnBrk="0" hangingPunct="1">
                <a:lnSpc>
                  <a:spcPct val="100000"/>
                </a:lnSpc>
                <a:spcBef>
                  <a:spcPct val="50000"/>
                </a:spcBef>
                <a:spcAft>
                  <a:spcPct val="0"/>
                </a:spcAft>
                <a:buClr>
                  <a:srgbClr val="F0AB00"/>
                </a:buClr>
                <a:buSzPct val="80000"/>
                <a:buFontTx/>
                <a:buNone/>
                <a:tabLst/>
                <a:defRPr/>
              </a:pPr>
              <a:endParaRPr kumimoji="0" lang="en-US" sz="3911"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grpSp>
          <p:nvGrpSpPr>
            <p:cNvPr id="901" name="Group 900">
              <a:extLst>
                <a:ext uri="{FF2B5EF4-FFF2-40B4-BE49-F238E27FC236}">
                  <a16:creationId xmlns:a16="http://schemas.microsoft.com/office/drawing/2014/main" id="{BF12DFAF-5AD8-466E-25D9-E88B91F25E7E}"/>
                </a:ext>
              </a:extLst>
            </p:cNvPr>
            <p:cNvGrpSpPr/>
            <p:nvPr/>
          </p:nvGrpSpPr>
          <p:grpSpPr>
            <a:xfrm>
              <a:off x="7481846" y="3940480"/>
              <a:ext cx="2117418" cy="2121822"/>
              <a:chOff x="3692636" y="3044649"/>
              <a:chExt cx="1908064" cy="1908064"/>
            </a:xfrm>
          </p:grpSpPr>
          <p:sp>
            <p:nvSpPr>
              <p:cNvPr id="1888" name="Arc 1887">
                <a:extLst>
                  <a:ext uri="{FF2B5EF4-FFF2-40B4-BE49-F238E27FC236}">
                    <a16:creationId xmlns:a16="http://schemas.microsoft.com/office/drawing/2014/main" id="{E721A63F-0A30-FAD8-6BA9-AFC598BEE6FF}"/>
                  </a:ext>
                </a:extLst>
              </p:cNvPr>
              <p:cNvSpPr/>
              <p:nvPr/>
            </p:nvSpPr>
            <p:spPr>
              <a:xfrm>
                <a:off x="3692636" y="3044649"/>
                <a:ext cx="1908064" cy="1908064"/>
              </a:xfrm>
              <a:prstGeom prst="arc">
                <a:avLst>
                  <a:gd name="adj1" fmla="val 19241949"/>
                  <a:gd name="adj2" fmla="val 2535089"/>
                </a:avLst>
              </a:prstGeom>
              <a:noFill/>
              <a:ln w="6350" algn="ctr">
                <a:solidFill>
                  <a:srgbClr val="0070F2"/>
                </a:solidFill>
                <a:miter lim="800000"/>
                <a:headEnd/>
                <a:tailEnd/>
              </a:ln>
            </p:spPr>
            <p:txBody>
              <a:bodyPr lIns="175553" tIns="140442" rIns="175553" bIns="140442" rtlCol="0" anchor="t"/>
              <a:lstStyle/>
              <a:p>
                <a:pPr marL="0" marR="0" lvl="0" indent="0" algn="l" defTabSz="3250966" rtl="0" eaLnBrk="1" fontAlgn="base" latinLnBrk="0" hangingPunct="1">
                  <a:lnSpc>
                    <a:spcPct val="100000"/>
                  </a:lnSpc>
                  <a:spcBef>
                    <a:spcPct val="50000"/>
                  </a:spcBef>
                  <a:spcAft>
                    <a:spcPct val="0"/>
                  </a:spcAft>
                  <a:buClr>
                    <a:srgbClr val="F0AB00"/>
                  </a:buClr>
                  <a:buSzPct val="80000"/>
                  <a:buFontTx/>
                  <a:buNone/>
                  <a:tabLst/>
                  <a:defRPr/>
                </a:pPr>
                <a:endParaRPr kumimoji="0" lang="en-US" sz="3911" b="0" i="0" u="none" strike="noStrike" kern="0" cap="none" spc="0" normalizeH="0" baseline="0" noProof="0">
                  <a:ln>
                    <a:noFill/>
                  </a:ln>
                  <a:solidFill>
                    <a:srgbClr val="000000"/>
                  </a:solidFill>
                  <a:effectLst/>
                  <a:uLnTx/>
                  <a:uFillTx/>
                  <a:latin typeface="Arial"/>
                  <a:ea typeface="+mn-ea"/>
                  <a:cs typeface="+mn-cs"/>
                </a:endParaRPr>
              </a:p>
            </p:txBody>
          </p:sp>
          <p:sp>
            <p:nvSpPr>
              <p:cNvPr id="1901" name="Arc 1900">
                <a:extLst>
                  <a:ext uri="{FF2B5EF4-FFF2-40B4-BE49-F238E27FC236}">
                    <a16:creationId xmlns:a16="http://schemas.microsoft.com/office/drawing/2014/main" id="{3674EA05-3AF7-AB4B-FC8A-174A2C3701D6}"/>
                  </a:ext>
                </a:extLst>
              </p:cNvPr>
              <p:cNvSpPr/>
              <p:nvPr/>
            </p:nvSpPr>
            <p:spPr>
              <a:xfrm flipH="1">
                <a:off x="3692636" y="3044649"/>
                <a:ext cx="1908064" cy="1908064"/>
              </a:xfrm>
              <a:prstGeom prst="arc">
                <a:avLst>
                  <a:gd name="adj1" fmla="val 19241949"/>
                  <a:gd name="adj2" fmla="val 2535089"/>
                </a:avLst>
              </a:prstGeom>
              <a:noFill/>
              <a:ln w="3429" algn="ctr">
                <a:solidFill>
                  <a:srgbClr val="0070F2"/>
                </a:solidFill>
                <a:miter lim="800000"/>
                <a:headEnd/>
                <a:tailEnd/>
              </a:ln>
            </p:spPr>
            <p:txBody>
              <a:bodyPr lIns="175553" tIns="140442" rIns="175553" bIns="140442" rtlCol="0" anchor="t"/>
              <a:lstStyle/>
              <a:p>
                <a:pPr marL="0" marR="0" lvl="0" indent="0" algn="l" defTabSz="3250966" rtl="0" eaLnBrk="1" fontAlgn="base" latinLnBrk="0" hangingPunct="1">
                  <a:lnSpc>
                    <a:spcPct val="100000"/>
                  </a:lnSpc>
                  <a:spcBef>
                    <a:spcPct val="50000"/>
                  </a:spcBef>
                  <a:spcAft>
                    <a:spcPct val="0"/>
                  </a:spcAft>
                  <a:buClr>
                    <a:srgbClr val="F0AB00"/>
                  </a:buClr>
                  <a:buSzPct val="80000"/>
                  <a:buFontTx/>
                  <a:buNone/>
                  <a:tabLst/>
                  <a:defRPr/>
                </a:pPr>
                <a:endParaRPr kumimoji="0" lang="en-US" sz="3911" b="0" i="0" u="none" strike="noStrike" kern="0" cap="none" spc="0" normalizeH="0" baseline="0" noProof="0">
                  <a:ln>
                    <a:noFill/>
                  </a:ln>
                  <a:solidFill>
                    <a:srgbClr val="000000"/>
                  </a:solidFill>
                  <a:effectLst/>
                  <a:uLnTx/>
                  <a:uFillTx/>
                  <a:latin typeface="Arial"/>
                  <a:ea typeface="+mn-ea"/>
                  <a:cs typeface="+mn-cs"/>
                </a:endParaRPr>
              </a:p>
            </p:txBody>
          </p:sp>
        </p:grpSp>
        <p:sp>
          <p:nvSpPr>
            <p:cNvPr id="902" name="Oval 901">
              <a:extLst>
                <a:ext uri="{FF2B5EF4-FFF2-40B4-BE49-F238E27FC236}">
                  <a16:creationId xmlns:a16="http://schemas.microsoft.com/office/drawing/2014/main" id="{0550C765-9F5F-66FA-2EE9-8B405EA8FC3D}"/>
                </a:ext>
              </a:extLst>
            </p:cNvPr>
            <p:cNvSpPr/>
            <p:nvPr/>
          </p:nvSpPr>
          <p:spPr bwMode="gray">
            <a:xfrm>
              <a:off x="9490157" y="5404801"/>
              <a:ext cx="52521" cy="52521"/>
            </a:xfrm>
            <a:prstGeom prst="ellipse">
              <a:avLst/>
            </a:prstGeom>
            <a:solidFill>
              <a:srgbClr val="0070F2"/>
            </a:solidFill>
            <a:ln w="25400" algn="ctr">
              <a:noFill/>
              <a:miter lim="800000"/>
              <a:headEnd/>
              <a:tailEnd/>
            </a:ln>
          </p:spPr>
          <p:txBody>
            <a:bodyPr lIns="175507" tIns="140406" rIns="175507" bIns="140406" rtlCol="0" anchor="t"/>
            <a:lstStyle/>
            <a:p>
              <a:pPr marL="0" marR="0" lvl="0" indent="0" algn="ctr" defTabSz="3249992" rtl="0" eaLnBrk="1" fontAlgn="base" latinLnBrk="0" hangingPunct="1">
                <a:lnSpc>
                  <a:spcPct val="100000"/>
                </a:lnSpc>
                <a:spcBef>
                  <a:spcPct val="50000"/>
                </a:spcBef>
                <a:spcAft>
                  <a:spcPct val="0"/>
                </a:spcAft>
                <a:buClr>
                  <a:srgbClr val="F0AB00"/>
                </a:buClr>
                <a:buSzPct val="80000"/>
                <a:buFontTx/>
                <a:buNone/>
                <a:tabLst/>
                <a:defRPr/>
              </a:pPr>
              <a:endParaRPr kumimoji="0" lang="en-US" sz="3911"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sp>
          <p:nvSpPr>
            <p:cNvPr id="903" name="Oval 902">
              <a:extLst>
                <a:ext uri="{FF2B5EF4-FFF2-40B4-BE49-F238E27FC236}">
                  <a16:creationId xmlns:a16="http://schemas.microsoft.com/office/drawing/2014/main" id="{84A45FFD-1509-047B-0DBA-A8498007DBE8}"/>
                </a:ext>
              </a:extLst>
            </p:cNvPr>
            <p:cNvSpPr/>
            <p:nvPr/>
          </p:nvSpPr>
          <p:spPr bwMode="gray">
            <a:xfrm>
              <a:off x="7869345" y="5354556"/>
              <a:ext cx="52521" cy="52521"/>
            </a:xfrm>
            <a:prstGeom prst="ellipse">
              <a:avLst/>
            </a:prstGeom>
            <a:solidFill>
              <a:srgbClr val="0070F2"/>
            </a:solidFill>
            <a:ln w="25400" algn="ctr">
              <a:noFill/>
              <a:miter lim="800000"/>
              <a:headEnd/>
              <a:tailEnd/>
            </a:ln>
          </p:spPr>
          <p:txBody>
            <a:bodyPr lIns="175507" tIns="140406" rIns="175507" bIns="140406" rtlCol="0" anchor="t"/>
            <a:lstStyle/>
            <a:p>
              <a:pPr marL="0" marR="0" lvl="0" indent="0" algn="l" defTabSz="3249992" rtl="0" eaLnBrk="1" fontAlgn="base" latinLnBrk="0" hangingPunct="1">
                <a:lnSpc>
                  <a:spcPct val="100000"/>
                </a:lnSpc>
                <a:spcBef>
                  <a:spcPct val="50000"/>
                </a:spcBef>
                <a:spcAft>
                  <a:spcPct val="0"/>
                </a:spcAft>
                <a:buClr>
                  <a:srgbClr val="F0AB00"/>
                </a:buClr>
                <a:buSzPct val="80000"/>
                <a:buFontTx/>
                <a:buNone/>
                <a:tabLst/>
                <a:defRPr/>
              </a:pPr>
              <a:endParaRPr kumimoji="0" lang="en-US" sz="3911"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sp>
          <p:nvSpPr>
            <p:cNvPr id="904" name="TextBox 903">
              <a:extLst>
                <a:ext uri="{FF2B5EF4-FFF2-40B4-BE49-F238E27FC236}">
                  <a16:creationId xmlns:a16="http://schemas.microsoft.com/office/drawing/2014/main" id="{C43BC057-DBF2-DC04-776E-6517D02385F6}"/>
                </a:ext>
              </a:extLst>
            </p:cNvPr>
            <p:cNvSpPr txBox="1"/>
            <p:nvPr/>
          </p:nvSpPr>
          <p:spPr>
            <a:xfrm>
              <a:off x="8052348" y="5321969"/>
              <a:ext cx="986516" cy="276999"/>
            </a:xfrm>
            <a:prstGeom prst="rect">
              <a:avLst/>
            </a:prstGeom>
            <a:noFill/>
          </p:spPr>
          <p:txBody>
            <a:bodyPr wrap="square" lIns="0" tIns="0" rIns="0" bIns="0" rtlCol="0">
              <a:spAutoFit/>
            </a:bodyPr>
            <a:lstStyle/>
            <a:p>
              <a:pPr marL="0" marR="0" lvl="0" indent="0" algn="ctr" defTabSz="3868600"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t>Real-time</a:t>
              </a:r>
              <a:b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br>
              <a: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t>financial steering</a:t>
              </a:r>
            </a:p>
          </p:txBody>
        </p:sp>
        <p:grpSp>
          <p:nvGrpSpPr>
            <p:cNvPr id="905" name="Group 904">
              <a:extLst>
                <a:ext uri="{FF2B5EF4-FFF2-40B4-BE49-F238E27FC236}">
                  <a16:creationId xmlns:a16="http://schemas.microsoft.com/office/drawing/2014/main" id="{B8E3CC27-3AB1-A0F5-0D83-D565FC92D1BB}"/>
                </a:ext>
              </a:extLst>
            </p:cNvPr>
            <p:cNvGrpSpPr/>
            <p:nvPr/>
          </p:nvGrpSpPr>
          <p:grpSpPr>
            <a:xfrm>
              <a:off x="9796565" y="4878301"/>
              <a:ext cx="267069" cy="226038"/>
              <a:chOff x="13085502" y="13932642"/>
              <a:chExt cx="1375110" cy="1163844"/>
            </a:xfrm>
          </p:grpSpPr>
          <p:sp>
            <p:nvSpPr>
              <p:cNvPr id="1886" name="Can 1874">
                <a:extLst>
                  <a:ext uri="{FF2B5EF4-FFF2-40B4-BE49-F238E27FC236}">
                    <a16:creationId xmlns:a16="http://schemas.microsoft.com/office/drawing/2014/main" id="{1D9914E3-A18F-6C1B-53F8-5751095C1147}"/>
                  </a:ext>
                </a:extLst>
              </p:cNvPr>
              <p:cNvSpPr/>
              <p:nvPr/>
            </p:nvSpPr>
            <p:spPr bwMode="gray">
              <a:xfrm>
                <a:off x="13085502" y="14269630"/>
                <a:ext cx="832029" cy="826856"/>
              </a:xfrm>
              <a:prstGeom prst="can">
                <a:avLst/>
              </a:prstGeom>
              <a:solidFill>
                <a:srgbClr val="4DB1FF"/>
              </a:solidFill>
              <a:ln w="6858" algn="ctr">
                <a:solidFill>
                  <a:srgbClr val="D1EFFF">
                    <a:alpha val="9781"/>
                  </a:srgbClr>
                </a:solidFill>
                <a:miter lim="800000"/>
                <a:headEnd/>
                <a:tailEnd/>
              </a:ln>
            </p:spPr>
            <p:txBody>
              <a:bodyPr lIns="24300" tIns="19440" rIns="24300" bIns="19440" rtlCol="0" anchor="ctr"/>
              <a:lstStyle/>
              <a:p>
                <a:pPr algn="ctr" fontAlgn="base">
                  <a:spcBef>
                    <a:spcPct val="50000"/>
                  </a:spcBef>
                  <a:spcAft>
                    <a:spcPct val="0"/>
                  </a:spcAft>
                  <a:buClr>
                    <a:srgbClr val="F0AB00"/>
                  </a:buClr>
                  <a:buSzPct val="80000"/>
                </a:pPr>
                <a:endParaRPr lang="en-GB" kern="0">
                  <a:solidFill>
                    <a:srgbClr val="000000"/>
                  </a:solidFill>
                  <a:latin typeface="72 Brand"/>
                </a:endParaRPr>
              </a:p>
            </p:txBody>
          </p:sp>
          <p:sp>
            <p:nvSpPr>
              <p:cNvPr id="1887" name="Can 1875">
                <a:extLst>
                  <a:ext uri="{FF2B5EF4-FFF2-40B4-BE49-F238E27FC236}">
                    <a16:creationId xmlns:a16="http://schemas.microsoft.com/office/drawing/2014/main" id="{3D154B20-38BB-DF93-F902-3A5CF3FE6ADA}"/>
                  </a:ext>
                </a:extLst>
              </p:cNvPr>
              <p:cNvSpPr/>
              <p:nvPr/>
            </p:nvSpPr>
            <p:spPr bwMode="gray">
              <a:xfrm>
                <a:off x="13628583" y="13932642"/>
                <a:ext cx="832029" cy="1163844"/>
              </a:xfrm>
              <a:prstGeom prst="can">
                <a:avLst/>
              </a:prstGeom>
              <a:solidFill>
                <a:srgbClr val="4DB1FF"/>
              </a:solidFill>
              <a:ln w="6858" algn="ctr">
                <a:solidFill>
                  <a:srgbClr val="D1EFFF">
                    <a:alpha val="9781"/>
                  </a:srgbClr>
                </a:solidFill>
                <a:miter lim="800000"/>
                <a:headEnd/>
                <a:tailEnd/>
              </a:ln>
            </p:spPr>
            <p:txBody>
              <a:bodyPr lIns="24300" tIns="19440" rIns="24300" bIns="19440" rtlCol="0" anchor="ctr"/>
              <a:lstStyle/>
              <a:p>
                <a:pPr algn="ctr" fontAlgn="base">
                  <a:spcBef>
                    <a:spcPct val="50000"/>
                  </a:spcBef>
                  <a:spcAft>
                    <a:spcPct val="0"/>
                  </a:spcAft>
                  <a:buClr>
                    <a:srgbClr val="F0AB00"/>
                  </a:buClr>
                  <a:buSzPct val="80000"/>
                </a:pPr>
                <a:endParaRPr lang="en-GB" kern="0">
                  <a:solidFill>
                    <a:srgbClr val="000000"/>
                  </a:solidFill>
                  <a:latin typeface="72 Brand"/>
                </a:endParaRPr>
              </a:p>
            </p:txBody>
          </p:sp>
        </p:grpSp>
        <p:sp>
          <p:nvSpPr>
            <p:cNvPr id="906" name="TextBox 905">
              <a:extLst>
                <a:ext uri="{FF2B5EF4-FFF2-40B4-BE49-F238E27FC236}">
                  <a16:creationId xmlns:a16="http://schemas.microsoft.com/office/drawing/2014/main" id="{1BFEC445-F0C3-19C5-C3D4-6673BD830690}"/>
                </a:ext>
              </a:extLst>
            </p:cNvPr>
            <p:cNvSpPr txBox="1"/>
            <p:nvPr/>
          </p:nvSpPr>
          <p:spPr>
            <a:xfrm>
              <a:off x="10165609" y="4852821"/>
              <a:ext cx="894508" cy="276999"/>
            </a:xfrm>
            <a:prstGeom prst="rect">
              <a:avLst/>
            </a:prstGeom>
            <a:noFill/>
          </p:spPr>
          <p:txBody>
            <a:bodyPr wrap="square" lIns="0" tIns="0" rIns="0" bIns="0" rtlCol="0" anchor="ctr">
              <a:spAutoFit/>
            </a:bodyPr>
            <a:lstStyle/>
            <a:p>
              <a:pPr marL="0" marR="0" lvl="0" indent="0" algn="l" defTabSz="3868600"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t>Currency</a:t>
              </a:r>
              <a:b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br>
              <a: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t>data</a:t>
              </a:r>
              <a:endParaRPr kumimoji="0" lang="en-US" sz="1000" b="1"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endParaRPr>
            </a:p>
          </p:txBody>
        </p:sp>
        <p:sp>
          <p:nvSpPr>
            <p:cNvPr id="907" name="TextBox 906">
              <a:extLst>
                <a:ext uri="{FF2B5EF4-FFF2-40B4-BE49-F238E27FC236}">
                  <a16:creationId xmlns:a16="http://schemas.microsoft.com/office/drawing/2014/main" id="{9F12063F-CB6D-3332-6131-648C77A2661A}"/>
                </a:ext>
              </a:extLst>
            </p:cNvPr>
            <p:cNvSpPr txBox="1"/>
            <p:nvPr/>
          </p:nvSpPr>
          <p:spPr>
            <a:xfrm>
              <a:off x="10016036" y="5346140"/>
              <a:ext cx="894508" cy="138499"/>
            </a:xfrm>
            <a:prstGeom prst="rect">
              <a:avLst/>
            </a:prstGeom>
            <a:noFill/>
          </p:spPr>
          <p:txBody>
            <a:bodyPr wrap="square" lIns="0" tIns="0" rIns="0" bIns="0" rtlCol="0" anchor="ctr">
              <a:spAutoFit/>
            </a:bodyPr>
            <a:lstStyle/>
            <a:p>
              <a:pPr marL="0" marR="0" lvl="0" indent="0" algn="l" defTabSz="3868600"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t>GDP data</a:t>
              </a:r>
              <a:endParaRPr kumimoji="0" lang="en-US" sz="1000" b="1"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endParaRPr>
            </a:p>
          </p:txBody>
        </p:sp>
        <p:sp>
          <p:nvSpPr>
            <p:cNvPr id="908" name="Oval 907">
              <a:extLst>
                <a:ext uri="{FF2B5EF4-FFF2-40B4-BE49-F238E27FC236}">
                  <a16:creationId xmlns:a16="http://schemas.microsoft.com/office/drawing/2014/main" id="{C50A0AA2-D73D-8B2D-AF0E-7D78F5955790}"/>
                </a:ext>
              </a:extLst>
            </p:cNvPr>
            <p:cNvSpPr/>
            <p:nvPr/>
          </p:nvSpPr>
          <p:spPr bwMode="gray">
            <a:xfrm>
              <a:off x="9585135" y="4969782"/>
              <a:ext cx="52521" cy="52521"/>
            </a:xfrm>
            <a:prstGeom prst="ellipse">
              <a:avLst/>
            </a:prstGeom>
            <a:solidFill>
              <a:srgbClr val="0070F2"/>
            </a:solidFill>
            <a:ln w="25400" algn="ctr">
              <a:noFill/>
              <a:miter lim="800000"/>
              <a:headEnd/>
              <a:tailEnd/>
            </a:ln>
          </p:spPr>
          <p:txBody>
            <a:bodyPr lIns="175507" tIns="140406" rIns="175507" bIns="140406" rtlCol="0" anchor="t"/>
            <a:lstStyle/>
            <a:p>
              <a:pPr marL="0" marR="0" lvl="0" indent="0" algn="l" defTabSz="3249992" rtl="0" eaLnBrk="1" fontAlgn="base" latinLnBrk="0" hangingPunct="1">
                <a:lnSpc>
                  <a:spcPct val="100000"/>
                </a:lnSpc>
                <a:spcBef>
                  <a:spcPct val="50000"/>
                </a:spcBef>
                <a:spcAft>
                  <a:spcPct val="0"/>
                </a:spcAft>
                <a:buClr>
                  <a:srgbClr val="F0AB00"/>
                </a:buClr>
                <a:buSzPct val="80000"/>
                <a:buFontTx/>
                <a:buNone/>
                <a:tabLst/>
                <a:defRPr/>
              </a:pPr>
              <a:endParaRPr kumimoji="0" lang="en-US" sz="3911"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sp>
          <p:nvSpPr>
            <p:cNvPr id="909" name="TextBox 908">
              <a:extLst>
                <a:ext uri="{FF2B5EF4-FFF2-40B4-BE49-F238E27FC236}">
                  <a16:creationId xmlns:a16="http://schemas.microsoft.com/office/drawing/2014/main" id="{44C93266-EFEE-FCD7-CAE3-0D6C5FE43479}"/>
                </a:ext>
              </a:extLst>
            </p:cNvPr>
            <p:cNvSpPr txBox="1"/>
            <p:nvPr/>
          </p:nvSpPr>
          <p:spPr>
            <a:xfrm>
              <a:off x="6015660" y="4852821"/>
              <a:ext cx="894508" cy="276999"/>
            </a:xfrm>
            <a:prstGeom prst="rect">
              <a:avLst/>
            </a:prstGeom>
            <a:noFill/>
          </p:spPr>
          <p:txBody>
            <a:bodyPr wrap="square" lIns="0" tIns="0" rIns="0" bIns="0" rtlCol="0" anchor="ctr">
              <a:spAutoFit/>
            </a:bodyPr>
            <a:lstStyle/>
            <a:p>
              <a:pPr marL="0" marR="0" lvl="0" indent="0" algn="r" defTabSz="3868600"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t>Sales</a:t>
              </a:r>
              <a:b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br>
              <a: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t>pipeline</a:t>
              </a:r>
              <a:endParaRPr kumimoji="0" lang="en-US" sz="1000" b="1"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endParaRPr>
            </a:p>
          </p:txBody>
        </p:sp>
        <p:grpSp>
          <p:nvGrpSpPr>
            <p:cNvPr id="910" name="Group 909">
              <a:extLst>
                <a:ext uri="{FF2B5EF4-FFF2-40B4-BE49-F238E27FC236}">
                  <a16:creationId xmlns:a16="http://schemas.microsoft.com/office/drawing/2014/main" id="{14355B9E-E897-31E6-E2D4-A7C5FEC9612F}"/>
                </a:ext>
              </a:extLst>
            </p:cNvPr>
            <p:cNvGrpSpPr/>
            <p:nvPr/>
          </p:nvGrpSpPr>
          <p:grpSpPr>
            <a:xfrm>
              <a:off x="7015791" y="4878301"/>
              <a:ext cx="267069" cy="226038"/>
              <a:chOff x="13085502" y="13932642"/>
              <a:chExt cx="1375110" cy="1163844"/>
            </a:xfrm>
          </p:grpSpPr>
          <p:sp>
            <p:nvSpPr>
              <p:cNvPr id="1884" name="Can 1872">
                <a:extLst>
                  <a:ext uri="{FF2B5EF4-FFF2-40B4-BE49-F238E27FC236}">
                    <a16:creationId xmlns:a16="http://schemas.microsoft.com/office/drawing/2014/main" id="{47BB6B96-4257-69D7-0688-40F30DABB7B3}"/>
                  </a:ext>
                </a:extLst>
              </p:cNvPr>
              <p:cNvSpPr/>
              <p:nvPr/>
            </p:nvSpPr>
            <p:spPr bwMode="gray">
              <a:xfrm>
                <a:off x="13085502" y="14269630"/>
                <a:ext cx="832029" cy="826856"/>
              </a:xfrm>
              <a:prstGeom prst="can">
                <a:avLst/>
              </a:prstGeom>
              <a:solidFill>
                <a:srgbClr val="4DB1FF"/>
              </a:solidFill>
              <a:ln w="6858" algn="ctr">
                <a:solidFill>
                  <a:srgbClr val="D1EFFF">
                    <a:alpha val="9781"/>
                  </a:srgbClr>
                </a:solidFill>
                <a:miter lim="800000"/>
                <a:headEnd/>
                <a:tailEnd/>
              </a:ln>
            </p:spPr>
            <p:txBody>
              <a:bodyPr lIns="24300" tIns="19440" rIns="24300" bIns="19440" rtlCol="0" anchor="ctr"/>
              <a:lstStyle/>
              <a:p>
                <a:pPr algn="ctr" fontAlgn="base">
                  <a:spcBef>
                    <a:spcPct val="50000"/>
                  </a:spcBef>
                  <a:spcAft>
                    <a:spcPct val="0"/>
                  </a:spcAft>
                  <a:buClr>
                    <a:srgbClr val="F0AB00"/>
                  </a:buClr>
                  <a:buSzPct val="80000"/>
                </a:pPr>
                <a:endParaRPr lang="en-GB" kern="0">
                  <a:solidFill>
                    <a:srgbClr val="000000"/>
                  </a:solidFill>
                  <a:latin typeface="72 Brand"/>
                </a:endParaRPr>
              </a:p>
            </p:txBody>
          </p:sp>
          <p:sp>
            <p:nvSpPr>
              <p:cNvPr id="1885" name="Can 1873">
                <a:extLst>
                  <a:ext uri="{FF2B5EF4-FFF2-40B4-BE49-F238E27FC236}">
                    <a16:creationId xmlns:a16="http://schemas.microsoft.com/office/drawing/2014/main" id="{47179D98-1A24-9760-235B-8D5C41AD0BC4}"/>
                  </a:ext>
                </a:extLst>
              </p:cNvPr>
              <p:cNvSpPr/>
              <p:nvPr/>
            </p:nvSpPr>
            <p:spPr bwMode="gray">
              <a:xfrm>
                <a:off x="13628583" y="13932642"/>
                <a:ext cx="832029" cy="1163844"/>
              </a:xfrm>
              <a:prstGeom prst="can">
                <a:avLst/>
              </a:prstGeom>
              <a:solidFill>
                <a:srgbClr val="4DB1FF"/>
              </a:solidFill>
              <a:ln w="6858" algn="ctr">
                <a:solidFill>
                  <a:srgbClr val="D1EFFF">
                    <a:alpha val="9781"/>
                  </a:srgbClr>
                </a:solidFill>
                <a:miter lim="800000"/>
                <a:headEnd/>
                <a:tailEnd/>
              </a:ln>
            </p:spPr>
            <p:txBody>
              <a:bodyPr lIns="24300" tIns="19440" rIns="24300" bIns="19440" rtlCol="0" anchor="ctr"/>
              <a:lstStyle/>
              <a:p>
                <a:pPr algn="ctr" fontAlgn="base">
                  <a:spcBef>
                    <a:spcPct val="50000"/>
                  </a:spcBef>
                  <a:spcAft>
                    <a:spcPct val="0"/>
                  </a:spcAft>
                  <a:buClr>
                    <a:srgbClr val="F0AB00"/>
                  </a:buClr>
                  <a:buSzPct val="80000"/>
                </a:pPr>
                <a:endParaRPr lang="en-GB" kern="0">
                  <a:solidFill>
                    <a:srgbClr val="000000"/>
                  </a:solidFill>
                  <a:latin typeface="72 Brand"/>
                </a:endParaRPr>
              </a:p>
            </p:txBody>
          </p:sp>
        </p:grpSp>
        <p:sp>
          <p:nvSpPr>
            <p:cNvPr id="911" name="TextBox 910">
              <a:extLst>
                <a:ext uri="{FF2B5EF4-FFF2-40B4-BE49-F238E27FC236}">
                  <a16:creationId xmlns:a16="http://schemas.microsoft.com/office/drawing/2014/main" id="{144CBBBE-D6A1-4CAF-D59C-0131C11DFC43}"/>
                </a:ext>
              </a:extLst>
            </p:cNvPr>
            <p:cNvSpPr txBox="1"/>
            <p:nvPr/>
          </p:nvSpPr>
          <p:spPr>
            <a:xfrm>
              <a:off x="6454586" y="5276890"/>
              <a:ext cx="894508" cy="276999"/>
            </a:xfrm>
            <a:prstGeom prst="rect">
              <a:avLst/>
            </a:prstGeom>
            <a:noFill/>
          </p:spPr>
          <p:txBody>
            <a:bodyPr wrap="square" lIns="0" tIns="0" rIns="0" bIns="0" rtlCol="0" anchor="ctr">
              <a:spAutoFit/>
            </a:bodyPr>
            <a:lstStyle/>
            <a:p>
              <a:pPr marL="0" marR="0" lvl="0" indent="0" algn="r" defTabSz="3868600"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t>Inventory </a:t>
              </a:r>
              <a:b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br>
              <a:r>
                <a:rPr kumimoji="0" lang="en-US" sz="1000" b="0"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rPr>
                <a:t>status</a:t>
              </a:r>
              <a:endParaRPr kumimoji="0" lang="en-US" sz="1000" b="1" i="0" u="none" strike="noStrike" kern="0" cap="none" spc="0" normalizeH="0" baseline="0" noProof="0">
                <a:ln>
                  <a:noFill/>
                </a:ln>
                <a:gradFill>
                  <a:gsLst>
                    <a:gs pos="0">
                      <a:srgbClr val="FFFFFF"/>
                    </a:gs>
                    <a:gs pos="99000">
                      <a:srgbClr val="FFFFFF"/>
                    </a:gs>
                  </a:gsLst>
                  <a:lin ang="2700000" scaled="1"/>
                </a:gradFill>
                <a:effectLst/>
                <a:uLnTx/>
                <a:uFillTx/>
                <a:latin typeface="72 Brand"/>
                <a:ea typeface="+mn-ea"/>
                <a:cs typeface="+mn-cs"/>
              </a:endParaRPr>
            </a:p>
          </p:txBody>
        </p:sp>
        <p:grpSp>
          <p:nvGrpSpPr>
            <p:cNvPr id="912" name="Group 911">
              <a:extLst>
                <a:ext uri="{FF2B5EF4-FFF2-40B4-BE49-F238E27FC236}">
                  <a16:creationId xmlns:a16="http://schemas.microsoft.com/office/drawing/2014/main" id="{AFE08440-04F5-FA2B-C48E-C18834EE8C7B}"/>
                </a:ext>
              </a:extLst>
            </p:cNvPr>
            <p:cNvGrpSpPr/>
            <p:nvPr/>
          </p:nvGrpSpPr>
          <p:grpSpPr>
            <a:xfrm>
              <a:off x="7464227" y="5302370"/>
              <a:ext cx="267069" cy="226038"/>
              <a:chOff x="13085502" y="13932642"/>
              <a:chExt cx="1375110" cy="1163844"/>
            </a:xfrm>
          </p:grpSpPr>
          <p:sp>
            <p:nvSpPr>
              <p:cNvPr id="1882" name="Can 1870">
                <a:extLst>
                  <a:ext uri="{FF2B5EF4-FFF2-40B4-BE49-F238E27FC236}">
                    <a16:creationId xmlns:a16="http://schemas.microsoft.com/office/drawing/2014/main" id="{5F1F3B07-9EB8-A4F7-8F43-7A4ADD42DAA7}"/>
                  </a:ext>
                </a:extLst>
              </p:cNvPr>
              <p:cNvSpPr/>
              <p:nvPr/>
            </p:nvSpPr>
            <p:spPr bwMode="gray">
              <a:xfrm>
                <a:off x="13085502" y="14269630"/>
                <a:ext cx="832029" cy="826856"/>
              </a:xfrm>
              <a:prstGeom prst="can">
                <a:avLst/>
              </a:prstGeom>
              <a:solidFill>
                <a:srgbClr val="4DB1FF"/>
              </a:solidFill>
              <a:ln w="6858" algn="ctr">
                <a:solidFill>
                  <a:srgbClr val="D1EFFF">
                    <a:alpha val="9781"/>
                  </a:srgbClr>
                </a:solidFill>
                <a:miter lim="800000"/>
                <a:headEnd/>
                <a:tailEnd/>
              </a:ln>
            </p:spPr>
            <p:txBody>
              <a:bodyPr lIns="24300" tIns="19440" rIns="24300" bIns="19440" rtlCol="0" anchor="ctr"/>
              <a:lstStyle/>
              <a:p>
                <a:pPr algn="ctr" fontAlgn="base">
                  <a:spcBef>
                    <a:spcPct val="50000"/>
                  </a:spcBef>
                  <a:spcAft>
                    <a:spcPct val="0"/>
                  </a:spcAft>
                  <a:buClr>
                    <a:srgbClr val="F0AB00"/>
                  </a:buClr>
                  <a:buSzPct val="80000"/>
                </a:pPr>
                <a:endParaRPr lang="en-GB" kern="0">
                  <a:solidFill>
                    <a:srgbClr val="000000"/>
                  </a:solidFill>
                  <a:latin typeface="72 Brand"/>
                </a:endParaRPr>
              </a:p>
            </p:txBody>
          </p:sp>
          <p:sp>
            <p:nvSpPr>
              <p:cNvPr id="1883" name="Can 1871">
                <a:extLst>
                  <a:ext uri="{FF2B5EF4-FFF2-40B4-BE49-F238E27FC236}">
                    <a16:creationId xmlns:a16="http://schemas.microsoft.com/office/drawing/2014/main" id="{DBB7D58D-A9FE-057E-DF6D-8877EC5E5772}"/>
                  </a:ext>
                </a:extLst>
              </p:cNvPr>
              <p:cNvSpPr/>
              <p:nvPr/>
            </p:nvSpPr>
            <p:spPr bwMode="gray">
              <a:xfrm>
                <a:off x="13628583" y="13932642"/>
                <a:ext cx="832029" cy="1163844"/>
              </a:xfrm>
              <a:prstGeom prst="can">
                <a:avLst/>
              </a:prstGeom>
              <a:solidFill>
                <a:srgbClr val="4DB1FF"/>
              </a:solidFill>
              <a:ln w="6858" algn="ctr">
                <a:solidFill>
                  <a:srgbClr val="D1EFFF">
                    <a:alpha val="9781"/>
                  </a:srgbClr>
                </a:solidFill>
                <a:miter lim="800000"/>
                <a:headEnd/>
                <a:tailEnd/>
              </a:ln>
            </p:spPr>
            <p:txBody>
              <a:bodyPr lIns="24300" tIns="19440" rIns="24300" bIns="19440" rtlCol="0" anchor="ctr"/>
              <a:lstStyle/>
              <a:p>
                <a:pPr algn="ctr" fontAlgn="base">
                  <a:spcBef>
                    <a:spcPct val="50000"/>
                  </a:spcBef>
                  <a:spcAft>
                    <a:spcPct val="0"/>
                  </a:spcAft>
                  <a:buClr>
                    <a:srgbClr val="F0AB00"/>
                  </a:buClr>
                  <a:buSzPct val="80000"/>
                </a:pPr>
                <a:endParaRPr lang="en-GB" kern="0">
                  <a:solidFill>
                    <a:srgbClr val="000000"/>
                  </a:solidFill>
                  <a:latin typeface="72 Brand"/>
                </a:endParaRPr>
              </a:p>
            </p:txBody>
          </p:sp>
        </p:grpSp>
        <p:sp>
          <p:nvSpPr>
            <p:cNvPr id="913" name="Oval 912">
              <a:extLst>
                <a:ext uri="{FF2B5EF4-FFF2-40B4-BE49-F238E27FC236}">
                  <a16:creationId xmlns:a16="http://schemas.microsoft.com/office/drawing/2014/main" id="{2FB5C56E-93A7-5CB0-1102-8CA7ADEECD73}"/>
                </a:ext>
              </a:extLst>
            </p:cNvPr>
            <p:cNvSpPr/>
            <p:nvPr/>
          </p:nvSpPr>
          <p:spPr bwMode="gray">
            <a:xfrm>
              <a:off x="7453053" y="4990804"/>
              <a:ext cx="52521" cy="52521"/>
            </a:xfrm>
            <a:prstGeom prst="ellipse">
              <a:avLst/>
            </a:prstGeom>
            <a:solidFill>
              <a:srgbClr val="0070F2"/>
            </a:solidFill>
            <a:ln w="25400" algn="ctr">
              <a:noFill/>
              <a:miter lim="800000"/>
              <a:headEnd/>
              <a:tailEnd/>
            </a:ln>
          </p:spPr>
          <p:txBody>
            <a:bodyPr lIns="175507" tIns="140406" rIns="175507" bIns="140406" rtlCol="0" anchor="t"/>
            <a:lstStyle/>
            <a:p>
              <a:pPr marL="0" marR="0" lvl="0" indent="0" algn="l" defTabSz="3249992" rtl="0" eaLnBrk="1" fontAlgn="base" latinLnBrk="0" hangingPunct="1">
                <a:lnSpc>
                  <a:spcPct val="100000"/>
                </a:lnSpc>
                <a:spcBef>
                  <a:spcPct val="50000"/>
                </a:spcBef>
                <a:spcAft>
                  <a:spcPct val="0"/>
                </a:spcAft>
                <a:buClr>
                  <a:srgbClr val="F0AB00"/>
                </a:buClr>
                <a:buSzPct val="80000"/>
                <a:buFontTx/>
                <a:buNone/>
                <a:tabLst/>
                <a:defRPr/>
              </a:pPr>
              <a:endParaRPr kumimoji="0" lang="en-US" sz="3911"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grpSp>
          <p:nvGrpSpPr>
            <p:cNvPr id="914" name="Group 913">
              <a:extLst>
                <a:ext uri="{FF2B5EF4-FFF2-40B4-BE49-F238E27FC236}">
                  <a16:creationId xmlns:a16="http://schemas.microsoft.com/office/drawing/2014/main" id="{961216E6-A89C-956E-1142-8F57BDDCD25E}"/>
                </a:ext>
              </a:extLst>
            </p:cNvPr>
            <p:cNvGrpSpPr/>
            <p:nvPr/>
          </p:nvGrpSpPr>
          <p:grpSpPr>
            <a:xfrm flipH="1">
              <a:off x="2389090" y="5132031"/>
              <a:ext cx="665976" cy="48002"/>
              <a:chOff x="11127939" y="7510099"/>
              <a:chExt cx="3566010" cy="257029"/>
            </a:xfrm>
          </p:grpSpPr>
          <p:sp>
            <p:nvSpPr>
              <p:cNvPr id="1876" name="Rectangle 157">
                <a:extLst>
                  <a:ext uri="{FF2B5EF4-FFF2-40B4-BE49-F238E27FC236}">
                    <a16:creationId xmlns:a16="http://schemas.microsoft.com/office/drawing/2014/main" id="{CF6E9B4D-9A87-6A80-5729-413408D8D478}"/>
                  </a:ext>
                </a:extLst>
              </p:cNvPr>
              <p:cNvSpPr/>
              <p:nvPr/>
            </p:nvSpPr>
            <p:spPr bwMode="gray">
              <a:xfrm rot="18849954">
                <a:off x="14409804" y="7510822"/>
                <a:ext cx="257029" cy="255584"/>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6350" cap="rnd" cmpd="sng" algn="ctr">
                <a:solidFill>
                  <a:srgbClr val="7858FF"/>
                </a:solidFill>
                <a:prstDash val="solid"/>
                <a:round/>
                <a:headEnd type="none" w="med" len="med"/>
                <a:tailEnd type="none" w="med" len="med"/>
              </a:ln>
            </p:spPr>
            <p:txBody>
              <a:bodyPr lIns="49365" tIns="39492" rIns="49365" bIns="39492" rtlCol="0" anchor="t"/>
              <a:lstStyle/>
              <a:p>
                <a:pPr marL="0" marR="0" lvl="0" indent="0" algn="l"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a:ln>
                    <a:noFill/>
                  </a:ln>
                  <a:solidFill>
                    <a:srgbClr val="000000"/>
                  </a:solidFill>
                  <a:effectLst/>
                  <a:uLnTx/>
                  <a:uFillTx/>
                  <a:latin typeface="72 Brand"/>
                  <a:ea typeface="+mn-ea"/>
                  <a:cs typeface="+mn-cs"/>
                </a:endParaRPr>
              </a:p>
            </p:txBody>
          </p:sp>
          <p:cxnSp>
            <p:nvCxnSpPr>
              <p:cNvPr id="1881" name="Straight Connector 1880">
                <a:extLst>
                  <a:ext uri="{FF2B5EF4-FFF2-40B4-BE49-F238E27FC236}">
                    <a16:creationId xmlns:a16="http://schemas.microsoft.com/office/drawing/2014/main" id="{2EEA9FB9-7F4F-04D3-9B62-E6B5755769D8}"/>
                  </a:ext>
                </a:extLst>
              </p:cNvPr>
              <p:cNvCxnSpPr>
                <a:cxnSpLocks/>
              </p:cNvCxnSpPr>
              <p:nvPr/>
            </p:nvCxnSpPr>
            <p:spPr>
              <a:xfrm>
                <a:off x="11127939" y="7637435"/>
                <a:ext cx="3566010" cy="0"/>
              </a:xfrm>
              <a:prstGeom prst="line">
                <a:avLst/>
              </a:prstGeom>
              <a:ln w="6350" cap="flat" cmpd="sng" algn="ctr">
                <a:gradFill flip="none" rotWithShape="1">
                  <a:gsLst>
                    <a:gs pos="63000">
                      <a:srgbClr val="7858FF"/>
                    </a:gs>
                    <a:gs pos="100000">
                      <a:srgbClr val="B894FF">
                        <a:alpha val="0"/>
                      </a:srgbClr>
                    </a:gs>
                  </a:gsLst>
                  <a:lin ang="10800000" scaled="1"/>
                  <a:tileRect/>
                </a:gradFill>
                <a:prstDash val="solid"/>
                <a:round/>
                <a:headEnd type="none" w="med"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15" name="Group 914">
              <a:extLst>
                <a:ext uri="{FF2B5EF4-FFF2-40B4-BE49-F238E27FC236}">
                  <a16:creationId xmlns:a16="http://schemas.microsoft.com/office/drawing/2014/main" id="{D390DFAE-03CE-79D4-27D0-916632B56A24}"/>
                </a:ext>
              </a:extLst>
            </p:cNvPr>
            <p:cNvGrpSpPr/>
            <p:nvPr/>
          </p:nvGrpSpPr>
          <p:grpSpPr>
            <a:xfrm>
              <a:off x="4144064" y="4998681"/>
              <a:ext cx="665976" cy="48002"/>
              <a:chOff x="11127939" y="7510099"/>
              <a:chExt cx="3566010" cy="257029"/>
            </a:xfrm>
          </p:grpSpPr>
          <p:sp>
            <p:nvSpPr>
              <p:cNvPr id="1874" name="Rectangle 157">
                <a:extLst>
                  <a:ext uri="{FF2B5EF4-FFF2-40B4-BE49-F238E27FC236}">
                    <a16:creationId xmlns:a16="http://schemas.microsoft.com/office/drawing/2014/main" id="{B524552D-2BA2-EA61-3C56-3E42AE460E6F}"/>
                  </a:ext>
                </a:extLst>
              </p:cNvPr>
              <p:cNvSpPr/>
              <p:nvPr/>
            </p:nvSpPr>
            <p:spPr bwMode="gray">
              <a:xfrm rot="18849954">
                <a:off x="14409804" y="7510822"/>
                <a:ext cx="257029" cy="255584"/>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6350" cap="rnd" cmpd="sng" algn="ctr">
                <a:solidFill>
                  <a:srgbClr val="7858FF"/>
                </a:solidFill>
                <a:prstDash val="solid"/>
                <a:round/>
                <a:headEnd type="none" w="med" len="med"/>
                <a:tailEnd type="none" w="med" len="med"/>
              </a:ln>
            </p:spPr>
            <p:txBody>
              <a:bodyPr lIns="49365" tIns="39492" rIns="49365" bIns="39492" rtlCol="0" anchor="t"/>
              <a:lstStyle/>
              <a:p>
                <a:pPr marL="0" marR="0" lvl="0" indent="0" algn="l"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a:ln>
                    <a:noFill/>
                  </a:ln>
                  <a:solidFill>
                    <a:srgbClr val="000000"/>
                  </a:solidFill>
                  <a:effectLst/>
                  <a:uLnTx/>
                  <a:uFillTx/>
                  <a:latin typeface="72 Brand"/>
                  <a:ea typeface="+mn-ea"/>
                  <a:cs typeface="+mn-cs"/>
                </a:endParaRPr>
              </a:p>
            </p:txBody>
          </p:sp>
          <p:cxnSp>
            <p:nvCxnSpPr>
              <p:cNvPr id="1875" name="Straight Connector 1874">
                <a:extLst>
                  <a:ext uri="{FF2B5EF4-FFF2-40B4-BE49-F238E27FC236}">
                    <a16:creationId xmlns:a16="http://schemas.microsoft.com/office/drawing/2014/main" id="{4AF16CAC-8AF3-8F96-82CA-535D36F752AD}"/>
                  </a:ext>
                </a:extLst>
              </p:cNvPr>
              <p:cNvCxnSpPr>
                <a:cxnSpLocks/>
              </p:cNvCxnSpPr>
              <p:nvPr/>
            </p:nvCxnSpPr>
            <p:spPr>
              <a:xfrm>
                <a:off x="11127939" y="7637435"/>
                <a:ext cx="3566010" cy="0"/>
              </a:xfrm>
              <a:prstGeom prst="line">
                <a:avLst/>
              </a:prstGeom>
              <a:ln w="6350" cap="flat" cmpd="sng" algn="ctr">
                <a:gradFill flip="none" rotWithShape="1">
                  <a:gsLst>
                    <a:gs pos="63000">
                      <a:srgbClr val="7858FF"/>
                    </a:gs>
                    <a:gs pos="100000">
                      <a:srgbClr val="B894FF">
                        <a:alpha val="0"/>
                      </a:srgbClr>
                    </a:gs>
                  </a:gsLst>
                  <a:lin ang="10800000" scaled="1"/>
                  <a:tileRect/>
                </a:gradFill>
                <a:prstDash val="solid"/>
                <a:round/>
                <a:headEnd type="none" w="med"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17" name="Group 916">
              <a:extLst>
                <a:ext uri="{FF2B5EF4-FFF2-40B4-BE49-F238E27FC236}">
                  <a16:creationId xmlns:a16="http://schemas.microsoft.com/office/drawing/2014/main" id="{61270818-B52A-9065-66C5-614DCB04CF79}"/>
                </a:ext>
              </a:extLst>
            </p:cNvPr>
            <p:cNvGrpSpPr/>
            <p:nvPr/>
          </p:nvGrpSpPr>
          <p:grpSpPr>
            <a:xfrm flipH="1">
              <a:off x="4139309" y="5132031"/>
              <a:ext cx="665976" cy="48002"/>
              <a:chOff x="11127939" y="7510099"/>
              <a:chExt cx="3566010" cy="257029"/>
            </a:xfrm>
          </p:grpSpPr>
          <p:sp>
            <p:nvSpPr>
              <p:cNvPr id="1872" name="Rectangle 157">
                <a:extLst>
                  <a:ext uri="{FF2B5EF4-FFF2-40B4-BE49-F238E27FC236}">
                    <a16:creationId xmlns:a16="http://schemas.microsoft.com/office/drawing/2014/main" id="{E646AFD1-A66B-9781-5D0E-37D21B2CA24C}"/>
                  </a:ext>
                </a:extLst>
              </p:cNvPr>
              <p:cNvSpPr/>
              <p:nvPr/>
            </p:nvSpPr>
            <p:spPr bwMode="gray">
              <a:xfrm rot="18849954">
                <a:off x="14409804" y="7510822"/>
                <a:ext cx="257029" cy="255584"/>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6350" cap="rnd" cmpd="sng" algn="ctr">
                <a:solidFill>
                  <a:srgbClr val="7858FF"/>
                </a:solidFill>
                <a:prstDash val="solid"/>
                <a:round/>
                <a:headEnd type="none" w="med" len="med"/>
                <a:tailEnd type="none" w="med" len="med"/>
              </a:ln>
            </p:spPr>
            <p:txBody>
              <a:bodyPr lIns="49365" tIns="39492" rIns="49365" bIns="39492" rtlCol="0" anchor="t"/>
              <a:lstStyle/>
              <a:p>
                <a:pPr marL="0" marR="0" lvl="0" indent="0" algn="l"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a:ln>
                    <a:noFill/>
                  </a:ln>
                  <a:solidFill>
                    <a:srgbClr val="000000"/>
                  </a:solidFill>
                  <a:effectLst/>
                  <a:uLnTx/>
                  <a:uFillTx/>
                  <a:latin typeface="72 Brand"/>
                  <a:ea typeface="+mn-ea"/>
                  <a:cs typeface="+mn-cs"/>
                </a:endParaRPr>
              </a:p>
            </p:txBody>
          </p:sp>
          <p:cxnSp>
            <p:nvCxnSpPr>
              <p:cNvPr id="1873" name="Straight Connector 1872">
                <a:extLst>
                  <a:ext uri="{FF2B5EF4-FFF2-40B4-BE49-F238E27FC236}">
                    <a16:creationId xmlns:a16="http://schemas.microsoft.com/office/drawing/2014/main" id="{BF8D0F87-655D-1C5B-C0F3-074D51A791A6}"/>
                  </a:ext>
                </a:extLst>
              </p:cNvPr>
              <p:cNvCxnSpPr>
                <a:cxnSpLocks/>
              </p:cNvCxnSpPr>
              <p:nvPr/>
            </p:nvCxnSpPr>
            <p:spPr>
              <a:xfrm>
                <a:off x="11127939" y="7637435"/>
                <a:ext cx="3566010" cy="0"/>
              </a:xfrm>
              <a:prstGeom prst="line">
                <a:avLst/>
              </a:prstGeom>
              <a:ln w="6350" cap="flat" cmpd="sng" algn="ctr">
                <a:gradFill flip="none" rotWithShape="1">
                  <a:gsLst>
                    <a:gs pos="63000">
                      <a:srgbClr val="7858FF"/>
                    </a:gs>
                    <a:gs pos="100000">
                      <a:srgbClr val="B894FF">
                        <a:alpha val="0"/>
                      </a:srgbClr>
                    </a:gs>
                  </a:gsLst>
                  <a:lin ang="10800000" scaled="1"/>
                  <a:tileRect/>
                </a:gradFill>
                <a:prstDash val="solid"/>
                <a:round/>
                <a:headEnd type="none" w="med"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18" name="Group 917">
              <a:extLst>
                <a:ext uri="{FF2B5EF4-FFF2-40B4-BE49-F238E27FC236}">
                  <a16:creationId xmlns:a16="http://schemas.microsoft.com/office/drawing/2014/main" id="{FB32E7A9-6B6D-B154-09F5-B2EE08ACCA79}"/>
                </a:ext>
              </a:extLst>
            </p:cNvPr>
            <p:cNvGrpSpPr/>
            <p:nvPr/>
          </p:nvGrpSpPr>
          <p:grpSpPr>
            <a:xfrm>
              <a:off x="7530803" y="4490566"/>
              <a:ext cx="267069" cy="226038"/>
              <a:chOff x="13085502" y="13932642"/>
              <a:chExt cx="1375110" cy="1163844"/>
            </a:xfrm>
          </p:grpSpPr>
          <p:sp>
            <p:nvSpPr>
              <p:cNvPr id="1869" name="Can 1884">
                <a:extLst>
                  <a:ext uri="{FF2B5EF4-FFF2-40B4-BE49-F238E27FC236}">
                    <a16:creationId xmlns:a16="http://schemas.microsoft.com/office/drawing/2014/main" id="{167E0D18-75BC-8495-A2E2-73269D2F166B}"/>
                  </a:ext>
                </a:extLst>
              </p:cNvPr>
              <p:cNvSpPr/>
              <p:nvPr/>
            </p:nvSpPr>
            <p:spPr bwMode="gray">
              <a:xfrm>
                <a:off x="13085502" y="14269630"/>
                <a:ext cx="832029" cy="826856"/>
              </a:xfrm>
              <a:prstGeom prst="can">
                <a:avLst/>
              </a:prstGeom>
              <a:solidFill>
                <a:srgbClr val="4DB1FF"/>
              </a:solidFill>
              <a:ln w="6858" algn="ctr">
                <a:solidFill>
                  <a:srgbClr val="D1EFFF">
                    <a:alpha val="9781"/>
                  </a:srgbClr>
                </a:solidFill>
                <a:miter lim="800000"/>
                <a:headEnd/>
                <a:tailEnd/>
              </a:ln>
            </p:spPr>
            <p:txBody>
              <a:bodyPr lIns="24300" tIns="19440" rIns="24300" bIns="19440" rtlCol="0" anchor="ctr"/>
              <a:lstStyle/>
              <a:p>
                <a:pPr algn="ctr" fontAlgn="base">
                  <a:spcBef>
                    <a:spcPct val="50000"/>
                  </a:spcBef>
                  <a:spcAft>
                    <a:spcPct val="0"/>
                  </a:spcAft>
                  <a:buClr>
                    <a:srgbClr val="F0AB00"/>
                  </a:buClr>
                  <a:buSzPct val="80000"/>
                </a:pPr>
                <a:endParaRPr lang="en-GB" kern="0">
                  <a:solidFill>
                    <a:srgbClr val="000000"/>
                  </a:solidFill>
                  <a:latin typeface="72 Brand"/>
                </a:endParaRPr>
              </a:p>
            </p:txBody>
          </p:sp>
          <p:sp>
            <p:nvSpPr>
              <p:cNvPr id="1871" name="Can 1885">
                <a:extLst>
                  <a:ext uri="{FF2B5EF4-FFF2-40B4-BE49-F238E27FC236}">
                    <a16:creationId xmlns:a16="http://schemas.microsoft.com/office/drawing/2014/main" id="{42EFEA90-7501-D36E-8375-7543926DF53E}"/>
                  </a:ext>
                </a:extLst>
              </p:cNvPr>
              <p:cNvSpPr/>
              <p:nvPr/>
            </p:nvSpPr>
            <p:spPr bwMode="gray">
              <a:xfrm>
                <a:off x="13628583" y="13932642"/>
                <a:ext cx="832029" cy="1163844"/>
              </a:xfrm>
              <a:prstGeom prst="can">
                <a:avLst/>
              </a:prstGeom>
              <a:solidFill>
                <a:srgbClr val="4DB1FF"/>
              </a:solidFill>
              <a:ln w="6858" algn="ctr">
                <a:solidFill>
                  <a:srgbClr val="D1EFFF">
                    <a:alpha val="9781"/>
                  </a:srgbClr>
                </a:solidFill>
                <a:miter lim="800000"/>
                <a:headEnd/>
                <a:tailEnd/>
              </a:ln>
            </p:spPr>
            <p:txBody>
              <a:bodyPr lIns="24300" tIns="19440" rIns="24300" bIns="1944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GB" sz="1800"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grpSp>
        <p:grpSp>
          <p:nvGrpSpPr>
            <p:cNvPr id="919" name="Group 918">
              <a:extLst>
                <a:ext uri="{FF2B5EF4-FFF2-40B4-BE49-F238E27FC236}">
                  <a16:creationId xmlns:a16="http://schemas.microsoft.com/office/drawing/2014/main" id="{F41CA3B0-525B-A7D6-446A-74CEDFE5C3D4}"/>
                </a:ext>
              </a:extLst>
            </p:cNvPr>
            <p:cNvGrpSpPr/>
            <p:nvPr/>
          </p:nvGrpSpPr>
          <p:grpSpPr>
            <a:xfrm>
              <a:off x="9405398" y="4490566"/>
              <a:ext cx="267069" cy="226038"/>
              <a:chOff x="13085502" y="13932642"/>
              <a:chExt cx="1375110" cy="1163844"/>
            </a:xfrm>
          </p:grpSpPr>
          <p:sp>
            <p:nvSpPr>
              <p:cNvPr id="1867" name="Can 1882">
                <a:extLst>
                  <a:ext uri="{FF2B5EF4-FFF2-40B4-BE49-F238E27FC236}">
                    <a16:creationId xmlns:a16="http://schemas.microsoft.com/office/drawing/2014/main" id="{6F583816-8D7D-E40D-4176-AB787C88174B}"/>
                  </a:ext>
                </a:extLst>
              </p:cNvPr>
              <p:cNvSpPr/>
              <p:nvPr/>
            </p:nvSpPr>
            <p:spPr bwMode="gray">
              <a:xfrm>
                <a:off x="13085502" y="14269630"/>
                <a:ext cx="832029" cy="826856"/>
              </a:xfrm>
              <a:prstGeom prst="can">
                <a:avLst/>
              </a:prstGeom>
              <a:solidFill>
                <a:srgbClr val="4DB1FF"/>
              </a:solidFill>
              <a:ln w="6858" algn="ctr">
                <a:solidFill>
                  <a:srgbClr val="D1EFFF">
                    <a:alpha val="9781"/>
                  </a:srgbClr>
                </a:solidFill>
                <a:miter lim="800000"/>
                <a:headEnd/>
                <a:tailEnd/>
              </a:ln>
            </p:spPr>
            <p:txBody>
              <a:bodyPr lIns="24300" tIns="19440" rIns="24300" bIns="19440" rtlCol="0" anchor="ctr"/>
              <a:lstStyle/>
              <a:p>
                <a:pPr algn="ctr" fontAlgn="base">
                  <a:spcBef>
                    <a:spcPct val="50000"/>
                  </a:spcBef>
                  <a:spcAft>
                    <a:spcPct val="0"/>
                  </a:spcAft>
                  <a:buClr>
                    <a:srgbClr val="F0AB00"/>
                  </a:buClr>
                  <a:buSzPct val="80000"/>
                </a:pPr>
                <a:endParaRPr lang="en-GB" kern="0">
                  <a:solidFill>
                    <a:srgbClr val="000000"/>
                  </a:solidFill>
                  <a:latin typeface="72 Brand"/>
                </a:endParaRPr>
              </a:p>
            </p:txBody>
          </p:sp>
          <p:sp>
            <p:nvSpPr>
              <p:cNvPr id="1868" name="Can 1883">
                <a:extLst>
                  <a:ext uri="{FF2B5EF4-FFF2-40B4-BE49-F238E27FC236}">
                    <a16:creationId xmlns:a16="http://schemas.microsoft.com/office/drawing/2014/main" id="{D7323B91-E727-4FCA-ACF9-8EA524150078}"/>
                  </a:ext>
                </a:extLst>
              </p:cNvPr>
              <p:cNvSpPr/>
              <p:nvPr/>
            </p:nvSpPr>
            <p:spPr bwMode="gray">
              <a:xfrm>
                <a:off x="13628583" y="13932642"/>
                <a:ext cx="832029" cy="1163844"/>
              </a:xfrm>
              <a:prstGeom prst="can">
                <a:avLst/>
              </a:prstGeom>
              <a:solidFill>
                <a:srgbClr val="4DB1FF"/>
              </a:solidFill>
              <a:ln w="6858" algn="ctr">
                <a:solidFill>
                  <a:srgbClr val="D1EFFF">
                    <a:alpha val="9781"/>
                  </a:srgbClr>
                </a:solidFill>
                <a:miter lim="800000"/>
                <a:headEnd/>
                <a:tailEnd/>
              </a:ln>
            </p:spPr>
            <p:txBody>
              <a:bodyPr lIns="24300" tIns="19440" rIns="24300" bIns="19440" rtlCol="0" anchor="ctr"/>
              <a:lstStyle/>
              <a:p>
                <a:pPr algn="ctr" fontAlgn="base">
                  <a:spcBef>
                    <a:spcPct val="50000"/>
                  </a:spcBef>
                  <a:spcAft>
                    <a:spcPct val="0"/>
                  </a:spcAft>
                  <a:buClr>
                    <a:srgbClr val="F0AB00"/>
                  </a:buClr>
                  <a:buSzPct val="80000"/>
                </a:pPr>
                <a:endParaRPr lang="en-GB" kern="0">
                  <a:solidFill>
                    <a:srgbClr val="000000"/>
                  </a:solidFill>
                  <a:latin typeface="72 Brand"/>
                </a:endParaRPr>
              </a:p>
            </p:txBody>
          </p:sp>
        </p:grpSp>
        <p:grpSp>
          <p:nvGrpSpPr>
            <p:cNvPr id="920" name="Group 919">
              <a:extLst>
                <a:ext uri="{FF2B5EF4-FFF2-40B4-BE49-F238E27FC236}">
                  <a16:creationId xmlns:a16="http://schemas.microsoft.com/office/drawing/2014/main" id="{E0653580-41A9-E216-202C-AF1527BB1119}"/>
                </a:ext>
              </a:extLst>
            </p:cNvPr>
            <p:cNvGrpSpPr/>
            <p:nvPr/>
          </p:nvGrpSpPr>
          <p:grpSpPr>
            <a:xfrm>
              <a:off x="3434356" y="4136345"/>
              <a:ext cx="393083" cy="393082"/>
              <a:chOff x="7435831" y="407045"/>
              <a:chExt cx="746144" cy="746142"/>
            </a:xfrm>
          </p:grpSpPr>
          <p:sp>
            <p:nvSpPr>
              <p:cNvPr id="1863" name="Rectangle: Rounded Corners 1862">
                <a:extLst>
                  <a:ext uri="{FF2B5EF4-FFF2-40B4-BE49-F238E27FC236}">
                    <a16:creationId xmlns:a16="http://schemas.microsoft.com/office/drawing/2014/main" id="{196FB587-0AEA-58DC-BE48-7719CD7D5251}"/>
                  </a:ext>
                </a:extLst>
              </p:cNvPr>
              <p:cNvSpPr/>
              <p:nvPr/>
            </p:nvSpPr>
            <p:spPr bwMode="gray">
              <a:xfrm>
                <a:off x="7435831" y="407045"/>
                <a:ext cx="746144" cy="746142"/>
              </a:xfrm>
              <a:prstGeom prst="roundRect">
                <a:avLst/>
              </a:prstGeom>
              <a:solidFill>
                <a:srgbClr val="DED2FF"/>
              </a:solidFill>
              <a:ln w="25400" algn="ctr">
                <a:noFill/>
                <a:miter lim="800000"/>
                <a:headEnd/>
                <a:tailEnd/>
              </a:ln>
            </p:spPr>
            <p:txBody>
              <a:bodyPr lIns="182880" tIns="146304" rIns="182880" bIns="146304" rtlCol="0" anchor="t"/>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sp>
            <p:nvSpPr>
              <p:cNvPr id="1865" name="Rectangle: Rounded Corners 1864">
                <a:extLst>
                  <a:ext uri="{FF2B5EF4-FFF2-40B4-BE49-F238E27FC236}">
                    <a16:creationId xmlns:a16="http://schemas.microsoft.com/office/drawing/2014/main" id="{0AAEB67C-AC90-364D-1B19-FA61C4DD3DD3}"/>
                  </a:ext>
                </a:extLst>
              </p:cNvPr>
              <p:cNvSpPr/>
              <p:nvPr/>
            </p:nvSpPr>
            <p:spPr bwMode="auto">
              <a:xfrm>
                <a:off x="7482119" y="453333"/>
                <a:ext cx="653569" cy="653567"/>
              </a:xfrm>
              <a:prstGeom prst="roundRect">
                <a:avLst>
                  <a:gd name="adj" fmla="val 11995"/>
                </a:avLst>
              </a:prstGeom>
              <a:gradFill flip="none" rotWithShape="1">
                <a:gsLst>
                  <a:gs pos="0">
                    <a:srgbClr val="812FF7"/>
                  </a:gs>
                  <a:gs pos="100000">
                    <a:srgbClr val="991CE1"/>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l" defTabSz="93219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72" panose="020B0503030000000003" pitchFamily="34" charset="0"/>
                </a:endParaRPr>
              </a:p>
            </p:txBody>
          </p:sp>
          <p:pic>
            <p:nvPicPr>
              <p:cNvPr id="1866" name="Graphic 1865">
                <a:extLst>
                  <a:ext uri="{FF2B5EF4-FFF2-40B4-BE49-F238E27FC236}">
                    <a16:creationId xmlns:a16="http://schemas.microsoft.com/office/drawing/2014/main" id="{EED42AE9-542D-8747-27E0-639F9E94106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23721" y="594935"/>
                <a:ext cx="370367" cy="370365"/>
              </a:xfrm>
              <a:prstGeom prst="rect">
                <a:avLst/>
              </a:prstGeom>
            </p:spPr>
          </p:pic>
        </p:grpSp>
        <p:grpSp>
          <p:nvGrpSpPr>
            <p:cNvPr id="921" name="Group 920">
              <a:extLst>
                <a:ext uri="{FF2B5EF4-FFF2-40B4-BE49-F238E27FC236}">
                  <a16:creationId xmlns:a16="http://schemas.microsoft.com/office/drawing/2014/main" id="{9C0FBD4D-817E-76F3-0F3F-DD4185446FD4}"/>
                </a:ext>
              </a:extLst>
            </p:cNvPr>
            <p:cNvGrpSpPr/>
            <p:nvPr/>
          </p:nvGrpSpPr>
          <p:grpSpPr>
            <a:xfrm>
              <a:off x="8349065" y="4136345"/>
              <a:ext cx="393083" cy="393082"/>
              <a:chOff x="7435831" y="407045"/>
              <a:chExt cx="746144" cy="746142"/>
            </a:xfrm>
          </p:grpSpPr>
          <p:sp>
            <p:nvSpPr>
              <p:cNvPr id="1860" name="Rectangle: Rounded Corners 1859">
                <a:extLst>
                  <a:ext uri="{FF2B5EF4-FFF2-40B4-BE49-F238E27FC236}">
                    <a16:creationId xmlns:a16="http://schemas.microsoft.com/office/drawing/2014/main" id="{42FB4085-6FC8-B142-198F-F8E272B1F2A1}"/>
                  </a:ext>
                </a:extLst>
              </p:cNvPr>
              <p:cNvSpPr/>
              <p:nvPr/>
            </p:nvSpPr>
            <p:spPr bwMode="gray">
              <a:xfrm>
                <a:off x="7435831" y="407045"/>
                <a:ext cx="746144" cy="746142"/>
              </a:xfrm>
              <a:prstGeom prst="roundRect">
                <a:avLst/>
              </a:prstGeom>
              <a:solidFill>
                <a:srgbClr val="D4D0FF"/>
              </a:solidFill>
              <a:ln w="25400" algn="ctr">
                <a:noFill/>
                <a:miter lim="800000"/>
                <a:headEnd/>
                <a:tailEnd/>
              </a:ln>
            </p:spPr>
            <p:txBody>
              <a:bodyPr lIns="182880" tIns="146304" rIns="182880" bIns="146304" rtlCol="0" anchor="t"/>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sp>
            <p:nvSpPr>
              <p:cNvPr id="1861" name="Rectangle: Rounded Corners 1860">
                <a:extLst>
                  <a:ext uri="{FF2B5EF4-FFF2-40B4-BE49-F238E27FC236}">
                    <a16:creationId xmlns:a16="http://schemas.microsoft.com/office/drawing/2014/main" id="{26CE2F72-B60F-D977-59B6-F9414B3E9A80}"/>
                  </a:ext>
                </a:extLst>
              </p:cNvPr>
              <p:cNvSpPr/>
              <p:nvPr/>
            </p:nvSpPr>
            <p:spPr bwMode="auto">
              <a:xfrm>
                <a:off x="7482119" y="453333"/>
                <a:ext cx="653569" cy="653567"/>
              </a:xfrm>
              <a:prstGeom prst="roundRect">
                <a:avLst>
                  <a:gd name="adj" fmla="val 11995"/>
                </a:avLst>
              </a:prstGeom>
              <a:gradFill flip="none" rotWithShape="1">
                <a:gsLst>
                  <a:gs pos="0">
                    <a:srgbClr val="812FF7"/>
                  </a:gs>
                  <a:gs pos="100000">
                    <a:srgbClr val="991CE1"/>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l" defTabSz="93219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72" panose="020B0503030000000003" pitchFamily="34" charset="0"/>
                </a:endParaRPr>
              </a:p>
            </p:txBody>
          </p:sp>
          <p:pic>
            <p:nvPicPr>
              <p:cNvPr id="1862" name="Graphic 1861">
                <a:extLst>
                  <a:ext uri="{FF2B5EF4-FFF2-40B4-BE49-F238E27FC236}">
                    <a16:creationId xmlns:a16="http://schemas.microsoft.com/office/drawing/2014/main" id="{550AA23D-BF54-A4D7-85EB-68B15E3313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23721" y="594935"/>
                <a:ext cx="370367" cy="370365"/>
              </a:xfrm>
              <a:prstGeom prst="rect">
                <a:avLst/>
              </a:prstGeom>
            </p:spPr>
          </p:pic>
        </p:grpSp>
        <p:sp>
          <p:nvSpPr>
            <p:cNvPr id="922" name="Rectangle: Rounded Corners 6">
              <a:extLst>
                <a:ext uri="{FF2B5EF4-FFF2-40B4-BE49-F238E27FC236}">
                  <a16:creationId xmlns:a16="http://schemas.microsoft.com/office/drawing/2014/main" id="{1B8C3BA2-08AF-B600-1855-C202BF43231B}"/>
                </a:ext>
              </a:extLst>
            </p:cNvPr>
            <p:cNvSpPr/>
            <p:nvPr/>
          </p:nvSpPr>
          <p:spPr bwMode="gray">
            <a:xfrm>
              <a:off x="1272540" y="1654217"/>
              <a:ext cx="9616440" cy="1600951"/>
            </a:xfrm>
            <a:prstGeom prst="roundRect">
              <a:avLst>
                <a:gd name="adj" fmla="val 6625"/>
              </a:avLst>
            </a:prstGeom>
            <a:solidFill>
              <a:srgbClr val="7858FF"/>
            </a:solidFill>
            <a:ln w="15238" cap="flat">
              <a:noFill/>
              <a:prstDash val="solid"/>
              <a:miter/>
            </a:ln>
            <a:effectLst/>
          </p:spPr>
          <p:txBody>
            <a:bodyPr lIns="22860" tIns="11430" rIns="22860" bIns="11430" rtlCol="0" anchor="ctr"/>
            <a:lstStyle/>
            <a:p>
              <a:pPr marL="0" marR="0" lvl="0" indent="0" algn="l" defTabSz="107405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23" name="TextBox 922">
              <a:extLst>
                <a:ext uri="{FF2B5EF4-FFF2-40B4-BE49-F238E27FC236}">
                  <a16:creationId xmlns:a16="http://schemas.microsoft.com/office/drawing/2014/main" id="{04084175-8B7E-2946-6E6F-E4433938BD5A}"/>
                </a:ext>
              </a:extLst>
            </p:cNvPr>
            <p:cNvSpPr txBox="1"/>
            <p:nvPr/>
          </p:nvSpPr>
          <p:spPr>
            <a:xfrm>
              <a:off x="3745011" y="2023264"/>
              <a:ext cx="4675090" cy="138499"/>
            </a:xfrm>
            <a:prstGeom prst="rect">
              <a:avLst/>
            </a:prstGeom>
            <a:noFill/>
          </p:spPr>
          <p:txBody>
            <a:bodyPr wrap="square" lIns="0" tIns="0" rIns="0" bIns="0" rtlCol="0">
              <a:spAutoFit/>
            </a:bodyPr>
            <a:lstStyle/>
            <a:p>
              <a:pPr marL="0" marR="0" lvl="0" indent="0" algn="ctr" defTabSz="1074697" rtl="0" eaLnBrk="1" fontAlgn="base" latinLnBrk="0" hangingPunct="1">
                <a:lnSpc>
                  <a:spcPct val="90000"/>
                </a:lnSpc>
                <a:spcBef>
                  <a:spcPts val="0"/>
                </a:spcBef>
                <a:spcAft>
                  <a:spcPct val="0"/>
                </a:spcAft>
                <a:buClr>
                  <a:srgbClr val="000000"/>
                </a:buClr>
                <a:buSzPct val="100000"/>
                <a:buFontTx/>
                <a:buNone/>
                <a:tabLst/>
                <a:defRPr/>
              </a:pPr>
              <a:r>
                <a:rPr kumimoji="0" lang="en-US" sz="1000" b="0" i="0" u="none" strike="noStrike" kern="1200" cap="none" spc="0" normalizeH="0" baseline="0" noProof="0">
                  <a:ln>
                    <a:noFill/>
                  </a:ln>
                  <a:gradFill>
                    <a:gsLst>
                      <a:gs pos="0">
                        <a:srgbClr val="FFFFFF"/>
                      </a:gs>
                      <a:gs pos="100000">
                        <a:srgbClr val="FFFFFF"/>
                      </a:gs>
                    </a:gsLst>
                    <a:lin ang="2700000" scaled="1"/>
                  </a:gradFill>
                  <a:effectLst/>
                  <a:uLnTx/>
                  <a:uFillTx/>
                  <a:latin typeface="72 Brand"/>
                  <a:ea typeface="+mn-ea"/>
                  <a:cs typeface="72"/>
                </a:rPr>
                <a:t>as the new super orchestrator across end-to-end processes</a:t>
              </a:r>
            </a:p>
          </p:txBody>
        </p:sp>
        <p:sp>
          <p:nvSpPr>
            <p:cNvPr id="924" name="TextBox 923">
              <a:extLst>
                <a:ext uri="{FF2B5EF4-FFF2-40B4-BE49-F238E27FC236}">
                  <a16:creationId xmlns:a16="http://schemas.microsoft.com/office/drawing/2014/main" id="{3A363739-67AB-8233-75CB-484F217557C4}"/>
                </a:ext>
              </a:extLst>
            </p:cNvPr>
            <p:cNvSpPr txBox="1"/>
            <p:nvPr/>
          </p:nvSpPr>
          <p:spPr>
            <a:xfrm>
              <a:off x="4669947" y="1757986"/>
              <a:ext cx="2825215" cy="246593"/>
            </a:xfrm>
            <a:prstGeom prst="rect">
              <a:avLst/>
            </a:prstGeom>
            <a:noFill/>
          </p:spPr>
          <p:txBody>
            <a:bodyPr wrap="square" lIns="22860" tIns="11430" rIns="22860" bIns="11430">
              <a:spAutoFit/>
            </a:bodyPr>
            <a:lstStyle/>
            <a:p>
              <a:pPr marL="0" marR="0" lvl="0" indent="0" algn="ctr" defTabSz="108381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FFFFFF"/>
                      </a:gs>
                      <a:gs pos="100000">
                        <a:srgbClr val="FFFFFF"/>
                      </a:gs>
                    </a:gsLst>
                    <a:lin ang="2700000" scaled="1"/>
                  </a:gradFill>
                  <a:effectLst/>
                  <a:uLnTx/>
                  <a:uFillTx/>
                  <a:latin typeface="72 Brand Medium"/>
                  <a:ea typeface="72 Brand" pitchFamily="34" charset="-128"/>
                  <a:cs typeface="72 Brand" pitchFamily="34" charset="-128"/>
                </a:rPr>
                <a:t>Joule</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925" name="TextBox 924">
              <a:extLst>
                <a:ext uri="{FF2B5EF4-FFF2-40B4-BE49-F238E27FC236}">
                  <a16:creationId xmlns:a16="http://schemas.microsoft.com/office/drawing/2014/main" id="{DEDA3D42-6B80-359F-DD39-295BBF488645}"/>
                </a:ext>
              </a:extLst>
            </p:cNvPr>
            <p:cNvSpPr txBox="1"/>
            <p:nvPr/>
          </p:nvSpPr>
          <p:spPr>
            <a:xfrm>
              <a:off x="9772105" y="2081371"/>
              <a:ext cx="592248" cy="609398"/>
            </a:xfrm>
            <a:prstGeom prst="rect">
              <a:avLst/>
            </a:prstGeom>
            <a:noFill/>
          </p:spPr>
          <p:txBody>
            <a:bodyPr wrap="square" lIns="0" tIns="0" rIns="0" bIns="0" rtlCol="0">
              <a:spAutoFit/>
            </a:bodyPr>
            <a:lstStyle/>
            <a:p>
              <a:pPr marL="0" marR="0" lvl="0" indent="0" algn="l" defTabSz="1074697" rtl="0" eaLnBrk="1" fontAlgn="base" latinLnBrk="0" hangingPunct="1">
                <a:lnSpc>
                  <a:spcPct val="90000"/>
                </a:lnSpc>
                <a:spcBef>
                  <a:spcPct val="50000"/>
                </a:spcBef>
                <a:spcAft>
                  <a:spcPct val="0"/>
                </a:spcAft>
                <a:buClr>
                  <a:srgbClr val="000000"/>
                </a:buClr>
                <a:buSzPct val="100000"/>
                <a:buFontTx/>
                <a:buNone/>
                <a:tabLst/>
                <a:defRPr/>
              </a:pPr>
              <a:r>
                <a:rPr kumimoji="0" lang="en-US" sz="1800" b="0" i="0" u="none" strike="noStrike" kern="0" cap="none" spc="0" normalizeH="0" baseline="0" noProof="0">
                  <a:ln>
                    <a:noFill/>
                  </a:ln>
                  <a:gradFill>
                    <a:gsLst>
                      <a:gs pos="9890">
                        <a:srgbClr val="FFFFFF"/>
                      </a:gs>
                      <a:gs pos="48000">
                        <a:srgbClr val="FFFFFF"/>
                      </a:gs>
                    </a:gsLst>
                  </a:gradFill>
                  <a:effectLst/>
                  <a:uLnTx/>
                  <a:uFillTx/>
                  <a:latin typeface="72 Brand Medium"/>
                  <a:ea typeface="+mn-ea"/>
                  <a:cs typeface="+mn-cs"/>
                </a:rPr>
                <a:t>30</a:t>
              </a:r>
              <a:r>
                <a:rPr kumimoji="0" lang="en-US" sz="1200" b="0" i="0" u="none" strike="noStrike" kern="0" cap="none" spc="0" normalizeH="0" baseline="0" noProof="0">
                  <a:ln>
                    <a:noFill/>
                  </a:ln>
                  <a:gradFill>
                    <a:gsLst>
                      <a:gs pos="9890">
                        <a:srgbClr val="FFFFFF"/>
                      </a:gs>
                      <a:gs pos="48000">
                        <a:srgbClr val="FFFFFF"/>
                      </a:gs>
                    </a:gsLst>
                  </a:gradFill>
                  <a:effectLst/>
                  <a:uLnTx/>
                  <a:uFillTx/>
                  <a:latin typeface="72 Brand Medium"/>
                  <a:ea typeface="+mn-ea"/>
                  <a:cs typeface="+mn-cs"/>
                </a:rPr>
                <a:t>%</a:t>
              </a:r>
              <a:r>
                <a:rPr kumimoji="0" lang="en-US" sz="2400" b="0" i="0" u="none" strike="noStrike" kern="0" cap="none" spc="0" normalizeH="0" baseline="0" noProof="0">
                  <a:ln>
                    <a:noFill/>
                  </a:ln>
                  <a:gradFill>
                    <a:gsLst>
                      <a:gs pos="9890">
                        <a:srgbClr val="FFFFFF"/>
                      </a:gs>
                      <a:gs pos="48000">
                        <a:srgbClr val="FFFFFF"/>
                      </a:gs>
                    </a:gsLst>
                  </a:gradFill>
                  <a:effectLst/>
                  <a:uLnTx/>
                  <a:uFillTx/>
                  <a:latin typeface="72 Brand Medium"/>
                  <a:ea typeface="+mn-ea"/>
                  <a:cs typeface="+mn-cs"/>
                </a:rPr>
                <a:t> </a:t>
              </a:r>
              <a:r>
                <a:rPr kumimoji="0" lang="en-US" sz="1000" b="0" i="0" u="none" strike="noStrike" kern="0" cap="none" spc="0" normalizeH="0" baseline="0" noProof="0">
                  <a:ln>
                    <a:noFill/>
                  </a:ln>
                  <a:gradFill>
                    <a:gsLst>
                      <a:gs pos="9890">
                        <a:srgbClr val="FFFFFF"/>
                      </a:gs>
                      <a:gs pos="48000">
                        <a:srgbClr val="FFFFFF"/>
                      </a:gs>
                    </a:gsLst>
                    <a:lin ang="0" scaled="1"/>
                  </a:gradFill>
                  <a:effectLst/>
                  <a:uLnTx/>
                  <a:uFillTx/>
                  <a:latin typeface="72 Brand Book" panose="020B0404030603020204" pitchFamily="34" charset="0"/>
                  <a:ea typeface="72 Brand" pitchFamily="34" charset="-128"/>
                  <a:cs typeface="72 Brand" pitchFamily="34" charset="-128"/>
                </a:rPr>
                <a:t>efficiency increase</a:t>
              </a:r>
              <a:endParaRPr kumimoji="0" lang="en-US" sz="1050" b="0" i="0" u="none" strike="noStrike" kern="0" cap="none" spc="0" normalizeH="0" baseline="0" noProof="0">
                <a:ln>
                  <a:noFill/>
                </a:ln>
                <a:gradFill>
                  <a:gsLst>
                    <a:gs pos="9890">
                      <a:srgbClr val="FFFFFF"/>
                    </a:gs>
                    <a:gs pos="48000">
                      <a:srgbClr val="FFFFFF"/>
                    </a:gs>
                  </a:gsLst>
                  <a:lin ang="0" scaled="1"/>
                </a:gradFill>
                <a:effectLst/>
                <a:uLnTx/>
                <a:uFillTx/>
                <a:latin typeface="72 Brand Book" panose="020B0404030603020204" pitchFamily="34" charset="0"/>
                <a:ea typeface="72 Brand" pitchFamily="34" charset="-128"/>
                <a:cs typeface="72 Brand" pitchFamily="34" charset="-128"/>
              </a:endParaRPr>
            </a:p>
          </p:txBody>
        </p:sp>
        <p:sp>
          <p:nvSpPr>
            <p:cNvPr id="926" name="TextBox 925">
              <a:extLst>
                <a:ext uri="{FF2B5EF4-FFF2-40B4-BE49-F238E27FC236}">
                  <a16:creationId xmlns:a16="http://schemas.microsoft.com/office/drawing/2014/main" id="{69BECE69-D0CD-EBAD-4140-46CA723AD87B}"/>
                </a:ext>
              </a:extLst>
            </p:cNvPr>
            <p:cNvSpPr txBox="1"/>
            <p:nvPr/>
          </p:nvSpPr>
          <p:spPr>
            <a:xfrm>
              <a:off x="1589423" y="2001620"/>
              <a:ext cx="1120222" cy="401247"/>
            </a:xfrm>
            <a:prstGeom prst="rect">
              <a:avLst/>
            </a:prstGeom>
            <a:noFill/>
          </p:spPr>
          <p:txBody>
            <a:bodyPr wrap="square" lIns="0" tIns="0" rIns="0" bIns="0" rtlCol="0">
              <a:spAutoFit/>
            </a:bodyPr>
            <a:lstStyle/>
            <a:p>
              <a:pPr marL="0" marR="0" lvl="0" indent="0" algn="l" defTabSz="1074697" rtl="0" eaLnBrk="1" fontAlgn="base" latinLnBrk="0" hangingPunct="1">
                <a:lnSpc>
                  <a:spcPct val="90000"/>
                </a:lnSpc>
                <a:spcBef>
                  <a:spcPct val="50000"/>
                </a:spcBef>
                <a:spcAft>
                  <a:spcPct val="0"/>
                </a:spcAft>
                <a:buClr>
                  <a:srgbClr val="000000"/>
                </a:buClr>
                <a:buSzPct val="100000"/>
                <a:buFontTx/>
                <a:buNone/>
                <a:tabLst/>
                <a:defRPr/>
              </a:pPr>
              <a:r>
                <a:rPr kumimoji="0" lang="en-US" sz="1400" b="0" i="0" u="none" strike="noStrike" kern="0" cap="none" spc="0" normalizeH="0" baseline="0" noProof="0">
                  <a:ln>
                    <a:noFill/>
                  </a:ln>
                  <a:gradFill>
                    <a:gsLst>
                      <a:gs pos="0">
                        <a:srgbClr val="FFFFFF"/>
                      </a:gs>
                      <a:gs pos="100000">
                        <a:srgbClr val="FFFFFF"/>
                      </a:gs>
                    </a:gsLst>
                    <a:lin ang="2700000" scaled="1"/>
                  </a:gradFill>
                  <a:effectLst/>
                  <a:uLnTx/>
                  <a:uFillTx/>
                  <a:latin typeface="72 Brand Medium"/>
                  <a:ea typeface="72 Brand" pitchFamily="34" charset="-128"/>
                  <a:cs typeface="72 Brand" pitchFamily="34" charset="-128"/>
                </a:rPr>
                <a:t>SAP</a:t>
              </a:r>
              <a:br>
                <a:rPr kumimoji="0" lang="en-US" sz="1400" b="0" i="0" u="none" strike="noStrike" kern="0" cap="none" spc="0" normalizeH="0" baseline="0" noProof="0">
                  <a:ln>
                    <a:noFill/>
                  </a:ln>
                  <a:gradFill>
                    <a:gsLst>
                      <a:gs pos="0">
                        <a:srgbClr val="FFFFFF"/>
                      </a:gs>
                      <a:gs pos="100000">
                        <a:srgbClr val="FFFFFF"/>
                      </a:gs>
                    </a:gsLst>
                    <a:lin ang="2700000" scaled="1"/>
                  </a:gradFill>
                  <a:effectLst/>
                  <a:uLnTx/>
                  <a:uFillTx/>
                  <a:latin typeface="72 Brand Medium"/>
                  <a:ea typeface="72 Brand" pitchFamily="34" charset="-128"/>
                  <a:cs typeface="72 Brand" pitchFamily="34" charset="-128"/>
                </a:rPr>
              </a:br>
              <a:r>
                <a:rPr kumimoji="0" lang="en-US" sz="1400" b="0" i="0" u="none" strike="noStrike" kern="0" cap="none" spc="0" normalizeH="0" baseline="0" noProof="0">
                  <a:ln>
                    <a:noFill/>
                  </a:ln>
                  <a:gradFill>
                    <a:gsLst>
                      <a:gs pos="0">
                        <a:srgbClr val="FFFFFF"/>
                      </a:gs>
                      <a:gs pos="100000">
                        <a:srgbClr val="FFFFFF"/>
                      </a:gs>
                    </a:gsLst>
                    <a:lin ang="2700000" scaled="1"/>
                  </a:gradFill>
                  <a:effectLst/>
                  <a:uLnTx/>
                  <a:uFillTx/>
                  <a:latin typeface="72 Brand Medium"/>
                  <a:ea typeface="72 Brand" pitchFamily="34" charset="-128"/>
                  <a:cs typeface="72 Brand" pitchFamily="34" charset="-128"/>
                </a:rPr>
                <a:t>Business AI</a:t>
              </a:r>
            </a:p>
          </p:txBody>
        </p:sp>
        <p:sp>
          <p:nvSpPr>
            <p:cNvPr id="927" name="TextBox 926">
              <a:extLst>
                <a:ext uri="{FF2B5EF4-FFF2-40B4-BE49-F238E27FC236}">
                  <a16:creationId xmlns:a16="http://schemas.microsoft.com/office/drawing/2014/main" id="{B47290B0-3FFD-B973-9C77-82C0884D78DA}"/>
                </a:ext>
              </a:extLst>
            </p:cNvPr>
            <p:cNvSpPr txBox="1"/>
            <p:nvPr/>
          </p:nvSpPr>
          <p:spPr>
            <a:xfrm>
              <a:off x="1589423" y="2457542"/>
              <a:ext cx="1306448" cy="415498"/>
            </a:xfrm>
            <a:prstGeom prst="rect">
              <a:avLst/>
            </a:prstGeom>
            <a:noFill/>
          </p:spPr>
          <p:txBody>
            <a:bodyPr wrap="none" lIns="0" tIns="0" rIns="0" bIns="0" rtlCol="0">
              <a:spAutoFit/>
            </a:bodyPr>
            <a:lstStyle/>
            <a:p>
              <a:pPr marL="0" marR="0" lvl="0" indent="0" algn="l" defTabSz="1088122" rtl="0" eaLnBrk="1" fontAlgn="base" latinLnBrk="0" hangingPunct="1">
                <a:lnSpc>
                  <a:spcPct val="90000"/>
                </a:lnSpc>
                <a:spcBef>
                  <a:spcPts val="0"/>
                </a:spcBef>
                <a:spcAft>
                  <a:spcPct val="0"/>
                </a:spcAft>
                <a:buClr>
                  <a:srgbClr val="000000"/>
                </a:buClr>
                <a:buSzPct val="100000"/>
                <a:buFontTx/>
                <a:buNone/>
                <a:tabLst/>
                <a:defRPr/>
              </a:pPr>
              <a:r>
                <a:rPr kumimoji="0" lang="en-US" sz="1000" b="0" i="0" u="none" strike="noStrike" kern="1200" cap="none" spc="0" normalizeH="0" baseline="0" noProof="0">
                  <a:ln>
                    <a:noFill/>
                  </a:ln>
                  <a:gradFill>
                    <a:gsLst>
                      <a:gs pos="0">
                        <a:srgbClr val="FFFFFF"/>
                      </a:gs>
                      <a:gs pos="100000">
                        <a:srgbClr val="FFFFFF"/>
                      </a:gs>
                    </a:gsLst>
                    <a:lin ang="2700000" scaled="1"/>
                  </a:gradFill>
                  <a:effectLst/>
                  <a:uLnTx/>
                  <a:uFillTx/>
                  <a:latin typeface="72 Brand"/>
                  <a:ea typeface="+mn-ea"/>
                  <a:cs typeface="72"/>
                </a:rPr>
                <a:t>Joule</a:t>
              </a:r>
              <a:br>
                <a:rPr kumimoji="0" lang="en-US" sz="1000" b="0" i="0" u="none" strike="noStrike" kern="1200" cap="none" spc="0" normalizeH="0" baseline="0" noProof="0">
                  <a:ln>
                    <a:noFill/>
                  </a:ln>
                  <a:gradFill>
                    <a:gsLst>
                      <a:gs pos="0">
                        <a:srgbClr val="FFFFFF"/>
                      </a:gs>
                      <a:gs pos="100000">
                        <a:srgbClr val="FFFFFF"/>
                      </a:gs>
                    </a:gsLst>
                    <a:lin ang="2700000" scaled="1"/>
                  </a:gradFill>
                  <a:effectLst/>
                  <a:uLnTx/>
                  <a:uFillTx/>
                  <a:latin typeface="72 Brand"/>
                  <a:ea typeface="+mn-ea"/>
                  <a:cs typeface="72"/>
                </a:rPr>
              </a:br>
              <a:r>
                <a:rPr kumimoji="0" lang="en-US" sz="1000" b="0" i="0" u="none" strike="noStrike" kern="1200" cap="none" spc="0" normalizeH="0" baseline="0" noProof="0">
                  <a:ln>
                    <a:noFill/>
                  </a:ln>
                  <a:gradFill>
                    <a:gsLst>
                      <a:gs pos="0">
                        <a:srgbClr val="FFFFFF"/>
                      </a:gs>
                      <a:gs pos="100000">
                        <a:srgbClr val="FFFFFF"/>
                      </a:gs>
                    </a:gsLst>
                    <a:lin ang="2700000" scaled="1"/>
                  </a:gradFill>
                  <a:effectLst/>
                  <a:uLnTx/>
                  <a:uFillTx/>
                  <a:latin typeface="72 Brand"/>
                  <a:ea typeface="+mn-ea"/>
                  <a:cs typeface="72"/>
                </a:rPr>
                <a:t>SAP Foundation Model</a:t>
              </a:r>
            </a:p>
            <a:p>
              <a:pPr marL="0" marR="0" lvl="0" indent="0" algn="l" defTabSz="1088122" rtl="0" eaLnBrk="1" fontAlgn="base" latinLnBrk="0" hangingPunct="1">
                <a:lnSpc>
                  <a:spcPct val="90000"/>
                </a:lnSpc>
                <a:spcBef>
                  <a:spcPts val="0"/>
                </a:spcBef>
                <a:spcAft>
                  <a:spcPct val="0"/>
                </a:spcAft>
                <a:buClr>
                  <a:srgbClr val="000000"/>
                </a:buClr>
                <a:buSzPct val="100000"/>
                <a:buFontTx/>
                <a:buNone/>
                <a:tabLst/>
                <a:defRPr/>
              </a:pPr>
              <a:r>
                <a:rPr kumimoji="0" lang="en-US" sz="1000" b="0" i="0" u="none" strike="noStrike" kern="1200" cap="none" spc="0" normalizeH="0" baseline="0" noProof="0">
                  <a:ln>
                    <a:noFill/>
                  </a:ln>
                  <a:gradFill>
                    <a:gsLst>
                      <a:gs pos="0">
                        <a:srgbClr val="FFFFFF"/>
                      </a:gs>
                      <a:gs pos="100000">
                        <a:srgbClr val="FFFFFF"/>
                      </a:gs>
                    </a:gsLst>
                    <a:lin ang="2700000" scaled="1"/>
                  </a:gradFill>
                  <a:effectLst/>
                  <a:uLnTx/>
                  <a:uFillTx/>
                  <a:latin typeface="72 Brand"/>
                  <a:ea typeface="+mn-ea"/>
                  <a:cs typeface="72"/>
                </a:rPr>
                <a:t>SAP Knowledge Graph</a:t>
              </a:r>
            </a:p>
          </p:txBody>
        </p:sp>
        <p:grpSp>
          <p:nvGrpSpPr>
            <p:cNvPr id="928" name="Group 927">
              <a:extLst>
                <a:ext uri="{FF2B5EF4-FFF2-40B4-BE49-F238E27FC236}">
                  <a16:creationId xmlns:a16="http://schemas.microsoft.com/office/drawing/2014/main" id="{45870038-021B-6C62-3CF9-61C976194767}"/>
                </a:ext>
              </a:extLst>
            </p:cNvPr>
            <p:cNvGrpSpPr/>
            <p:nvPr/>
          </p:nvGrpSpPr>
          <p:grpSpPr>
            <a:xfrm>
              <a:off x="5879612" y="1346217"/>
              <a:ext cx="391961" cy="391960"/>
              <a:chOff x="7435831" y="407045"/>
              <a:chExt cx="746144" cy="746142"/>
            </a:xfrm>
          </p:grpSpPr>
          <p:sp useBgFill="1">
            <p:nvSpPr>
              <p:cNvPr id="1844" name="Rectangle: Rounded Corners 1843">
                <a:extLst>
                  <a:ext uri="{FF2B5EF4-FFF2-40B4-BE49-F238E27FC236}">
                    <a16:creationId xmlns:a16="http://schemas.microsoft.com/office/drawing/2014/main" id="{21644A9D-3596-F21B-F7A1-764468AB62FB}"/>
                  </a:ext>
                </a:extLst>
              </p:cNvPr>
              <p:cNvSpPr/>
              <p:nvPr/>
            </p:nvSpPr>
            <p:spPr bwMode="gray">
              <a:xfrm>
                <a:off x="7435831" y="407045"/>
                <a:ext cx="746144" cy="746142"/>
              </a:xfrm>
              <a:prstGeom prst="roundRect">
                <a:avLst/>
              </a:prstGeom>
              <a:ln w="25400" algn="ctr">
                <a:noFill/>
                <a:miter lim="800000"/>
                <a:headEnd/>
                <a:tailEnd/>
              </a:ln>
            </p:spPr>
            <p:txBody>
              <a:bodyPr lIns="182880" tIns="146304" rIns="182880" bIns="146304" rtlCol="0" anchor="t"/>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sp>
            <p:nvSpPr>
              <p:cNvPr id="1846" name="Rectangle: Rounded Corners 1845">
                <a:extLst>
                  <a:ext uri="{FF2B5EF4-FFF2-40B4-BE49-F238E27FC236}">
                    <a16:creationId xmlns:a16="http://schemas.microsoft.com/office/drawing/2014/main" id="{A1F06A70-6988-20C1-5EC8-42A8A4AE118E}"/>
                  </a:ext>
                </a:extLst>
              </p:cNvPr>
              <p:cNvSpPr/>
              <p:nvPr/>
            </p:nvSpPr>
            <p:spPr bwMode="auto">
              <a:xfrm>
                <a:off x="7482119" y="453333"/>
                <a:ext cx="653569" cy="653567"/>
              </a:xfrm>
              <a:prstGeom prst="roundRect">
                <a:avLst>
                  <a:gd name="adj" fmla="val 11995"/>
                </a:avLst>
              </a:prstGeom>
              <a:gradFill flip="none" rotWithShape="1">
                <a:gsLst>
                  <a:gs pos="0">
                    <a:srgbClr val="812FF7"/>
                  </a:gs>
                  <a:gs pos="100000">
                    <a:srgbClr val="991CE1"/>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l" defTabSz="93219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72" panose="020B0503030000000003" pitchFamily="34" charset="0"/>
                </a:endParaRPr>
              </a:p>
            </p:txBody>
          </p:sp>
          <p:pic>
            <p:nvPicPr>
              <p:cNvPr id="1850" name="Graphic 1849">
                <a:extLst>
                  <a:ext uri="{FF2B5EF4-FFF2-40B4-BE49-F238E27FC236}">
                    <a16:creationId xmlns:a16="http://schemas.microsoft.com/office/drawing/2014/main" id="{40C0E24F-95A8-A966-EFD8-0226AA0218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23721" y="594935"/>
                <a:ext cx="370367" cy="370365"/>
              </a:xfrm>
              <a:prstGeom prst="rect">
                <a:avLst/>
              </a:prstGeom>
            </p:spPr>
          </p:pic>
        </p:grpSp>
        <p:cxnSp>
          <p:nvCxnSpPr>
            <p:cNvPr id="930" name="Straight Arrow Connector 929">
              <a:extLst>
                <a:ext uri="{FF2B5EF4-FFF2-40B4-BE49-F238E27FC236}">
                  <a16:creationId xmlns:a16="http://schemas.microsoft.com/office/drawing/2014/main" id="{9CB54DA1-CE86-E58D-1481-6B25F443BD08}"/>
                </a:ext>
              </a:extLst>
            </p:cNvPr>
            <p:cNvCxnSpPr/>
            <p:nvPr/>
          </p:nvCxnSpPr>
          <p:spPr>
            <a:xfrm flipV="1">
              <a:off x="9599109" y="2184932"/>
              <a:ext cx="0" cy="498976"/>
            </a:xfrm>
            <a:prstGeom prst="straightConnector1">
              <a:avLst/>
            </a:prstGeom>
            <a:ln w="12700">
              <a:gradFill>
                <a:gsLst>
                  <a:gs pos="0">
                    <a:schemeClr val="bg1">
                      <a:alpha val="0"/>
                    </a:schemeClr>
                  </a:gs>
                  <a:gs pos="100000">
                    <a:schemeClr val="bg1"/>
                  </a:gs>
                </a:gsLst>
                <a:lin ang="5400000" scaled="1"/>
              </a:gradFill>
              <a:headEnd type="none" w="med" len="med"/>
              <a:tailEnd type="arrow" w="med" len="sm"/>
            </a:ln>
          </p:spPr>
          <p:style>
            <a:lnRef idx="1">
              <a:schemeClr val="accent1"/>
            </a:lnRef>
            <a:fillRef idx="0">
              <a:schemeClr val="accent1"/>
            </a:fillRef>
            <a:effectRef idx="0">
              <a:schemeClr val="accent1"/>
            </a:effectRef>
            <a:fontRef idx="minor">
              <a:schemeClr val="tx1"/>
            </a:fontRef>
          </p:style>
        </p:cxnSp>
        <p:sp>
          <p:nvSpPr>
            <p:cNvPr id="931" name="Rectangle: Rounded Corners 930">
              <a:extLst>
                <a:ext uri="{FF2B5EF4-FFF2-40B4-BE49-F238E27FC236}">
                  <a16:creationId xmlns:a16="http://schemas.microsoft.com/office/drawing/2014/main" id="{7264EDC1-A958-09BD-9E4B-3C8FE4AF9C96}"/>
                </a:ext>
              </a:extLst>
            </p:cNvPr>
            <p:cNvSpPr/>
            <p:nvPr/>
          </p:nvSpPr>
          <p:spPr bwMode="gray">
            <a:xfrm>
              <a:off x="3251314" y="2411506"/>
              <a:ext cx="5658892" cy="447675"/>
            </a:xfrm>
            <a:prstGeom prst="roundRect">
              <a:avLst>
                <a:gd name="adj" fmla="val 15958"/>
              </a:avLst>
            </a:prstGeom>
            <a:noFill/>
            <a:ln w="6350" algn="ctr">
              <a:gradFill>
                <a:gsLst>
                  <a:gs pos="0">
                    <a:schemeClr val="bg1">
                      <a:alpha val="70000"/>
                    </a:schemeClr>
                  </a:gs>
                  <a:gs pos="100000">
                    <a:schemeClr val="bg1"/>
                  </a:gs>
                </a:gsLst>
                <a:lin ang="5400000" scaled="1"/>
              </a:gradFill>
              <a:miter lim="800000"/>
              <a:headEnd/>
              <a:tailEnd/>
            </a:ln>
          </p:spPr>
          <p:txBody>
            <a:bodyPr lIns="182880" tIns="146304" rIns="182880" bIns="146304" rtlCol="0" anchor="t"/>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200"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grpSp>
          <p:nvGrpSpPr>
            <p:cNvPr id="936" name="Group 935">
              <a:extLst>
                <a:ext uri="{FF2B5EF4-FFF2-40B4-BE49-F238E27FC236}">
                  <a16:creationId xmlns:a16="http://schemas.microsoft.com/office/drawing/2014/main" id="{78425C4F-2163-9232-7F16-5463D2623D3F}"/>
                </a:ext>
              </a:extLst>
            </p:cNvPr>
            <p:cNvGrpSpPr/>
            <p:nvPr/>
          </p:nvGrpSpPr>
          <p:grpSpPr>
            <a:xfrm>
              <a:off x="4199810" y="2304593"/>
              <a:ext cx="211456" cy="211454"/>
              <a:chOff x="7581900" y="2819400"/>
              <a:chExt cx="188119" cy="188119"/>
            </a:xfrm>
          </p:grpSpPr>
          <p:sp>
            <p:nvSpPr>
              <p:cNvPr id="1842" name="Rectangle: Rounded Corners 1841">
                <a:extLst>
                  <a:ext uri="{FF2B5EF4-FFF2-40B4-BE49-F238E27FC236}">
                    <a16:creationId xmlns:a16="http://schemas.microsoft.com/office/drawing/2014/main" id="{6AECAEFE-BFCB-640B-C707-A18C3E97191D}"/>
                  </a:ext>
                </a:extLst>
              </p:cNvPr>
              <p:cNvSpPr/>
              <p:nvPr/>
            </p:nvSpPr>
            <p:spPr bwMode="gray">
              <a:xfrm>
                <a:off x="7581900" y="2819400"/>
                <a:ext cx="188119" cy="188119"/>
              </a:xfrm>
              <a:prstGeom prst="roundRect">
                <a:avLst/>
              </a:prstGeom>
              <a:solidFill>
                <a:srgbClr val="7858FF"/>
              </a:solidFill>
              <a:ln w="25400" algn="ctr">
                <a:noFill/>
                <a:miter lim="800000"/>
                <a:headEnd/>
                <a:tailEnd/>
              </a:ln>
            </p:spPr>
            <p:txBody>
              <a:bodyPr lIns="182880" tIns="146304" rIns="182880" bIns="146304" rtlCol="0" anchor="t"/>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200"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pic>
            <p:nvPicPr>
              <p:cNvPr id="1843" name="Graphic 1842">
                <a:extLst>
                  <a:ext uri="{FF2B5EF4-FFF2-40B4-BE49-F238E27FC236}">
                    <a16:creationId xmlns:a16="http://schemas.microsoft.com/office/drawing/2014/main" id="{592CE77E-8CEF-46C3-1E8C-4951DF76900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17763" y="2855347"/>
                <a:ext cx="116392" cy="116224"/>
              </a:xfrm>
              <a:prstGeom prst="rect">
                <a:avLst/>
              </a:prstGeom>
              <a:effectLst>
                <a:outerShdw blurRad="1136704" dist="50800" dir="5400000" algn="ctr" rotWithShape="0">
                  <a:srgbClr val="001349">
                    <a:alpha val="21722"/>
                  </a:srgbClr>
                </a:outerShdw>
              </a:effectLst>
            </p:spPr>
          </p:pic>
        </p:grpSp>
        <p:grpSp>
          <p:nvGrpSpPr>
            <p:cNvPr id="937" name="Group 936">
              <a:extLst>
                <a:ext uri="{FF2B5EF4-FFF2-40B4-BE49-F238E27FC236}">
                  <a16:creationId xmlns:a16="http://schemas.microsoft.com/office/drawing/2014/main" id="{FECE1C6A-E4FF-2C84-837A-D610A3FF4426}"/>
                </a:ext>
              </a:extLst>
            </p:cNvPr>
            <p:cNvGrpSpPr/>
            <p:nvPr/>
          </p:nvGrpSpPr>
          <p:grpSpPr>
            <a:xfrm>
              <a:off x="5975032" y="2304593"/>
              <a:ext cx="211456" cy="211454"/>
              <a:chOff x="7581900" y="2819400"/>
              <a:chExt cx="188119" cy="188119"/>
            </a:xfrm>
          </p:grpSpPr>
          <p:sp>
            <p:nvSpPr>
              <p:cNvPr id="1840" name="Rectangle: Rounded Corners 1839">
                <a:extLst>
                  <a:ext uri="{FF2B5EF4-FFF2-40B4-BE49-F238E27FC236}">
                    <a16:creationId xmlns:a16="http://schemas.microsoft.com/office/drawing/2014/main" id="{1CEF898E-2CDE-DF19-AF95-A2EC06977820}"/>
                  </a:ext>
                </a:extLst>
              </p:cNvPr>
              <p:cNvSpPr/>
              <p:nvPr/>
            </p:nvSpPr>
            <p:spPr bwMode="gray">
              <a:xfrm>
                <a:off x="7581900" y="2819400"/>
                <a:ext cx="188119" cy="188119"/>
              </a:xfrm>
              <a:prstGeom prst="roundRect">
                <a:avLst/>
              </a:prstGeom>
              <a:solidFill>
                <a:srgbClr val="7858FF"/>
              </a:solidFill>
              <a:ln w="25400" algn="ctr">
                <a:noFill/>
                <a:miter lim="800000"/>
                <a:headEnd/>
                <a:tailEnd/>
              </a:ln>
            </p:spPr>
            <p:txBody>
              <a:bodyPr lIns="182880" tIns="146304" rIns="182880" bIns="146304" rtlCol="0" anchor="t"/>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200"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pic>
            <p:nvPicPr>
              <p:cNvPr id="1841" name="Graphic 1840">
                <a:extLst>
                  <a:ext uri="{FF2B5EF4-FFF2-40B4-BE49-F238E27FC236}">
                    <a16:creationId xmlns:a16="http://schemas.microsoft.com/office/drawing/2014/main" id="{C3A06F9B-0FC3-19C0-AEDB-B43A09ED2CD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17763" y="2855347"/>
                <a:ext cx="116392" cy="116224"/>
              </a:xfrm>
              <a:prstGeom prst="rect">
                <a:avLst/>
              </a:prstGeom>
              <a:effectLst>
                <a:outerShdw blurRad="1136704" dist="50800" dir="5400000" algn="ctr" rotWithShape="0">
                  <a:srgbClr val="001349">
                    <a:alpha val="21722"/>
                  </a:srgbClr>
                </a:outerShdw>
              </a:effectLst>
            </p:spPr>
          </p:pic>
        </p:grpSp>
        <p:grpSp>
          <p:nvGrpSpPr>
            <p:cNvPr id="959" name="Group 958">
              <a:extLst>
                <a:ext uri="{FF2B5EF4-FFF2-40B4-BE49-F238E27FC236}">
                  <a16:creationId xmlns:a16="http://schemas.microsoft.com/office/drawing/2014/main" id="{EA25DEC9-4991-9018-10E9-CCCE4335C866}"/>
                </a:ext>
              </a:extLst>
            </p:cNvPr>
            <p:cNvGrpSpPr/>
            <p:nvPr/>
          </p:nvGrpSpPr>
          <p:grpSpPr>
            <a:xfrm>
              <a:off x="7750254" y="2304593"/>
              <a:ext cx="211456" cy="211454"/>
              <a:chOff x="7581900" y="2819400"/>
              <a:chExt cx="188119" cy="188119"/>
            </a:xfrm>
          </p:grpSpPr>
          <p:sp>
            <p:nvSpPr>
              <p:cNvPr id="1838" name="Rectangle: Rounded Corners 1837">
                <a:extLst>
                  <a:ext uri="{FF2B5EF4-FFF2-40B4-BE49-F238E27FC236}">
                    <a16:creationId xmlns:a16="http://schemas.microsoft.com/office/drawing/2014/main" id="{C100F63F-56AB-33D8-3C59-7A9E00224412}"/>
                  </a:ext>
                </a:extLst>
              </p:cNvPr>
              <p:cNvSpPr/>
              <p:nvPr/>
            </p:nvSpPr>
            <p:spPr bwMode="gray">
              <a:xfrm>
                <a:off x="7581900" y="2819400"/>
                <a:ext cx="188119" cy="188119"/>
              </a:xfrm>
              <a:prstGeom prst="roundRect">
                <a:avLst/>
              </a:prstGeom>
              <a:solidFill>
                <a:srgbClr val="7858FF"/>
              </a:solidFill>
              <a:ln w="25400" algn="ctr">
                <a:noFill/>
                <a:miter lim="800000"/>
                <a:headEnd/>
                <a:tailEnd/>
              </a:ln>
            </p:spPr>
            <p:txBody>
              <a:bodyPr lIns="182880" tIns="146304" rIns="182880" bIns="146304" rtlCol="0" anchor="t"/>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200"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pic>
            <p:nvPicPr>
              <p:cNvPr id="1839" name="Graphic 1838">
                <a:extLst>
                  <a:ext uri="{FF2B5EF4-FFF2-40B4-BE49-F238E27FC236}">
                    <a16:creationId xmlns:a16="http://schemas.microsoft.com/office/drawing/2014/main" id="{4BC2FD4C-5FF9-AC94-F5F6-52F5DEC299E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17763" y="2855347"/>
                <a:ext cx="116392" cy="116224"/>
              </a:xfrm>
              <a:prstGeom prst="rect">
                <a:avLst/>
              </a:prstGeom>
              <a:effectLst>
                <a:outerShdw blurRad="1136704" dist="50800" dir="5400000" algn="ctr" rotWithShape="0">
                  <a:srgbClr val="001349">
                    <a:alpha val="21722"/>
                  </a:srgbClr>
                </a:outerShdw>
              </a:effectLst>
            </p:spPr>
          </p:pic>
        </p:grpSp>
        <p:grpSp>
          <p:nvGrpSpPr>
            <p:cNvPr id="1792" name="Group 1791">
              <a:extLst>
                <a:ext uri="{FF2B5EF4-FFF2-40B4-BE49-F238E27FC236}">
                  <a16:creationId xmlns:a16="http://schemas.microsoft.com/office/drawing/2014/main" id="{4971A4DA-2EA7-AE79-F7A9-C47FE9B34FBC}"/>
                </a:ext>
              </a:extLst>
            </p:cNvPr>
            <p:cNvGrpSpPr/>
            <p:nvPr/>
          </p:nvGrpSpPr>
          <p:grpSpPr>
            <a:xfrm>
              <a:off x="4199810" y="2749885"/>
              <a:ext cx="211456" cy="211454"/>
              <a:chOff x="7581900" y="2819400"/>
              <a:chExt cx="188119" cy="188119"/>
            </a:xfrm>
          </p:grpSpPr>
          <p:sp>
            <p:nvSpPr>
              <p:cNvPr id="1836" name="Rectangle: Rounded Corners 1835">
                <a:extLst>
                  <a:ext uri="{FF2B5EF4-FFF2-40B4-BE49-F238E27FC236}">
                    <a16:creationId xmlns:a16="http://schemas.microsoft.com/office/drawing/2014/main" id="{BA8B7898-B395-18DC-19DC-6341DA2F2F3F}"/>
                  </a:ext>
                </a:extLst>
              </p:cNvPr>
              <p:cNvSpPr/>
              <p:nvPr/>
            </p:nvSpPr>
            <p:spPr bwMode="gray">
              <a:xfrm>
                <a:off x="7581900" y="2819400"/>
                <a:ext cx="188119" cy="188119"/>
              </a:xfrm>
              <a:prstGeom prst="roundRect">
                <a:avLst/>
              </a:prstGeom>
              <a:solidFill>
                <a:srgbClr val="7858FF"/>
              </a:solidFill>
              <a:ln w="25400" algn="ctr">
                <a:noFill/>
                <a:miter lim="800000"/>
                <a:headEnd/>
                <a:tailEnd/>
              </a:ln>
            </p:spPr>
            <p:txBody>
              <a:bodyPr lIns="182880" tIns="146304" rIns="182880" bIns="146304" rtlCol="0" anchor="t"/>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200"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pic>
            <p:nvPicPr>
              <p:cNvPr id="1837" name="Graphic 1836">
                <a:extLst>
                  <a:ext uri="{FF2B5EF4-FFF2-40B4-BE49-F238E27FC236}">
                    <a16:creationId xmlns:a16="http://schemas.microsoft.com/office/drawing/2014/main" id="{39963C8B-103A-052E-BD47-C82AFA9C05D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17763" y="2855347"/>
                <a:ext cx="116392" cy="116224"/>
              </a:xfrm>
              <a:prstGeom prst="rect">
                <a:avLst/>
              </a:prstGeom>
              <a:effectLst>
                <a:outerShdw blurRad="1136704" dist="50800" dir="5400000" algn="ctr" rotWithShape="0">
                  <a:srgbClr val="001349">
                    <a:alpha val="21722"/>
                  </a:srgbClr>
                </a:outerShdw>
              </a:effectLst>
            </p:spPr>
          </p:pic>
        </p:grpSp>
        <p:grpSp>
          <p:nvGrpSpPr>
            <p:cNvPr id="1796" name="Group 1795">
              <a:extLst>
                <a:ext uri="{FF2B5EF4-FFF2-40B4-BE49-F238E27FC236}">
                  <a16:creationId xmlns:a16="http://schemas.microsoft.com/office/drawing/2014/main" id="{1C08FA4E-38BD-9D36-D48E-29B35F3E45E4}"/>
                </a:ext>
              </a:extLst>
            </p:cNvPr>
            <p:cNvGrpSpPr/>
            <p:nvPr/>
          </p:nvGrpSpPr>
          <p:grpSpPr>
            <a:xfrm>
              <a:off x="5975032" y="2749885"/>
              <a:ext cx="211456" cy="211454"/>
              <a:chOff x="7581900" y="2819400"/>
              <a:chExt cx="188119" cy="188119"/>
            </a:xfrm>
          </p:grpSpPr>
          <p:sp>
            <p:nvSpPr>
              <p:cNvPr id="1834" name="Rectangle: Rounded Corners 1833">
                <a:extLst>
                  <a:ext uri="{FF2B5EF4-FFF2-40B4-BE49-F238E27FC236}">
                    <a16:creationId xmlns:a16="http://schemas.microsoft.com/office/drawing/2014/main" id="{3CB72EFF-07F6-C72C-FE42-611069EF3EDC}"/>
                  </a:ext>
                </a:extLst>
              </p:cNvPr>
              <p:cNvSpPr/>
              <p:nvPr/>
            </p:nvSpPr>
            <p:spPr bwMode="gray">
              <a:xfrm>
                <a:off x="7581900" y="2819400"/>
                <a:ext cx="188119" cy="188119"/>
              </a:xfrm>
              <a:prstGeom prst="roundRect">
                <a:avLst/>
              </a:prstGeom>
              <a:solidFill>
                <a:srgbClr val="7858FF"/>
              </a:solidFill>
              <a:ln w="25400" algn="ctr">
                <a:noFill/>
                <a:miter lim="800000"/>
                <a:headEnd/>
                <a:tailEnd/>
              </a:ln>
            </p:spPr>
            <p:txBody>
              <a:bodyPr lIns="182880" tIns="146304" rIns="182880" bIns="146304" rtlCol="0" anchor="t"/>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200"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pic>
            <p:nvPicPr>
              <p:cNvPr id="1835" name="Graphic 1834">
                <a:extLst>
                  <a:ext uri="{FF2B5EF4-FFF2-40B4-BE49-F238E27FC236}">
                    <a16:creationId xmlns:a16="http://schemas.microsoft.com/office/drawing/2014/main" id="{16C50190-A0A0-5A46-C42E-A3F3F67CEE9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17763" y="2855347"/>
                <a:ext cx="116392" cy="116224"/>
              </a:xfrm>
              <a:prstGeom prst="rect">
                <a:avLst/>
              </a:prstGeom>
              <a:effectLst>
                <a:outerShdw blurRad="1136704" dist="50800" dir="5400000" algn="ctr" rotWithShape="0">
                  <a:srgbClr val="001349">
                    <a:alpha val="21722"/>
                  </a:srgbClr>
                </a:outerShdw>
              </a:effectLst>
            </p:spPr>
          </p:pic>
        </p:grpSp>
        <p:grpSp>
          <p:nvGrpSpPr>
            <p:cNvPr id="1797" name="Group 1796">
              <a:extLst>
                <a:ext uri="{FF2B5EF4-FFF2-40B4-BE49-F238E27FC236}">
                  <a16:creationId xmlns:a16="http://schemas.microsoft.com/office/drawing/2014/main" id="{06EC1F8E-7CE0-01BC-7D20-7D9A38D54195}"/>
                </a:ext>
              </a:extLst>
            </p:cNvPr>
            <p:cNvGrpSpPr/>
            <p:nvPr/>
          </p:nvGrpSpPr>
          <p:grpSpPr>
            <a:xfrm>
              <a:off x="7750254" y="2749885"/>
              <a:ext cx="211456" cy="211454"/>
              <a:chOff x="7581900" y="2819400"/>
              <a:chExt cx="188119" cy="188119"/>
            </a:xfrm>
          </p:grpSpPr>
          <p:sp>
            <p:nvSpPr>
              <p:cNvPr id="1832" name="Rectangle: Rounded Corners 1831">
                <a:extLst>
                  <a:ext uri="{FF2B5EF4-FFF2-40B4-BE49-F238E27FC236}">
                    <a16:creationId xmlns:a16="http://schemas.microsoft.com/office/drawing/2014/main" id="{DC10C7CE-8500-0B10-0472-36E2FA5AC100}"/>
                  </a:ext>
                </a:extLst>
              </p:cNvPr>
              <p:cNvSpPr/>
              <p:nvPr/>
            </p:nvSpPr>
            <p:spPr bwMode="gray">
              <a:xfrm>
                <a:off x="7581900" y="2819400"/>
                <a:ext cx="188119" cy="188119"/>
              </a:xfrm>
              <a:prstGeom prst="roundRect">
                <a:avLst/>
              </a:prstGeom>
              <a:solidFill>
                <a:srgbClr val="7858FF"/>
              </a:solidFill>
              <a:ln w="25400" algn="ctr">
                <a:noFill/>
                <a:miter lim="800000"/>
                <a:headEnd/>
                <a:tailEnd/>
              </a:ln>
            </p:spPr>
            <p:txBody>
              <a:bodyPr lIns="182880" tIns="146304" rIns="182880" bIns="146304" rtlCol="0" anchor="t"/>
              <a:lstStyle/>
              <a:p>
                <a:pPr marL="0" marR="0" lvl="0" indent="0" algn="l"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200"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pic>
            <p:nvPicPr>
              <p:cNvPr id="1833" name="Graphic 1832">
                <a:extLst>
                  <a:ext uri="{FF2B5EF4-FFF2-40B4-BE49-F238E27FC236}">
                    <a16:creationId xmlns:a16="http://schemas.microsoft.com/office/drawing/2014/main" id="{95A96660-5E88-7997-14A4-76F2FE746E1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17763" y="2855347"/>
                <a:ext cx="116392" cy="116224"/>
              </a:xfrm>
              <a:prstGeom prst="rect">
                <a:avLst/>
              </a:prstGeom>
              <a:effectLst>
                <a:outerShdw blurRad="1136704" dist="50800" dir="5400000" algn="ctr" rotWithShape="0">
                  <a:srgbClr val="001349">
                    <a:alpha val="21722"/>
                  </a:srgbClr>
                </a:outerShdw>
              </a:effectLst>
            </p:spPr>
          </p:pic>
        </p:grpSp>
        <p:grpSp>
          <p:nvGrpSpPr>
            <p:cNvPr id="1798" name="Group 1797">
              <a:extLst>
                <a:ext uri="{FF2B5EF4-FFF2-40B4-BE49-F238E27FC236}">
                  <a16:creationId xmlns:a16="http://schemas.microsoft.com/office/drawing/2014/main" id="{5DAAA351-E409-164F-3ED3-0B6B7D09D6F8}"/>
                </a:ext>
              </a:extLst>
            </p:cNvPr>
            <p:cNvGrpSpPr/>
            <p:nvPr/>
          </p:nvGrpSpPr>
          <p:grpSpPr>
            <a:xfrm rot="18052365" flipH="1">
              <a:off x="5123751" y="2320053"/>
              <a:ext cx="106556" cy="169469"/>
              <a:chOff x="1781040" y="3052066"/>
              <a:chExt cx="141719" cy="225394"/>
            </a:xfrm>
          </p:grpSpPr>
          <p:sp>
            <p:nvSpPr>
              <p:cNvPr id="1830" name="Rectangle 1829">
                <a:extLst>
                  <a:ext uri="{FF2B5EF4-FFF2-40B4-BE49-F238E27FC236}">
                    <a16:creationId xmlns:a16="http://schemas.microsoft.com/office/drawing/2014/main" id="{9E5D38C3-23A9-D830-C7E6-926ABDCE31F2}"/>
                  </a:ext>
                </a:extLst>
              </p:cNvPr>
              <p:cNvSpPr/>
              <p:nvPr/>
            </p:nvSpPr>
            <p:spPr bwMode="gray">
              <a:xfrm rot="18025869">
                <a:off x="1803309" y="3093562"/>
                <a:ext cx="160946" cy="77954"/>
              </a:xfrm>
              <a:prstGeom prst="rect">
                <a:avLst/>
              </a:prstGeom>
              <a:gradFill flip="none" rotWithShape="1">
                <a:gsLst>
                  <a:gs pos="0">
                    <a:srgbClr val="7858FF"/>
                  </a:gs>
                  <a:gs pos="100000">
                    <a:srgbClr val="7858FF">
                      <a:alpha val="0"/>
                    </a:srgbClr>
                  </a:gs>
                </a:gsLst>
                <a:lin ang="0" scaled="1"/>
                <a:tileRect/>
              </a:gradFill>
              <a:ln w="25400" algn="ctr">
                <a:noFill/>
                <a:miter lim="800000"/>
                <a:headEnd/>
                <a:tailEnd/>
              </a:ln>
            </p:spPr>
            <p:txBody>
              <a:bodyPr lIns="162507" tIns="130006" rIns="162507" bIns="130006" rtlCol="0" anchor="t"/>
              <a:lstStyle/>
              <a:p>
                <a:pPr marL="0" marR="0" lvl="0" indent="0" algn="l" defTabSz="902848" rtl="0" eaLnBrk="1" fontAlgn="base" latinLnBrk="0" hangingPunct="1">
                  <a:lnSpc>
                    <a:spcPct val="100000"/>
                  </a:lnSpc>
                  <a:spcBef>
                    <a:spcPct val="50000"/>
                  </a:spcBef>
                  <a:spcAft>
                    <a:spcPct val="0"/>
                  </a:spcAft>
                  <a:buClr>
                    <a:srgbClr val="F0AB00"/>
                  </a:buClr>
                  <a:buSzPct val="80000"/>
                  <a:buFontTx/>
                  <a:buNone/>
                  <a:tabLst/>
                  <a:defRPr/>
                </a:pPr>
                <a:endParaRPr kumimoji="0" lang="en-US" sz="1086"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sp>
            <p:nvSpPr>
              <p:cNvPr id="1831" name="Rectangle 157">
                <a:extLst>
                  <a:ext uri="{FF2B5EF4-FFF2-40B4-BE49-F238E27FC236}">
                    <a16:creationId xmlns:a16="http://schemas.microsoft.com/office/drawing/2014/main" id="{AB4B6C21-285E-980F-E0C1-557ACBFC3E8F}"/>
                  </a:ext>
                </a:extLst>
              </p:cNvPr>
              <p:cNvSpPr/>
              <p:nvPr/>
            </p:nvSpPr>
            <p:spPr bwMode="gray">
              <a:xfrm rot="15300000">
                <a:off x="1781040" y="3208041"/>
                <a:ext cx="69419" cy="69419"/>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6350" cap="rnd" algn="ctr">
                <a:solidFill>
                  <a:schemeClr val="bg1"/>
                </a:solidFill>
                <a:round/>
                <a:headEnd/>
                <a:tailEnd/>
              </a:ln>
            </p:spPr>
            <p:txBody>
              <a:bodyPr lIns="162507" tIns="130006" rIns="162507" bIns="130006" rtlCol="0" anchor="t"/>
              <a:lstStyle/>
              <a:p>
                <a:pPr marL="0" marR="0" lvl="0" indent="0" algn="l" defTabSz="902848" rtl="0" eaLnBrk="1" fontAlgn="base" latinLnBrk="0" hangingPunct="1">
                  <a:lnSpc>
                    <a:spcPct val="100000"/>
                  </a:lnSpc>
                  <a:spcBef>
                    <a:spcPct val="50000"/>
                  </a:spcBef>
                  <a:spcAft>
                    <a:spcPct val="0"/>
                  </a:spcAft>
                  <a:buClr>
                    <a:srgbClr val="F0AB00"/>
                  </a:buClr>
                  <a:buSzPct val="80000"/>
                  <a:buFontTx/>
                  <a:buNone/>
                  <a:tabLst/>
                  <a:defRPr/>
                </a:pPr>
                <a:endParaRPr kumimoji="0" lang="en-US" sz="1086" b="0" i="0" u="none" strike="noStrike" kern="0" cap="none" spc="0" normalizeH="0" baseline="0" noProof="0">
                  <a:ln>
                    <a:noFill/>
                  </a:ln>
                  <a:solidFill>
                    <a:srgbClr val="000000"/>
                  </a:solidFill>
                  <a:effectLst/>
                  <a:uLnTx/>
                  <a:uFillTx/>
                  <a:latin typeface="72 Brand"/>
                  <a:ea typeface="+mn-ea"/>
                  <a:cs typeface="+mn-cs"/>
                </a:endParaRPr>
              </a:p>
            </p:txBody>
          </p:sp>
        </p:grpSp>
        <p:grpSp>
          <p:nvGrpSpPr>
            <p:cNvPr id="1799" name="Group 1798">
              <a:extLst>
                <a:ext uri="{FF2B5EF4-FFF2-40B4-BE49-F238E27FC236}">
                  <a16:creationId xmlns:a16="http://schemas.microsoft.com/office/drawing/2014/main" id="{B321A1B8-7478-9C6A-B880-C3D7C8EF3F97}"/>
                </a:ext>
              </a:extLst>
            </p:cNvPr>
            <p:cNvGrpSpPr/>
            <p:nvPr/>
          </p:nvGrpSpPr>
          <p:grpSpPr>
            <a:xfrm rot="18052365" flipH="1">
              <a:off x="6847776" y="2320052"/>
              <a:ext cx="106556" cy="169469"/>
              <a:chOff x="1781040" y="3052066"/>
              <a:chExt cx="141719" cy="225394"/>
            </a:xfrm>
          </p:grpSpPr>
          <p:sp>
            <p:nvSpPr>
              <p:cNvPr id="1828" name="Rectangle 1827">
                <a:extLst>
                  <a:ext uri="{FF2B5EF4-FFF2-40B4-BE49-F238E27FC236}">
                    <a16:creationId xmlns:a16="http://schemas.microsoft.com/office/drawing/2014/main" id="{CFE5D0C8-222E-18C4-0F36-7BDB5EDF4804}"/>
                  </a:ext>
                </a:extLst>
              </p:cNvPr>
              <p:cNvSpPr/>
              <p:nvPr/>
            </p:nvSpPr>
            <p:spPr bwMode="gray">
              <a:xfrm rot="18025869">
                <a:off x="1803309" y="3093562"/>
                <a:ext cx="160946" cy="77954"/>
              </a:xfrm>
              <a:prstGeom prst="rect">
                <a:avLst/>
              </a:prstGeom>
              <a:gradFill flip="none" rotWithShape="1">
                <a:gsLst>
                  <a:gs pos="0">
                    <a:srgbClr val="7858FF"/>
                  </a:gs>
                  <a:gs pos="100000">
                    <a:srgbClr val="7858FF">
                      <a:alpha val="0"/>
                    </a:srgbClr>
                  </a:gs>
                </a:gsLst>
                <a:lin ang="0" scaled="1"/>
                <a:tileRect/>
              </a:gradFill>
              <a:ln w="25400" algn="ctr">
                <a:noFill/>
                <a:miter lim="800000"/>
                <a:headEnd/>
                <a:tailEnd/>
              </a:ln>
            </p:spPr>
            <p:txBody>
              <a:bodyPr lIns="162507" tIns="130006" rIns="162507" bIns="130006" rtlCol="0" anchor="t"/>
              <a:lstStyle/>
              <a:p>
                <a:pPr marL="0" marR="0" lvl="0" indent="0" algn="l" defTabSz="902848" rtl="0" eaLnBrk="1" fontAlgn="base" latinLnBrk="0" hangingPunct="1">
                  <a:lnSpc>
                    <a:spcPct val="100000"/>
                  </a:lnSpc>
                  <a:spcBef>
                    <a:spcPct val="50000"/>
                  </a:spcBef>
                  <a:spcAft>
                    <a:spcPct val="0"/>
                  </a:spcAft>
                  <a:buClr>
                    <a:srgbClr val="F0AB00"/>
                  </a:buClr>
                  <a:buSzPct val="80000"/>
                  <a:buFontTx/>
                  <a:buNone/>
                  <a:tabLst/>
                  <a:defRPr/>
                </a:pPr>
                <a:endParaRPr kumimoji="0" lang="en-US" sz="1086"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sp>
            <p:nvSpPr>
              <p:cNvPr id="1829" name="Rectangle 157">
                <a:extLst>
                  <a:ext uri="{FF2B5EF4-FFF2-40B4-BE49-F238E27FC236}">
                    <a16:creationId xmlns:a16="http://schemas.microsoft.com/office/drawing/2014/main" id="{ED64ADE7-B358-69C3-F994-9A4354274403}"/>
                  </a:ext>
                </a:extLst>
              </p:cNvPr>
              <p:cNvSpPr/>
              <p:nvPr/>
            </p:nvSpPr>
            <p:spPr bwMode="gray">
              <a:xfrm rot="15300000">
                <a:off x="1781040" y="3208041"/>
                <a:ext cx="69419" cy="69419"/>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6350" cap="rnd" algn="ctr">
                <a:solidFill>
                  <a:schemeClr val="bg1"/>
                </a:solidFill>
                <a:round/>
                <a:headEnd/>
                <a:tailEnd/>
              </a:ln>
            </p:spPr>
            <p:txBody>
              <a:bodyPr lIns="162507" tIns="130006" rIns="162507" bIns="130006" rtlCol="0" anchor="t"/>
              <a:lstStyle/>
              <a:p>
                <a:pPr marL="0" marR="0" lvl="0" indent="0" algn="l" defTabSz="902848" rtl="0" eaLnBrk="1" fontAlgn="base" latinLnBrk="0" hangingPunct="1">
                  <a:lnSpc>
                    <a:spcPct val="100000"/>
                  </a:lnSpc>
                  <a:spcBef>
                    <a:spcPct val="50000"/>
                  </a:spcBef>
                  <a:spcAft>
                    <a:spcPct val="0"/>
                  </a:spcAft>
                  <a:buClr>
                    <a:srgbClr val="F0AB00"/>
                  </a:buClr>
                  <a:buSzPct val="80000"/>
                  <a:buFontTx/>
                  <a:buNone/>
                  <a:tabLst/>
                  <a:defRPr/>
                </a:pPr>
                <a:endParaRPr kumimoji="0" lang="en-US" sz="1086" b="0" i="0" u="none" strike="noStrike" kern="0" cap="none" spc="0" normalizeH="0" baseline="0" noProof="0">
                  <a:ln>
                    <a:noFill/>
                  </a:ln>
                  <a:solidFill>
                    <a:srgbClr val="000000"/>
                  </a:solidFill>
                  <a:effectLst/>
                  <a:uLnTx/>
                  <a:uFillTx/>
                  <a:latin typeface="72 Brand"/>
                  <a:ea typeface="+mn-ea"/>
                  <a:cs typeface="+mn-cs"/>
                </a:endParaRPr>
              </a:p>
            </p:txBody>
          </p:sp>
        </p:grpSp>
        <p:grpSp>
          <p:nvGrpSpPr>
            <p:cNvPr id="1800" name="Group 1799">
              <a:extLst>
                <a:ext uri="{FF2B5EF4-FFF2-40B4-BE49-F238E27FC236}">
                  <a16:creationId xmlns:a16="http://schemas.microsoft.com/office/drawing/2014/main" id="{4488986F-A5CD-D28C-B6AB-B424B8D94643}"/>
                </a:ext>
              </a:extLst>
            </p:cNvPr>
            <p:cNvGrpSpPr/>
            <p:nvPr/>
          </p:nvGrpSpPr>
          <p:grpSpPr>
            <a:xfrm rot="3547635">
              <a:off x="5223765" y="2767725"/>
              <a:ext cx="106556" cy="169469"/>
              <a:chOff x="1781040" y="3052066"/>
              <a:chExt cx="141719" cy="225394"/>
            </a:xfrm>
          </p:grpSpPr>
          <p:sp>
            <p:nvSpPr>
              <p:cNvPr id="1826" name="Rectangle 1825">
                <a:extLst>
                  <a:ext uri="{FF2B5EF4-FFF2-40B4-BE49-F238E27FC236}">
                    <a16:creationId xmlns:a16="http://schemas.microsoft.com/office/drawing/2014/main" id="{C47A393F-5469-87A1-9AF8-9DF15C5886D3}"/>
                  </a:ext>
                </a:extLst>
              </p:cNvPr>
              <p:cNvSpPr/>
              <p:nvPr/>
            </p:nvSpPr>
            <p:spPr bwMode="gray">
              <a:xfrm rot="18025869">
                <a:off x="1803309" y="3093562"/>
                <a:ext cx="160946" cy="77954"/>
              </a:xfrm>
              <a:prstGeom prst="rect">
                <a:avLst/>
              </a:prstGeom>
              <a:gradFill flip="none" rotWithShape="1">
                <a:gsLst>
                  <a:gs pos="0">
                    <a:srgbClr val="7858FF"/>
                  </a:gs>
                  <a:gs pos="100000">
                    <a:srgbClr val="7858FF">
                      <a:alpha val="0"/>
                    </a:srgbClr>
                  </a:gs>
                </a:gsLst>
                <a:lin ang="0" scaled="1"/>
                <a:tileRect/>
              </a:gradFill>
              <a:ln w="25400" algn="ctr">
                <a:noFill/>
                <a:miter lim="800000"/>
                <a:headEnd/>
                <a:tailEnd/>
              </a:ln>
            </p:spPr>
            <p:txBody>
              <a:bodyPr lIns="162507" tIns="130006" rIns="162507" bIns="130006" rtlCol="0" anchor="t"/>
              <a:lstStyle/>
              <a:p>
                <a:pPr marL="0" marR="0" lvl="0" indent="0" algn="l" defTabSz="902848" rtl="0" eaLnBrk="1" fontAlgn="base" latinLnBrk="0" hangingPunct="1">
                  <a:lnSpc>
                    <a:spcPct val="100000"/>
                  </a:lnSpc>
                  <a:spcBef>
                    <a:spcPct val="50000"/>
                  </a:spcBef>
                  <a:spcAft>
                    <a:spcPct val="0"/>
                  </a:spcAft>
                  <a:buClr>
                    <a:srgbClr val="F0AB00"/>
                  </a:buClr>
                  <a:buSzPct val="80000"/>
                  <a:buFontTx/>
                  <a:buNone/>
                  <a:tabLst/>
                  <a:defRPr/>
                </a:pPr>
                <a:endParaRPr kumimoji="0" lang="en-US" sz="1086"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sp>
            <p:nvSpPr>
              <p:cNvPr id="1827" name="Rectangle 157">
                <a:extLst>
                  <a:ext uri="{FF2B5EF4-FFF2-40B4-BE49-F238E27FC236}">
                    <a16:creationId xmlns:a16="http://schemas.microsoft.com/office/drawing/2014/main" id="{CA0AC147-FDF0-A6DB-1C97-57E9E33B92B7}"/>
                  </a:ext>
                </a:extLst>
              </p:cNvPr>
              <p:cNvSpPr/>
              <p:nvPr/>
            </p:nvSpPr>
            <p:spPr bwMode="gray">
              <a:xfrm rot="15300000">
                <a:off x="1781040" y="3208041"/>
                <a:ext cx="69419" cy="69419"/>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6350" cap="rnd" algn="ctr">
                <a:solidFill>
                  <a:schemeClr val="bg1"/>
                </a:solidFill>
                <a:round/>
                <a:headEnd/>
                <a:tailEnd/>
              </a:ln>
            </p:spPr>
            <p:txBody>
              <a:bodyPr lIns="162507" tIns="130006" rIns="162507" bIns="130006" rtlCol="0" anchor="t"/>
              <a:lstStyle/>
              <a:p>
                <a:pPr marL="0" marR="0" lvl="0" indent="0" algn="l" defTabSz="902848" rtl="0" eaLnBrk="1" fontAlgn="base" latinLnBrk="0" hangingPunct="1">
                  <a:lnSpc>
                    <a:spcPct val="100000"/>
                  </a:lnSpc>
                  <a:spcBef>
                    <a:spcPct val="50000"/>
                  </a:spcBef>
                  <a:spcAft>
                    <a:spcPct val="0"/>
                  </a:spcAft>
                  <a:buClr>
                    <a:srgbClr val="F0AB00"/>
                  </a:buClr>
                  <a:buSzPct val="80000"/>
                  <a:buFontTx/>
                  <a:buNone/>
                  <a:tabLst/>
                  <a:defRPr/>
                </a:pPr>
                <a:endParaRPr kumimoji="0" lang="en-US" sz="1086" b="0" i="0" u="none" strike="noStrike" kern="0" cap="none" spc="0" normalizeH="0" baseline="0" noProof="0">
                  <a:ln>
                    <a:noFill/>
                  </a:ln>
                  <a:solidFill>
                    <a:srgbClr val="000000"/>
                  </a:solidFill>
                  <a:effectLst/>
                  <a:uLnTx/>
                  <a:uFillTx/>
                  <a:latin typeface="72 Brand"/>
                  <a:ea typeface="+mn-ea"/>
                  <a:cs typeface="+mn-cs"/>
                </a:endParaRPr>
              </a:p>
            </p:txBody>
          </p:sp>
        </p:grpSp>
        <p:grpSp>
          <p:nvGrpSpPr>
            <p:cNvPr id="1801" name="Group 1800">
              <a:extLst>
                <a:ext uri="{FF2B5EF4-FFF2-40B4-BE49-F238E27FC236}">
                  <a16:creationId xmlns:a16="http://schemas.microsoft.com/office/drawing/2014/main" id="{3C872648-05FF-795E-9D20-B5ADD0C0AA26}"/>
                </a:ext>
              </a:extLst>
            </p:cNvPr>
            <p:cNvGrpSpPr/>
            <p:nvPr/>
          </p:nvGrpSpPr>
          <p:grpSpPr>
            <a:xfrm rot="3547635">
              <a:off x="6943026" y="2767724"/>
              <a:ext cx="106556" cy="169469"/>
              <a:chOff x="1781040" y="3052066"/>
              <a:chExt cx="141719" cy="225394"/>
            </a:xfrm>
          </p:grpSpPr>
          <p:sp>
            <p:nvSpPr>
              <p:cNvPr id="1824" name="Rectangle 1823">
                <a:extLst>
                  <a:ext uri="{FF2B5EF4-FFF2-40B4-BE49-F238E27FC236}">
                    <a16:creationId xmlns:a16="http://schemas.microsoft.com/office/drawing/2014/main" id="{DB642D83-7F50-F184-4CE4-621E45564756}"/>
                  </a:ext>
                </a:extLst>
              </p:cNvPr>
              <p:cNvSpPr/>
              <p:nvPr/>
            </p:nvSpPr>
            <p:spPr bwMode="gray">
              <a:xfrm rot="18025869">
                <a:off x="1803309" y="3093562"/>
                <a:ext cx="160946" cy="77954"/>
              </a:xfrm>
              <a:prstGeom prst="rect">
                <a:avLst/>
              </a:prstGeom>
              <a:gradFill flip="none" rotWithShape="1">
                <a:gsLst>
                  <a:gs pos="0">
                    <a:srgbClr val="7858FF"/>
                  </a:gs>
                  <a:gs pos="100000">
                    <a:srgbClr val="7858FF">
                      <a:alpha val="0"/>
                    </a:srgbClr>
                  </a:gs>
                </a:gsLst>
                <a:lin ang="0" scaled="1"/>
                <a:tileRect/>
              </a:gradFill>
              <a:ln w="25400" algn="ctr">
                <a:noFill/>
                <a:miter lim="800000"/>
                <a:headEnd/>
                <a:tailEnd/>
              </a:ln>
            </p:spPr>
            <p:txBody>
              <a:bodyPr lIns="162507" tIns="130006" rIns="162507" bIns="130006" rtlCol="0" anchor="t"/>
              <a:lstStyle/>
              <a:p>
                <a:pPr marL="0" marR="0" lvl="0" indent="0" algn="l" defTabSz="902848" rtl="0" eaLnBrk="1" fontAlgn="base" latinLnBrk="0" hangingPunct="1">
                  <a:lnSpc>
                    <a:spcPct val="100000"/>
                  </a:lnSpc>
                  <a:spcBef>
                    <a:spcPct val="50000"/>
                  </a:spcBef>
                  <a:spcAft>
                    <a:spcPct val="0"/>
                  </a:spcAft>
                  <a:buClr>
                    <a:srgbClr val="F0AB00"/>
                  </a:buClr>
                  <a:buSzPct val="80000"/>
                  <a:buFontTx/>
                  <a:buNone/>
                  <a:tabLst/>
                  <a:defRPr/>
                </a:pPr>
                <a:endParaRPr kumimoji="0" lang="en-US" sz="1086" b="0" i="0" u="none" strike="noStrike" kern="0" cap="none" spc="0" normalizeH="0" baseline="0" noProof="0">
                  <a:ln>
                    <a:noFill/>
                  </a:ln>
                  <a:solidFill>
                    <a:srgbClr val="000000"/>
                  </a:solidFill>
                  <a:effectLst/>
                  <a:uLnTx/>
                  <a:uFillTx/>
                  <a:latin typeface="72 Brand"/>
                  <a:ea typeface="72 Brand" pitchFamily="34" charset="-128"/>
                  <a:cs typeface="72 Brand" pitchFamily="34" charset="-128"/>
                </a:endParaRPr>
              </a:p>
            </p:txBody>
          </p:sp>
          <p:sp>
            <p:nvSpPr>
              <p:cNvPr id="1825" name="Rectangle 157">
                <a:extLst>
                  <a:ext uri="{FF2B5EF4-FFF2-40B4-BE49-F238E27FC236}">
                    <a16:creationId xmlns:a16="http://schemas.microsoft.com/office/drawing/2014/main" id="{A76AC334-3D3B-546F-7C74-A33AB7D71477}"/>
                  </a:ext>
                </a:extLst>
              </p:cNvPr>
              <p:cNvSpPr/>
              <p:nvPr/>
            </p:nvSpPr>
            <p:spPr bwMode="gray">
              <a:xfrm rot="15300000">
                <a:off x="1781040" y="3208041"/>
                <a:ext cx="69419" cy="69419"/>
              </a:xfrm>
              <a:custGeom>
                <a:avLst/>
                <a:gdLst>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0 w 904351"/>
                  <a:gd name="connsiteY4" fmla="*/ 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4" fmla="*/ 91440 w 904351"/>
                  <a:gd name="connsiteY4" fmla="*/ 91440 h 904351"/>
                  <a:gd name="connsiteX0" fmla="*/ 0 w 904351"/>
                  <a:gd name="connsiteY0" fmla="*/ 0 h 904351"/>
                  <a:gd name="connsiteX1" fmla="*/ 904351 w 904351"/>
                  <a:gd name="connsiteY1" fmla="*/ 0 h 904351"/>
                  <a:gd name="connsiteX2" fmla="*/ 904351 w 904351"/>
                  <a:gd name="connsiteY2" fmla="*/ 904351 h 904351"/>
                  <a:gd name="connsiteX3" fmla="*/ 0 w 904351"/>
                  <a:gd name="connsiteY3" fmla="*/ 904351 h 904351"/>
                  <a:gd name="connsiteX0" fmla="*/ 904351 w 904351"/>
                  <a:gd name="connsiteY0" fmla="*/ 0 h 904351"/>
                  <a:gd name="connsiteX1" fmla="*/ 904351 w 904351"/>
                  <a:gd name="connsiteY1" fmla="*/ 904351 h 904351"/>
                  <a:gd name="connsiteX2" fmla="*/ 0 w 904351"/>
                  <a:gd name="connsiteY2" fmla="*/ 904351 h 904351"/>
                </a:gdLst>
                <a:ahLst/>
                <a:cxnLst>
                  <a:cxn ang="0">
                    <a:pos x="connsiteX0" y="connsiteY0"/>
                  </a:cxn>
                  <a:cxn ang="0">
                    <a:pos x="connsiteX1" y="connsiteY1"/>
                  </a:cxn>
                  <a:cxn ang="0">
                    <a:pos x="connsiteX2" y="connsiteY2"/>
                  </a:cxn>
                </a:cxnLst>
                <a:rect l="l" t="t" r="r" b="b"/>
                <a:pathLst>
                  <a:path w="904351" h="904351">
                    <a:moveTo>
                      <a:pt x="904351" y="0"/>
                    </a:moveTo>
                    <a:lnTo>
                      <a:pt x="904351" y="904351"/>
                    </a:lnTo>
                    <a:lnTo>
                      <a:pt x="0" y="904351"/>
                    </a:lnTo>
                  </a:path>
                </a:pathLst>
              </a:custGeom>
              <a:noFill/>
              <a:ln w="6350" cap="rnd" algn="ctr">
                <a:solidFill>
                  <a:schemeClr val="bg1"/>
                </a:solidFill>
                <a:round/>
                <a:headEnd/>
                <a:tailEnd/>
              </a:ln>
            </p:spPr>
            <p:txBody>
              <a:bodyPr lIns="162507" tIns="130006" rIns="162507" bIns="130006" rtlCol="0" anchor="t"/>
              <a:lstStyle/>
              <a:p>
                <a:pPr marL="0" marR="0" lvl="0" indent="0" algn="l" defTabSz="902848" rtl="0" eaLnBrk="1" fontAlgn="base" latinLnBrk="0" hangingPunct="1">
                  <a:lnSpc>
                    <a:spcPct val="100000"/>
                  </a:lnSpc>
                  <a:spcBef>
                    <a:spcPct val="50000"/>
                  </a:spcBef>
                  <a:spcAft>
                    <a:spcPct val="0"/>
                  </a:spcAft>
                  <a:buClr>
                    <a:srgbClr val="F0AB00"/>
                  </a:buClr>
                  <a:buSzPct val="80000"/>
                  <a:buFontTx/>
                  <a:buNone/>
                  <a:tabLst/>
                  <a:defRPr/>
                </a:pPr>
                <a:endParaRPr kumimoji="0" lang="en-US" sz="1086" b="0" i="0" u="none" strike="noStrike" kern="0" cap="none" spc="0" normalizeH="0" baseline="0" noProof="0">
                  <a:ln>
                    <a:noFill/>
                  </a:ln>
                  <a:solidFill>
                    <a:srgbClr val="000000"/>
                  </a:solidFill>
                  <a:effectLst/>
                  <a:uLnTx/>
                  <a:uFillTx/>
                  <a:latin typeface="72 Brand"/>
                  <a:ea typeface="+mn-ea"/>
                  <a:cs typeface="+mn-cs"/>
                </a:endParaRPr>
              </a:p>
            </p:txBody>
          </p:sp>
        </p:grpSp>
        <p:sp>
          <p:nvSpPr>
            <p:cNvPr id="1802" name="TextBox 1801">
              <a:extLst>
                <a:ext uri="{FF2B5EF4-FFF2-40B4-BE49-F238E27FC236}">
                  <a16:creationId xmlns:a16="http://schemas.microsoft.com/office/drawing/2014/main" id="{D0C03BF5-FD6C-E0B4-03C7-0F0557CC970A}"/>
                </a:ext>
              </a:extLst>
            </p:cNvPr>
            <p:cNvSpPr txBox="1"/>
            <p:nvPr/>
          </p:nvSpPr>
          <p:spPr>
            <a:xfrm>
              <a:off x="5620699" y="2542599"/>
              <a:ext cx="920124" cy="138499"/>
            </a:xfrm>
            <a:prstGeom prst="rect">
              <a:avLst/>
            </a:prstGeom>
            <a:noFill/>
          </p:spPr>
          <p:txBody>
            <a:bodyPr wrap="none" lIns="0" tIns="0" rIns="0" bIns="0" rtlCol="0">
              <a:spAutoFit/>
            </a:bodyPr>
            <a:lstStyle/>
            <a:p>
              <a:pPr marL="0" marR="0" lvl="0" indent="0" algn="ctr" defTabSz="1074697"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Book" panose="020B0404030603020204" pitchFamily="34" charset="0"/>
                  <a:ea typeface="+mn-ea"/>
                  <a:cs typeface="+mn-cs"/>
                </a:rPr>
                <a:t>Analytics</a:t>
              </a: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panose="020B0504030603020204" pitchFamily="34" charset="0"/>
                  <a:ea typeface="+mn-ea"/>
                  <a:cs typeface="+mn-cs"/>
                </a:rPr>
                <a:t> </a:t>
              </a: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Medium" panose="020B0504030603020204" pitchFamily="34" charset="0"/>
                  <a:ea typeface="+mn-ea"/>
                  <a:cs typeface="+mn-cs"/>
                </a:rPr>
                <a:t>agents</a:t>
              </a:r>
            </a:p>
          </p:txBody>
        </p:sp>
        <p:sp>
          <p:nvSpPr>
            <p:cNvPr id="1803" name="TextBox 1802">
              <a:extLst>
                <a:ext uri="{FF2B5EF4-FFF2-40B4-BE49-F238E27FC236}">
                  <a16:creationId xmlns:a16="http://schemas.microsoft.com/office/drawing/2014/main" id="{B1F9C012-293C-EE2A-2E1C-6FFC9916F1B8}"/>
                </a:ext>
              </a:extLst>
            </p:cNvPr>
            <p:cNvSpPr txBox="1"/>
            <p:nvPr/>
          </p:nvSpPr>
          <p:spPr>
            <a:xfrm>
              <a:off x="3869727" y="2566093"/>
              <a:ext cx="857607" cy="138499"/>
            </a:xfrm>
            <a:prstGeom prst="rect">
              <a:avLst/>
            </a:prstGeom>
            <a:noFill/>
          </p:spPr>
          <p:txBody>
            <a:bodyPr wrap="none" lIns="0" tIns="0" rIns="0" bIns="0" rtlCol="0">
              <a:spAutoFit/>
            </a:bodyPr>
            <a:lstStyle/>
            <a:p>
              <a:pPr marL="0" marR="0" lvl="0" indent="0" algn="ctr" defTabSz="1074697"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Book" panose="020B0404030603020204" pitchFamily="34" charset="0"/>
                  <a:ea typeface="+mn-ea"/>
                  <a:cs typeface="+mn-cs"/>
                </a:rPr>
                <a:t>Finance</a:t>
              </a: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panose="020B0504030603020204" pitchFamily="34" charset="0"/>
                  <a:ea typeface="+mn-ea"/>
                  <a:cs typeface="+mn-cs"/>
                </a:rPr>
                <a:t> </a:t>
              </a: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Medium" panose="020B0504030603020204" pitchFamily="34" charset="0"/>
                  <a:ea typeface="+mn-ea"/>
                  <a:cs typeface="+mn-cs"/>
                </a:rPr>
                <a:t>agents</a:t>
              </a:r>
            </a:p>
          </p:txBody>
        </p:sp>
        <p:sp>
          <p:nvSpPr>
            <p:cNvPr id="1804" name="TextBox 1803">
              <a:extLst>
                <a:ext uri="{FF2B5EF4-FFF2-40B4-BE49-F238E27FC236}">
                  <a16:creationId xmlns:a16="http://schemas.microsoft.com/office/drawing/2014/main" id="{99E6F009-0E95-5B3C-CF0D-3F5038EE54B0}"/>
                </a:ext>
              </a:extLst>
            </p:cNvPr>
            <p:cNvSpPr txBox="1"/>
            <p:nvPr/>
          </p:nvSpPr>
          <p:spPr>
            <a:xfrm>
              <a:off x="7549141" y="2552270"/>
              <a:ext cx="580287" cy="138499"/>
            </a:xfrm>
            <a:prstGeom prst="rect">
              <a:avLst/>
            </a:prstGeom>
            <a:noFill/>
          </p:spPr>
          <p:txBody>
            <a:bodyPr wrap="none" lIns="0" tIns="0" rIns="0" bIns="0" rtlCol="0">
              <a:spAutoFit/>
            </a:bodyPr>
            <a:lstStyle/>
            <a:p>
              <a:pPr marL="0" marR="0" lvl="0" indent="0" algn="ctr" defTabSz="1074697"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Book" panose="020B0404030603020204" pitchFamily="34" charset="0"/>
                  <a:ea typeface="+mn-ea"/>
                  <a:cs typeface="+mn-cs"/>
                </a:rPr>
                <a:t>CX</a:t>
              </a: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panose="020B0504030603020204" pitchFamily="34" charset="0"/>
                  <a:ea typeface="+mn-ea"/>
                  <a:cs typeface="+mn-cs"/>
                </a:rPr>
                <a:t> </a:t>
              </a: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Medium" panose="020B0504030603020204" pitchFamily="34" charset="0"/>
                  <a:ea typeface="+mn-ea"/>
                  <a:cs typeface="+mn-cs"/>
                </a:rPr>
                <a:t>agents</a:t>
              </a:r>
            </a:p>
          </p:txBody>
        </p:sp>
        <p:sp>
          <p:nvSpPr>
            <p:cNvPr id="1805" name="TextBox 1804">
              <a:extLst>
                <a:ext uri="{FF2B5EF4-FFF2-40B4-BE49-F238E27FC236}">
                  <a16:creationId xmlns:a16="http://schemas.microsoft.com/office/drawing/2014/main" id="{907A0AE4-3D44-B628-F3AA-C27DB8691CF0}"/>
                </a:ext>
              </a:extLst>
            </p:cNvPr>
            <p:cNvSpPr txBox="1"/>
            <p:nvPr/>
          </p:nvSpPr>
          <p:spPr>
            <a:xfrm>
              <a:off x="5785007" y="2963286"/>
              <a:ext cx="591509" cy="138499"/>
            </a:xfrm>
            <a:prstGeom prst="rect">
              <a:avLst/>
            </a:prstGeom>
            <a:noFill/>
          </p:spPr>
          <p:txBody>
            <a:bodyPr wrap="none" lIns="0" tIns="0" rIns="0" bIns="0" rtlCol="0">
              <a:spAutoFit/>
            </a:bodyPr>
            <a:lstStyle/>
            <a:p>
              <a:pPr marL="0" marR="0" lvl="0" indent="0" algn="ctr" defTabSz="1074697"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Book" panose="020B0404030603020204" pitchFamily="34" charset="0"/>
                  <a:ea typeface="+mn-ea"/>
                  <a:cs typeface="+mn-cs"/>
                </a:rPr>
                <a:t>HR</a:t>
              </a: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panose="020B0504030603020204" pitchFamily="34" charset="0"/>
                  <a:ea typeface="+mn-ea"/>
                  <a:cs typeface="+mn-cs"/>
                </a:rPr>
                <a:t> </a:t>
              </a: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Medium" panose="020B0504030603020204" pitchFamily="34" charset="0"/>
                  <a:ea typeface="+mn-ea"/>
                  <a:cs typeface="+mn-cs"/>
                </a:rPr>
                <a:t>agents</a:t>
              </a:r>
            </a:p>
          </p:txBody>
        </p:sp>
        <p:sp>
          <p:nvSpPr>
            <p:cNvPr id="1806" name="TextBox 1805">
              <a:extLst>
                <a:ext uri="{FF2B5EF4-FFF2-40B4-BE49-F238E27FC236}">
                  <a16:creationId xmlns:a16="http://schemas.microsoft.com/office/drawing/2014/main" id="{AF3CD57E-796A-4A4C-C9BA-E099F483BF92}"/>
                </a:ext>
              </a:extLst>
            </p:cNvPr>
            <p:cNvSpPr txBox="1"/>
            <p:nvPr/>
          </p:nvSpPr>
          <p:spPr>
            <a:xfrm>
              <a:off x="7465738" y="2963286"/>
              <a:ext cx="790281" cy="138499"/>
            </a:xfrm>
            <a:prstGeom prst="rect">
              <a:avLst/>
            </a:prstGeom>
            <a:noFill/>
          </p:spPr>
          <p:txBody>
            <a:bodyPr wrap="none" lIns="0" tIns="0" rIns="0" bIns="0" rtlCol="0">
              <a:spAutoFit/>
            </a:bodyPr>
            <a:lstStyle/>
            <a:p>
              <a:pPr marL="0" marR="0" lvl="0" indent="0" algn="ctr" defTabSz="1074697"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Book" panose="020B0404030603020204" pitchFamily="34" charset="0"/>
                  <a:ea typeface="+mn-ea"/>
                  <a:cs typeface="+mn-cs"/>
                </a:rPr>
                <a:t>Spend</a:t>
              </a: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panose="020B0504030603020204" pitchFamily="34" charset="0"/>
                  <a:ea typeface="+mn-ea"/>
                  <a:cs typeface="+mn-cs"/>
                </a:rPr>
                <a:t> </a:t>
              </a: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Medium" panose="020B0504030603020204" pitchFamily="34" charset="0"/>
                  <a:ea typeface="+mn-ea"/>
                  <a:cs typeface="+mn-cs"/>
                </a:rPr>
                <a:t>agents</a:t>
              </a:r>
            </a:p>
          </p:txBody>
        </p:sp>
        <p:sp>
          <p:nvSpPr>
            <p:cNvPr id="1807" name="TextBox 1806">
              <a:extLst>
                <a:ext uri="{FF2B5EF4-FFF2-40B4-BE49-F238E27FC236}">
                  <a16:creationId xmlns:a16="http://schemas.microsoft.com/office/drawing/2014/main" id="{27A4B323-48F9-0E00-A6C7-2EDC48AD6757}"/>
                </a:ext>
              </a:extLst>
            </p:cNvPr>
            <p:cNvSpPr txBox="1"/>
            <p:nvPr/>
          </p:nvSpPr>
          <p:spPr>
            <a:xfrm>
              <a:off x="3728663" y="2963286"/>
              <a:ext cx="1139736" cy="138499"/>
            </a:xfrm>
            <a:prstGeom prst="rect">
              <a:avLst/>
            </a:prstGeom>
            <a:noFill/>
          </p:spPr>
          <p:txBody>
            <a:bodyPr wrap="none" lIns="0" tIns="0" rIns="0" bIns="0" rtlCol="0">
              <a:spAutoFit/>
            </a:bodyPr>
            <a:lstStyle/>
            <a:p>
              <a:pPr marL="0" marR="0" lvl="0" indent="0" algn="ctr" defTabSz="1074697" rtl="0" eaLnBrk="1" fontAlgn="base" latinLnBrk="0" hangingPunct="1">
                <a:lnSpc>
                  <a:spcPct val="90000"/>
                </a:lnSpc>
                <a:spcBef>
                  <a:spcPct val="50000"/>
                </a:spcBef>
                <a:spcAft>
                  <a:spcPct val="0"/>
                </a:spcAft>
                <a:buClr>
                  <a:srgbClr val="000000"/>
                </a:buClr>
                <a:buSzPct val="100000"/>
                <a:buFontTx/>
                <a:buNone/>
                <a:tabLst/>
                <a:defRPr/>
              </a:pP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Book" panose="020B0404030603020204" pitchFamily="34" charset="0"/>
                  <a:ea typeface="+mn-ea"/>
                  <a:cs typeface="+mn-cs"/>
                </a:rPr>
                <a:t>Supply chain</a:t>
              </a: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panose="020B0504030603020204" pitchFamily="34" charset="0"/>
                  <a:ea typeface="+mn-ea"/>
                  <a:cs typeface="+mn-cs"/>
                </a:rPr>
                <a:t> </a:t>
              </a:r>
              <a:r>
                <a:rPr kumimoji="0" lang="en-US" sz="1000" b="0" i="0" u="none" strike="noStrike" kern="0" cap="none" spc="0" normalizeH="0" baseline="0" noProof="0">
                  <a:ln>
                    <a:noFill/>
                  </a:ln>
                  <a:gradFill>
                    <a:gsLst>
                      <a:gs pos="35165">
                        <a:srgbClr val="FFFFFF"/>
                      </a:gs>
                      <a:gs pos="64000">
                        <a:srgbClr val="FFFFFF"/>
                      </a:gs>
                    </a:gsLst>
                    <a:lin ang="10800000" scaled="1"/>
                  </a:gradFill>
                  <a:effectLst/>
                  <a:uLnTx/>
                  <a:uFillTx/>
                  <a:latin typeface="72 Brand Medium" panose="020B0504030603020204" pitchFamily="34" charset="0"/>
                  <a:ea typeface="+mn-ea"/>
                  <a:cs typeface="+mn-cs"/>
                </a:rPr>
                <a:t>agents</a:t>
              </a:r>
            </a:p>
          </p:txBody>
        </p:sp>
        <p:pic>
          <p:nvPicPr>
            <p:cNvPr id="1808" name="Graphic 1807">
              <a:extLst>
                <a:ext uri="{FF2B5EF4-FFF2-40B4-BE49-F238E27FC236}">
                  <a16:creationId xmlns:a16="http://schemas.microsoft.com/office/drawing/2014/main" id="{E0DF5FBA-CB1F-42F3-7E4B-6D20EA828D4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54914" y="4864803"/>
              <a:ext cx="130831" cy="130641"/>
            </a:xfrm>
            <a:prstGeom prst="rect">
              <a:avLst/>
            </a:prstGeom>
            <a:effectLst>
              <a:outerShdw blurRad="1136704" dist="50800" dir="5400000" algn="ctr" rotWithShape="0">
                <a:srgbClr val="001349">
                  <a:alpha val="21722"/>
                </a:srgbClr>
              </a:outerShdw>
            </a:effectLst>
          </p:spPr>
        </p:pic>
        <p:pic>
          <p:nvPicPr>
            <p:cNvPr id="1809" name="Graphic 1808">
              <a:extLst>
                <a:ext uri="{FF2B5EF4-FFF2-40B4-BE49-F238E27FC236}">
                  <a16:creationId xmlns:a16="http://schemas.microsoft.com/office/drawing/2014/main" id="{15114A86-77CC-3994-AF00-490CD970B29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65482" y="4864803"/>
              <a:ext cx="130831" cy="130641"/>
            </a:xfrm>
            <a:prstGeom prst="rect">
              <a:avLst/>
            </a:prstGeom>
            <a:effectLst>
              <a:outerShdw blurRad="1136704" dist="50800" dir="5400000" algn="ctr" rotWithShape="0">
                <a:srgbClr val="001349">
                  <a:alpha val="21722"/>
                </a:srgbClr>
              </a:outerShdw>
            </a:effectLst>
          </p:spPr>
        </p:pic>
        <p:pic>
          <p:nvPicPr>
            <p:cNvPr id="1810" name="Graphic 1809">
              <a:extLst>
                <a:ext uri="{FF2B5EF4-FFF2-40B4-BE49-F238E27FC236}">
                  <a16:creationId xmlns:a16="http://schemas.microsoft.com/office/drawing/2014/main" id="{52C9B7AD-5BCA-0B4B-1D6C-16225CBBA13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76049" y="4864803"/>
              <a:ext cx="130831" cy="130641"/>
            </a:xfrm>
            <a:prstGeom prst="rect">
              <a:avLst/>
            </a:prstGeom>
            <a:effectLst>
              <a:outerShdw blurRad="1136704" dist="50800" dir="5400000" algn="ctr" rotWithShape="0">
                <a:srgbClr val="001349">
                  <a:alpha val="21722"/>
                </a:srgbClr>
              </a:outerShdw>
            </a:effectLst>
          </p:spPr>
        </p:pic>
        <p:grpSp>
          <p:nvGrpSpPr>
            <p:cNvPr id="1811" name="Group 1810">
              <a:extLst>
                <a:ext uri="{FF2B5EF4-FFF2-40B4-BE49-F238E27FC236}">
                  <a16:creationId xmlns:a16="http://schemas.microsoft.com/office/drawing/2014/main" id="{2390870B-9ACF-518D-7695-189D2A50E008}"/>
                </a:ext>
              </a:extLst>
            </p:cNvPr>
            <p:cNvGrpSpPr/>
            <p:nvPr/>
          </p:nvGrpSpPr>
          <p:grpSpPr>
            <a:xfrm>
              <a:off x="8158310" y="4720751"/>
              <a:ext cx="692796" cy="530770"/>
              <a:chOff x="746465" y="1093411"/>
              <a:chExt cx="2948584" cy="2258987"/>
            </a:xfrm>
          </p:grpSpPr>
          <p:sp>
            <p:nvSpPr>
              <p:cNvPr id="1812" name="Rectangle: Rounded Corners 355">
                <a:extLst>
                  <a:ext uri="{FF2B5EF4-FFF2-40B4-BE49-F238E27FC236}">
                    <a16:creationId xmlns:a16="http://schemas.microsoft.com/office/drawing/2014/main" id="{FCF238A5-BA2B-54C4-052B-C3BB0835C25F}"/>
                  </a:ext>
                </a:extLst>
              </p:cNvPr>
              <p:cNvSpPr/>
              <p:nvPr/>
            </p:nvSpPr>
            <p:spPr bwMode="auto">
              <a:xfrm>
                <a:off x="1305896" y="1093411"/>
                <a:ext cx="2389153" cy="2258987"/>
              </a:xfrm>
              <a:prstGeom prst="roundRect">
                <a:avLst>
                  <a:gd name="adj" fmla="val 3830"/>
                </a:avLst>
              </a:prstGeom>
              <a:solidFill>
                <a:srgbClr val="E7F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endParaRPr kumimoji="0" lang="en-US" sz="1999"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mn-cs"/>
                </a:endParaRPr>
              </a:p>
            </p:txBody>
          </p:sp>
          <p:sp>
            <p:nvSpPr>
              <p:cNvPr id="1813" name="Rectangle: Rounded Corners 356">
                <a:extLst>
                  <a:ext uri="{FF2B5EF4-FFF2-40B4-BE49-F238E27FC236}">
                    <a16:creationId xmlns:a16="http://schemas.microsoft.com/office/drawing/2014/main" id="{7D122337-482F-C03E-85D6-508C380FF375}"/>
                  </a:ext>
                </a:extLst>
              </p:cNvPr>
              <p:cNvSpPr/>
              <p:nvPr/>
            </p:nvSpPr>
            <p:spPr bwMode="auto">
              <a:xfrm>
                <a:off x="1505003" y="2516265"/>
                <a:ext cx="946151" cy="554806"/>
              </a:xfrm>
              <a:prstGeom prst="roundRect">
                <a:avLst>
                  <a:gd name="adj" fmla="val 8384"/>
                </a:avLst>
              </a:prstGeom>
              <a:solidFill>
                <a:srgbClr val="E7F4FF"/>
              </a:solidFill>
              <a:ln>
                <a:solidFill>
                  <a:srgbClr val="89D1FF"/>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l" defTabSz="932192"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mn-cs"/>
                </a:endParaRPr>
              </a:p>
            </p:txBody>
          </p:sp>
          <p:sp>
            <p:nvSpPr>
              <p:cNvPr id="1814" name="Rectangle: Rounded Corners 357">
                <a:extLst>
                  <a:ext uri="{FF2B5EF4-FFF2-40B4-BE49-F238E27FC236}">
                    <a16:creationId xmlns:a16="http://schemas.microsoft.com/office/drawing/2014/main" id="{665909C9-57DB-29F3-E378-145C207FA3BC}"/>
                  </a:ext>
                </a:extLst>
              </p:cNvPr>
              <p:cNvSpPr/>
              <p:nvPr/>
            </p:nvSpPr>
            <p:spPr bwMode="auto">
              <a:xfrm>
                <a:off x="2592002" y="2514202"/>
                <a:ext cx="946151" cy="554806"/>
              </a:xfrm>
              <a:prstGeom prst="roundRect">
                <a:avLst>
                  <a:gd name="adj" fmla="val 8384"/>
                </a:avLst>
              </a:prstGeom>
              <a:solidFill>
                <a:srgbClr val="E7F4FF"/>
              </a:solidFill>
              <a:ln>
                <a:solidFill>
                  <a:srgbClr val="89D1FF"/>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endParaRPr kumimoji="0" lang="en-US" sz="1999"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mn-cs"/>
                </a:endParaRPr>
              </a:p>
            </p:txBody>
          </p:sp>
          <p:sp>
            <p:nvSpPr>
              <p:cNvPr id="1815" name="Rectangle: Top Corners Rounded 358">
                <a:extLst>
                  <a:ext uri="{FF2B5EF4-FFF2-40B4-BE49-F238E27FC236}">
                    <a16:creationId xmlns:a16="http://schemas.microsoft.com/office/drawing/2014/main" id="{D3EBDD8D-D4AC-9C33-B84A-C66671558B3D}"/>
                  </a:ext>
                </a:extLst>
              </p:cNvPr>
              <p:cNvSpPr/>
              <p:nvPr/>
            </p:nvSpPr>
            <p:spPr bwMode="auto">
              <a:xfrm>
                <a:off x="1306689" y="1095692"/>
                <a:ext cx="2387565" cy="326812"/>
              </a:xfrm>
              <a:prstGeom prst="round2SameRect">
                <a:avLst>
                  <a:gd name="adj1" fmla="val 26028"/>
                  <a:gd name="adj2" fmla="val 0"/>
                </a:avLst>
              </a:prstGeom>
              <a:solidFill>
                <a:srgbClr val="0070F2"/>
              </a:solidFill>
              <a:ln w="6350">
                <a:solidFill>
                  <a:srgbClr val="0070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l" defTabSz="932192"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72" panose="020B0503030000000003" pitchFamily="34" charset="0"/>
                </a:endParaRPr>
              </a:p>
            </p:txBody>
          </p:sp>
          <p:cxnSp>
            <p:nvCxnSpPr>
              <p:cNvPr id="1816" name="Straight Connector 1815">
                <a:extLst>
                  <a:ext uri="{FF2B5EF4-FFF2-40B4-BE49-F238E27FC236}">
                    <a16:creationId xmlns:a16="http://schemas.microsoft.com/office/drawing/2014/main" id="{C61EFF89-A7B2-4A53-E918-2A8F5592FD40}"/>
                  </a:ext>
                </a:extLst>
              </p:cNvPr>
              <p:cNvCxnSpPr>
                <a:cxnSpLocks/>
              </p:cNvCxnSpPr>
              <p:nvPr/>
            </p:nvCxnSpPr>
            <p:spPr>
              <a:xfrm>
                <a:off x="2567608" y="1809995"/>
                <a:ext cx="930172" cy="0"/>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17" name="Rectangle: Rounded Corners 360">
                <a:extLst>
                  <a:ext uri="{FF2B5EF4-FFF2-40B4-BE49-F238E27FC236}">
                    <a16:creationId xmlns:a16="http://schemas.microsoft.com/office/drawing/2014/main" id="{3F346449-5781-14ED-8B31-DB44C9C112F4}"/>
                  </a:ext>
                </a:extLst>
              </p:cNvPr>
              <p:cNvSpPr/>
              <p:nvPr/>
            </p:nvSpPr>
            <p:spPr bwMode="auto">
              <a:xfrm>
                <a:off x="2068829" y="1215752"/>
                <a:ext cx="730339" cy="95390"/>
              </a:xfrm>
              <a:prstGeom prst="roundRect">
                <a:avLst>
                  <a:gd name="adj" fmla="val 50000"/>
                </a:avLst>
              </a:prstGeom>
              <a:solidFill>
                <a:srgbClr val="D1EFFF"/>
              </a:solidFill>
              <a:ln>
                <a:solidFill>
                  <a:srgbClr val="89D1FF">
                    <a:alpha val="14000"/>
                  </a:srgbClr>
                </a:solidFill>
              </a:ln>
              <a:effectLst>
                <a:outerShdw blurRad="50800" dist="50800" dir="5400000" algn="ctr" rotWithShape="0">
                  <a:srgbClr val="1B90FF">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l" defTabSz="932192"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mn-cs"/>
                </a:endParaRPr>
              </a:p>
            </p:txBody>
          </p:sp>
          <p:sp>
            <p:nvSpPr>
              <p:cNvPr id="1818" name="Rectangle: Rounded Corners 361">
                <a:extLst>
                  <a:ext uri="{FF2B5EF4-FFF2-40B4-BE49-F238E27FC236}">
                    <a16:creationId xmlns:a16="http://schemas.microsoft.com/office/drawing/2014/main" id="{A1E2B3DF-A0C5-FE01-8912-24C6B16DC41A}"/>
                  </a:ext>
                </a:extLst>
              </p:cNvPr>
              <p:cNvSpPr/>
              <p:nvPr/>
            </p:nvSpPr>
            <p:spPr bwMode="auto">
              <a:xfrm>
                <a:off x="2952823" y="1214221"/>
                <a:ext cx="482122" cy="94387"/>
              </a:xfrm>
              <a:prstGeom prst="roundRect">
                <a:avLst>
                  <a:gd name="adj" fmla="val 50000"/>
                </a:avLst>
              </a:prstGeom>
              <a:solidFill>
                <a:srgbClr val="E7F4FF"/>
              </a:solidFill>
              <a:ln>
                <a:noFill/>
                <a:headEnd type="none" w="med" len="med"/>
                <a:tailEnd type="none" w="med" len="med"/>
              </a:ln>
              <a:effectLst>
                <a:outerShdw blurRad="50800" dist="50800" dir="5400000" algn="ctr" rotWithShape="0">
                  <a:srgbClr val="1B90FF">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l" defTabSz="932192" rtl="0" eaLnBrk="1" fontAlgn="base" latinLnBrk="0" hangingPunct="1">
                  <a:lnSpc>
                    <a:spcPct val="100000"/>
                  </a:lnSpc>
                  <a:spcBef>
                    <a:spcPct val="0"/>
                  </a:spcBef>
                  <a:spcAft>
                    <a:spcPct val="0"/>
                  </a:spcAft>
                  <a:buClrTx/>
                  <a:buSzTx/>
                  <a:buFontTx/>
                  <a:buNone/>
                  <a:tabLst/>
                  <a:defRPr/>
                </a:pPr>
                <a:endParaRPr kumimoji="0" lang="en-US" sz="1999"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Segoe UI" pitchFamily="34" charset="0"/>
                  <a:cs typeface="72" panose="020B0503030000000003" pitchFamily="34" charset="0"/>
                </a:endParaRPr>
              </a:p>
            </p:txBody>
          </p:sp>
          <p:sp>
            <p:nvSpPr>
              <p:cNvPr id="1819" name="Oval 1818">
                <a:extLst>
                  <a:ext uri="{FF2B5EF4-FFF2-40B4-BE49-F238E27FC236}">
                    <a16:creationId xmlns:a16="http://schemas.microsoft.com/office/drawing/2014/main" id="{FF5614E1-89F8-8B5A-1B8D-4F74C79E63A8}"/>
                  </a:ext>
                </a:extLst>
              </p:cNvPr>
              <p:cNvSpPr/>
              <p:nvPr/>
            </p:nvSpPr>
            <p:spPr bwMode="auto">
              <a:xfrm>
                <a:off x="1510045" y="1174546"/>
                <a:ext cx="177801" cy="177800"/>
              </a:xfrm>
              <a:prstGeom prst="ellipse">
                <a:avLst/>
              </a:prstGeom>
              <a:solidFill>
                <a:srgbClr val="E7F4FF"/>
              </a:solidFill>
              <a:ln>
                <a:solidFill>
                  <a:srgbClr val="E7F4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l" defTabSz="932192" rtl="0" eaLnBrk="0" fontAlgn="base" latinLnBrk="0" hangingPunct="0">
                  <a:lnSpc>
                    <a:spcPct val="100000"/>
                  </a:lnSpc>
                  <a:spcBef>
                    <a:spcPct val="0"/>
                  </a:spcBef>
                  <a:spcAft>
                    <a:spcPct val="0"/>
                  </a:spcAft>
                  <a:buClrTx/>
                  <a:buSzTx/>
                  <a:buFontTx/>
                  <a:buNone/>
                  <a:tabLst/>
                  <a:defRPr/>
                </a:pPr>
                <a:endParaRPr kumimoji="0" lang="en-US" sz="1999"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mn-cs"/>
                </a:endParaRPr>
              </a:p>
            </p:txBody>
          </p:sp>
          <p:sp>
            <p:nvSpPr>
              <p:cNvPr id="1820" name="Rectangle: Rounded Corners 365">
                <a:extLst>
                  <a:ext uri="{FF2B5EF4-FFF2-40B4-BE49-F238E27FC236}">
                    <a16:creationId xmlns:a16="http://schemas.microsoft.com/office/drawing/2014/main" id="{ABFC4FB1-DB31-FF77-3BB1-2F6A1927D67B}"/>
                  </a:ext>
                </a:extLst>
              </p:cNvPr>
              <p:cNvSpPr/>
              <p:nvPr/>
            </p:nvSpPr>
            <p:spPr bwMode="auto">
              <a:xfrm>
                <a:off x="746465" y="1771332"/>
                <a:ext cx="1528009" cy="895997"/>
              </a:xfrm>
              <a:prstGeom prst="roundRect">
                <a:avLst>
                  <a:gd name="adj" fmla="val 8384"/>
                </a:avLst>
              </a:pr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l" defTabSz="932192"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mn-cs"/>
                </a:endParaRPr>
              </a:p>
            </p:txBody>
          </p:sp>
          <p:sp>
            <p:nvSpPr>
              <p:cNvPr id="1821" name="Rectangle: Rounded Corners 366">
                <a:extLst>
                  <a:ext uri="{FF2B5EF4-FFF2-40B4-BE49-F238E27FC236}">
                    <a16:creationId xmlns:a16="http://schemas.microsoft.com/office/drawing/2014/main" id="{444F03D1-AA12-9EBE-3ADF-F2A29D5BFF62}"/>
                  </a:ext>
                </a:extLst>
              </p:cNvPr>
              <p:cNvSpPr/>
              <p:nvPr/>
            </p:nvSpPr>
            <p:spPr bwMode="auto">
              <a:xfrm>
                <a:off x="1330035" y="1916636"/>
                <a:ext cx="325923" cy="325923"/>
              </a:xfrm>
              <a:prstGeom prst="roundRect">
                <a:avLst/>
              </a:prstGeom>
              <a:solidFill>
                <a:srgbClr val="E7F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l" defTabSz="932192"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a:ln>
                    <a:noFill/>
                  </a:ln>
                  <a:gradFill>
                    <a:gsLst>
                      <a:gs pos="0">
                        <a:srgbClr val="FFFFFF"/>
                      </a:gs>
                      <a:gs pos="100000">
                        <a:srgbClr val="FFFFFF"/>
                      </a:gs>
                    </a:gsLst>
                    <a:lin ang="5400000" scaled="1"/>
                  </a:gradFill>
                  <a:effectLst/>
                  <a:uLnTx/>
                  <a:uFillTx/>
                  <a:latin typeface="72 Brand" panose="020B0504030603020204" pitchFamily="34" charset="0"/>
                  <a:ea typeface="+mn-ea"/>
                  <a:cs typeface="+mn-cs"/>
                </a:endParaRPr>
              </a:p>
            </p:txBody>
          </p:sp>
          <p:cxnSp>
            <p:nvCxnSpPr>
              <p:cNvPr id="1822" name="Straight Connector 1821">
                <a:extLst>
                  <a:ext uri="{FF2B5EF4-FFF2-40B4-BE49-F238E27FC236}">
                    <a16:creationId xmlns:a16="http://schemas.microsoft.com/office/drawing/2014/main" id="{2F87B07D-3879-4B6C-A40A-2C212482B3EF}"/>
                  </a:ext>
                </a:extLst>
              </p:cNvPr>
              <p:cNvCxnSpPr>
                <a:cxnSpLocks/>
              </p:cNvCxnSpPr>
              <p:nvPr/>
            </p:nvCxnSpPr>
            <p:spPr>
              <a:xfrm>
                <a:off x="2866231" y="2006642"/>
                <a:ext cx="639425" cy="0"/>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23" name="Straight Connector 1822">
                <a:extLst>
                  <a:ext uri="{FF2B5EF4-FFF2-40B4-BE49-F238E27FC236}">
                    <a16:creationId xmlns:a16="http://schemas.microsoft.com/office/drawing/2014/main" id="{23AF3108-FE60-69A0-87F6-869AA9A8EB7D}"/>
                  </a:ext>
                </a:extLst>
              </p:cNvPr>
              <p:cNvCxnSpPr>
                <a:cxnSpLocks/>
              </p:cNvCxnSpPr>
              <p:nvPr/>
            </p:nvCxnSpPr>
            <p:spPr>
              <a:xfrm>
                <a:off x="1185290" y="2441509"/>
                <a:ext cx="639425" cy="0"/>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0" name="Oval 9">
            <a:extLst>
              <a:ext uri="{FF2B5EF4-FFF2-40B4-BE49-F238E27FC236}">
                <a16:creationId xmlns:a16="http://schemas.microsoft.com/office/drawing/2014/main" id="{AB216975-3C93-CBE2-A15D-21C638F82162}"/>
              </a:ext>
              <a:ext uri="{C183D7F6-B498-43B3-948B-1728B52AA6E4}">
                <adec:decorative xmlns:adec="http://schemas.microsoft.com/office/drawing/2017/decorative" val="1"/>
              </a:ext>
            </a:extLst>
          </p:cNvPr>
          <p:cNvSpPr/>
          <p:nvPr/>
        </p:nvSpPr>
        <p:spPr bwMode="gray">
          <a:xfrm>
            <a:off x="10807846" y="550199"/>
            <a:ext cx="740337" cy="740336"/>
          </a:xfrm>
          <a:prstGeom prst="ellipse">
            <a:avLst/>
          </a:prstGeom>
          <a:noFill/>
          <a:ln w="12700" algn="ctr">
            <a:gradFill>
              <a:gsLst>
                <a:gs pos="0">
                  <a:srgbClr val="89D1FF"/>
                </a:gs>
                <a:gs pos="100000">
                  <a:srgbClr val="1B90FF"/>
                </a:gs>
              </a:gsLst>
              <a:lin ang="5400000" scaled="1"/>
            </a:grad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
        <p:nvSpPr>
          <p:cNvPr id="11" name="Rectangle: Rounded Corners 1922">
            <a:extLst>
              <a:ext uri="{FF2B5EF4-FFF2-40B4-BE49-F238E27FC236}">
                <a16:creationId xmlns:a16="http://schemas.microsoft.com/office/drawing/2014/main" id="{0FF285C7-7264-80CF-C7F6-3112AD470E94}"/>
              </a:ext>
            </a:extLst>
          </p:cNvPr>
          <p:cNvSpPr/>
          <p:nvPr/>
        </p:nvSpPr>
        <p:spPr bwMode="gray">
          <a:xfrm>
            <a:off x="10666040" y="501842"/>
            <a:ext cx="1023949" cy="234614"/>
          </a:xfrm>
          <a:prstGeom prst="roundRect">
            <a:avLst>
              <a:gd name="adj" fmla="val 14916"/>
            </a:avLst>
          </a:prstGeom>
          <a:solidFill>
            <a:srgbClr val="7858FF"/>
          </a:solidFill>
          <a:ln w="15238" cap="flat">
            <a:noFill/>
            <a:prstDash val="solid"/>
            <a:miter/>
          </a:ln>
        </p:spPr>
        <p:txBody>
          <a:bodyPr rtlCol="0" anchor="ctr"/>
          <a:lstStyle/>
          <a:p>
            <a:pPr algn="ctr" defTabSz="1088122"/>
            <a:r>
              <a:rPr lang="en-US" sz="1100">
                <a:gradFill>
                  <a:gsLst>
                    <a:gs pos="0">
                      <a:schemeClr val="bg1"/>
                    </a:gs>
                    <a:gs pos="100000">
                      <a:schemeClr val="bg1"/>
                    </a:gs>
                  </a:gsLst>
                  <a:lin ang="0" scaled="0"/>
                </a:gradFill>
                <a:latin typeface="+mj-lt"/>
              </a:rPr>
              <a:t>AI</a:t>
            </a:r>
          </a:p>
        </p:txBody>
      </p:sp>
      <p:sp>
        <p:nvSpPr>
          <p:cNvPr id="12" name="Rectangle: Rounded Corners 1926">
            <a:extLst>
              <a:ext uri="{FF2B5EF4-FFF2-40B4-BE49-F238E27FC236}">
                <a16:creationId xmlns:a16="http://schemas.microsoft.com/office/drawing/2014/main" id="{2D9A2AA4-6AE2-1C25-A524-87599DB53DA3}"/>
              </a:ext>
            </a:extLst>
          </p:cNvPr>
          <p:cNvSpPr/>
          <p:nvPr/>
        </p:nvSpPr>
        <p:spPr bwMode="gray">
          <a:xfrm>
            <a:off x="10666040" y="1104278"/>
            <a:ext cx="1023949" cy="234614"/>
          </a:xfrm>
          <a:prstGeom prst="roundRect">
            <a:avLst>
              <a:gd name="adj" fmla="val 16401"/>
            </a:avLst>
          </a:prstGeom>
          <a:gradFill flip="none" rotWithShape="1">
            <a:gsLst>
              <a:gs pos="0">
                <a:srgbClr val="A6E0FF"/>
              </a:gs>
              <a:gs pos="100000">
                <a:srgbClr val="89D1FF"/>
              </a:gs>
            </a:gsLst>
            <a:lin ang="2700000" scaled="1"/>
            <a:tileRect/>
          </a:gradFill>
          <a:ln w="15238" cap="flat">
            <a:noFill/>
            <a:prstDash val="solid"/>
            <a:miter/>
          </a:ln>
        </p:spPr>
        <p:txBody>
          <a:bodyPr lIns="91440" tIns="91440" rIns="91440" bIns="91440" rtlCol="0" anchor="ctr"/>
          <a:lstStyle/>
          <a:p>
            <a:pPr algn="ctr" defTabSz="913943" fontAlgn="base">
              <a:spcAft>
                <a:spcPts val="600"/>
              </a:spcAft>
              <a:buClr>
                <a:srgbClr val="F0AB00"/>
              </a:buClr>
              <a:buSzPct val="80000"/>
            </a:pPr>
            <a:r>
              <a:rPr lang="en-US" sz="1100" kern="0">
                <a:latin typeface="+mj-lt"/>
              </a:rPr>
              <a:t>Applications</a:t>
            </a:r>
          </a:p>
        </p:txBody>
      </p:sp>
      <p:sp>
        <p:nvSpPr>
          <p:cNvPr id="13" name="Rectangle: Rounded Corners 1924">
            <a:extLst>
              <a:ext uri="{FF2B5EF4-FFF2-40B4-BE49-F238E27FC236}">
                <a16:creationId xmlns:a16="http://schemas.microsoft.com/office/drawing/2014/main" id="{0C0FCA8D-FAD6-22C9-553F-15C831699039}"/>
              </a:ext>
            </a:extLst>
          </p:cNvPr>
          <p:cNvSpPr/>
          <p:nvPr/>
        </p:nvSpPr>
        <p:spPr bwMode="gray">
          <a:xfrm>
            <a:off x="10666040" y="803060"/>
            <a:ext cx="1023949" cy="234614"/>
          </a:xfrm>
          <a:prstGeom prst="roundRect">
            <a:avLst>
              <a:gd name="adj" fmla="val 17081"/>
            </a:avLst>
          </a:prstGeom>
          <a:solidFill>
            <a:srgbClr val="0070F2"/>
          </a:solidFill>
          <a:ln w="15238" cap="flat">
            <a:noFill/>
            <a:prstDash val="solid"/>
            <a:miter/>
          </a:ln>
        </p:spPr>
        <p:txBody>
          <a:bodyPr rtlCol="0" anchor="ctr"/>
          <a:lstStyle/>
          <a:p>
            <a:pPr algn="ctr" defTabSz="1088122"/>
            <a:r>
              <a:rPr lang="en-US" sz="1100">
                <a:gradFill>
                  <a:gsLst>
                    <a:gs pos="0">
                      <a:schemeClr val="bg1"/>
                    </a:gs>
                    <a:gs pos="100000">
                      <a:schemeClr val="bg1"/>
                    </a:gs>
                  </a:gsLst>
                  <a:lin ang="0" scaled="0"/>
                </a:gradFill>
                <a:latin typeface="+mj-lt"/>
              </a:rPr>
              <a:t>Data</a:t>
            </a:r>
          </a:p>
        </p:txBody>
      </p:sp>
      <p:sp>
        <p:nvSpPr>
          <p:cNvPr id="14" name="Rectangle 1925">
            <a:extLst>
              <a:ext uri="{FF2B5EF4-FFF2-40B4-BE49-F238E27FC236}">
                <a16:creationId xmlns:a16="http://schemas.microsoft.com/office/drawing/2014/main" id="{18E419DA-25CE-0C17-68BF-DFF612184AC5}"/>
              </a:ext>
              <a:ext uri="{C183D7F6-B498-43B3-948B-1728B52AA6E4}">
                <adec:decorative xmlns:adec="http://schemas.microsoft.com/office/drawing/2017/decorative" val="1"/>
              </a:ext>
            </a:extLst>
          </p:cNvPr>
          <p:cNvSpPr/>
          <p:nvPr/>
        </p:nvSpPr>
        <p:spPr bwMode="gray">
          <a:xfrm>
            <a:off x="10631338" y="782655"/>
            <a:ext cx="1055852" cy="572154"/>
          </a:xfrm>
          <a:prstGeom prst="rect">
            <a:avLst/>
          </a:prstGeom>
          <a:solidFill>
            <a:schemeClr val="bg1">
              <a:alpha val="80000"/>
            </a:schemeClr>
          </a:solidFill>
          <a:ln w="25400" algn="ctr">
            <a:no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Tree>
    <p:extLst>
      <p:ext uri="{BB962C8B-B14F-4D97-AF65-F5344CB8AC3E}">
        <p14:creationId xmlns:p14="http://schemas.microsoft.com/office/powerpoint/2010/main" val="599181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5559BF-3E59-7163-D1D0-C83629C64365}"/>
              </a:ext>
            </a:extLst>
          </p:cNvPr>
          <p:cNvSpPr>
            <a:spLocks noGrp="1"/>
          </p:cNvSpPr>
          <p:nvPr>
            <p:ph type="title"/>
          </p:nvPr>
        </p:nvSpPr>
        <p:spPr>
          <a:xfrm>
            <a:off x="503739" y="505524"/>
            <a:ext cx="11180651" cy="368884"/>
          </a:xfrm>
        </p:spPr>
        <p:txBody>
          <a:bodyPr/>
          <a:lstStyle/>
          <a:p>
            <a:r>
              <a:rPr lang="en-US" sz="2400" b="1" dirty="0">
                <a:gradFill>
                  <a:gsLst>
                    <a:gs pos="0">
                      <a:srgbClr val="000000"/>
                    </a:gs>
                    <a:gs pos="100000">
                      <a:srgbClr val="000000"/>
                    </a:gs>
                  </a:gsLst>
                  <a:lin ang="18900000" scaled="1"/>
                </a:gradFill>
                <a:latin typeface="+mj-lt"/>
              </a:rPr>
              <a:t>Unmatched Data with SAP Business Data Cloud</a:t>
            </a:r>
          </a:p>
        </p:txBody>
      </p:sp>
      <p:sp>
        <p:nvSpPr>
          <p:cNvPr id="56" name="Rectangle 55">
            <a:extLst>
              <a:ext uri="{FF2B5EF4-FFF2-40B4-BE49-F238E27FC236}">
                <a16:creationId xmlns:a16="http://schemas.microsoft.com/office/drawing/2014/main" id="{D7F6AA8D-F33B-1EEC-DF39-C70D88C0E816}"/>
              </a:ext>
            </a:extLst>
          </p:cNvPr>
          <p:cNvSpPr/>
          <p:nvPr/>
        </p:nvSpPr>
        <p:spPr bwMode="gray">
          <a:xfrm>
            <a:off x="7644702" y="2032217"/>
            <a:ext cx="4037776" cy="3402237"/>
          </a:xfrm>
          <a:prstGeom prst="rect">
            <a:avLst/>
          </a:prstGeom>
          <a:noFill/>
          <a:ln w="25400" algn="ctr">
            <a:noFill/>
            <a:miter lim="800000"/>
            <a:headEnd/>
            <a:tailEnd/>
          </a:ln>
        </p:spPr>
        <p:txBody>
          <a:bodyPr wrap="square" lIns="182785" tIns="146228" rIns="182785" bIns="146228" rtlCol="0" anchor="t">
            <a:spAutoFit/>
          </a:bodyPr>
          <a:lstStyle/>
          <a:p>
            <a:pPr marL="230073" indent="-230073" defTabSz="1087687">
              <a:spcAft>
                <a:spcPts val="2399"/>
              </a:spcAft>
              <a:buClr>
                <a:srgbClr val="89D1FF"/>
              </a:buClr>
              <a:buSzPct val="100000"/>
              <a:buFont typeface="Arial" panose="020B0604020202020204" pitchFamily="34" charset="0"/>
              <a:buChar char="•"/>
              <a:defRPr/>
            </a:pPr>
            <a:r>
              <a:rPr lang="en-US" sz="1399" b="1">
                <a:latin typeface="72 Brand" panose="020B0504030603020204" pitchFamily="34" charset="0"/>
              </a:rPr>
              <a:t>Evolution of the Business Data Fabric </a:t>
            </a:r>
            <a:r>
              <a:rPr lang="en-US" sz="1199">
                <a:latin typeface="+mn-lt"/>
              </a:rPr>
              <a:t>journey which started in 2023 with SAP Datasphere and SAP Analytics Cloud powered by SAP HANA Cloud</a:t>
            </a:r>
            <a:r>
              <a:rPr lang="en-US" sz="1199">
                <a:solidFill>
                  <a:srgbClr val="00144A"/>
                </a:solidFill>
              </a:rPr>
              <a:t> enhanced by SAP Databricks and SAP BW</a:t>
            </a:r>
            <a:endParaRPr lang="en-US" sz="1199">
              <a:latin typeface="+mn-lt"/>
            </a:endParaRPr>
          </a:p>
          <a:p>
            <a:pPr marL="230073" indent="-230073" defTabSz="1087687">
              <a:spcAft>
                <a:spcPts val="2399"/>
              </a:spcAft>
              <a:buClr>
                <a:srgbClr val="89D1FF"/>
              </a:buClr>
              <a:buSzPct val="100000"/>
              <a:buFont typeface="Arial" panose="020B0604020202020204" pitchFamily="34" charset="0"/>
              <a:buChar char="•"/>
              <a:defRPr/>
            </a:pPr>
            <a:r>
              <a:rPr lang="en-US" sz="1399" b="1">
                <a:latin typeface="72 Brand" panose="020B0504030603020204" pitchFamily="34" charset="0"/>
              </a:rPr>
              <a:t>Next pivotal step in SAP’s data strategy </a:t>
            </a:r>
            <a:br>
              <a:rPr lang="en-US" sz="1399" b="1">
                <a:latin typeface="72 Brand" panose="020B0504030603020204" pitchFamily="34" charset="0"/>
              </a:rPr>
            </a:br>
            <a:r>
              <a:rPr lang="en-US" sz="1199">
                <a:latin typeface="+mn-lt"/>
              </a:rPr>
              <a:t>on delivering out-of-the-box always-on data products following a harmonized data model to provide scalable access without duplication to reduce time to value</a:t>
            </a:r>
          </a:p>
          <a:p>
            <a:pPr marL="230073" indent="-230073" defTabSz="1087687">
              <a:spcAft>
                <a:spcPts val="2399"/>
              </a:spcAft>
              <a:buClr>
                <a:srgbClr val="89D1FF"/>
              </a:buClr>
              <a:buSzPct val="100000"/>
              <a:buFont typeface="Arial" panose="020B0604020202020204" pitchFamily="34" charset="0"/>
              <a:buChar char="•"/>
              <a:defRPr/>
            </a:pPr>
            <a:r>
              <a:rPr lang="en-US" sz="1399" b="1">
                <a:latin typeface="72 Brand" panose="020B0504030603020204" pitchFamily="34" charset="0"/>
              </a:rPr>
              <a:t>Adapting to the rapidly evolving needs </a:t>
            </a:r>
            <a:br>
              <a:rPr lang="en-US" sz="1399" b="1">
                <a:latin typeface="72 Brand" panose="020B0504030603020204" pitchFamily="34" charset="0"/>
              </a:rPr>
            </a:br>
            <a:r>
              <a:rPr lang="en-US" sz="1199">
                <a:latin typeface="+mn-lt"/>
              </a:rPr>
              <a:t>by adding more services supporting use cases such as generative AI, data products with rich semantics, and analytical insight apps</a:t>
            </a:r>
            <a:endParaRPr lang="en-US" sz="1399">
              <a:latin typeface="+mn-lt"/>
            </a:endParaRPr>
          </a:p>
        </p:txBody>
      </p:sp>
      <p:sp>
        <p:nvSpPr>
          <p:cNvPr id="30" name="Rectangle: Top Corners Rounded 29">
            <a:extLst>
              <a:ext uri="{FF2B5EF4-FFF2-40B4-BE49-F238E27FC236}">
                <a16:creationId xmlns:a16="http://schemas.microsoft.com/office/drawing/2014/main" id="{400992CE-1172-DCDE-ADD1-2DD3B9CA1A82}"/>
              </a:ext>
            </a:extLst>
          </p:cNvPr>
          <p:cNvSpPr/>
          <p:nvPr/>
        </p:nvSpPr>
        <p:spPr bwMode="gray">
          <a:xfrm rot="16200000">
            <a:off x="2466435" y="3493966"/>
            <a:ext cx="568408" cy="4493796"/>
          </a:xfrm>
          <a:prstGeom prst="round2SameRect">
            <a:avLst/>
          </a:prstGeom>
          <a:gradFill flip="none" rotWithShape="1">
            <a:gsLst>
              <a:gs pos="100000">
                <a:srgbClr val="D1EFFF"/>
              </a:gs>
              <a:gs pos="0">
                <a:srgbClr val="EBF8FF"/>
              </a:gs>
            </a:gsLst>
            <a:lin ang="2700000" scaled="1"/>
            <a:tileRect/>
          </a:gradFill>
          <a:ln w="12700">
            <a:solidFill>
              <a:srgbClr val="D1E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95" tIns="146076" rIns="182595" bIns="146076" numCol="1" spcCol="0" rtlCol="0" fromWordArt="0" anchor="t" anchorCtr="0" forceAA="0" compatLnSpc="1">
            <a:prstTxWarp prst="textNoShape">
              <a:avLst/>
            </a:prstTxWarp>
            <a:noAutofit/>
          </a:bodyPr>
          <a:lstStyle/>
          <a:p>
            <a:pPr defTabSz="931074" fontAlgn="base">
              <a:spcBef>
                <a:spcPct val="0"/>
              </a:spcBef>
              <a:spcAft>
                <a:spcPct val="0"/>
              </a:spcAft>
            </a:pPr>
            <a:endParaRPr lang="en-US" sz="1799">
              <a:gradFill>
                <a:gsLst>
                  <a:gs pos="0">
                    <a:schemeClr val="bg1"/>
                  </a:gs>
                  <a:gs pos="100000">
                    <a:schemeClr val="bg1"/>
                  </a:gs>
                </a:gsLst>
                <a:lin ang="5400000" scaled="1"/>
              </a:gradFill>
              <a:latin typeface="72 Brand" panose="020B0504030603020204" pitchFamily="34" charset="0"/>
              <a:cs typeface="72" panose="020B0503030000000003" pitchFamily="34" charset="0"/>
            </a:endParaRPr>
          </a:p>
        </p:txBody>
      </p:sp>
      <p:sp>
        <p:nvSpPr>
          <p:cNvPr id="31" name="TextBox 30">
            <a:extLst>
              <a:ext uri="{FF2B5EF4-FFF2-40B4-BE49-F238E27FC236}">
                <a16:creationId xmlns:a16="http://schemas.microsoft.com/office/drawing/2014/main" id="{E1FB3E95-80B2-6365-0C7D-BD8FAB658200}"/>
              </a:ext>
            </a:extLst>
          </p:cNvPr>
          <p:cNvSpPr txBox="1"/>
          <p:nvPr/>
        </p:nvSpPr>
        <p:spPr>
          <a:xfrm>
            <a:off x="665640" y="5638695"/>
            <a:ext cx="767840" cy="184570"/>
          </a:xfrm>
          <a:prstGeom prst="rect">
            <a:avLst/>
          </a:prstGeom>
          <a:noFill/>
        </p:spPr>
        <p:txBody>
          <a:bodyPr wrap="square" lIns="0" tIns="0" rIns="0" bIns="0" rtlCol="0">
            <a:spAutoFit/>
          </a:bodyPr>
          <a:lstStyle/>
          <a:p>
            <a:r>
              <a:rPr lang="en-US" sz="1199">
                <a:gradFill>
                  <a:gsLst>
                    <a:gs pos="0">
                      <a:srgbClr val="00144A"/>
                    </a:gs>
                    <a:gs pos="100000">
                      <a:srgbClr val="00144A"/>
                    </a:gs>
                  </a:gsLst>
                  <a:lin ang="5400000" scaled="1"/>
                </a:gradFill>
                <a:latin typeface="72 Brand Medium" panose="020B0604030603020204" pitchFamily="34" charset="0"/>
                <a:cs typeface="72" panose="020B0503030000000003" pitchFamily="34" charset="0"/>
              </a:rPr>
              <a:t>SAP Apps</a:t>
            </a:r>
          </a:p>
        </p:txBody>
      </p:sp>
      <p:grpSp>
        <p:nvGrpSpPr>
          <p:cNvPr id="32" name="Group 31">
            <a:extLst>
              <a:ext uri="{FF2B5EF4-FFF2-40B4-BE49-F238E27FC236}">
                <a16:creationId xmlns:a16="http://schemas.microsoft.com/office/drawing/2014/main" id="{EC51CFCA-204A-FF33-7DBB-4B51275BF7D3}"/>
              </a:ext>
            </a:extLst>
          </p:cNvPr>
          <p:cNvGrpSpPr/>
          <p:nvPr/>
        </p:nvGrpSpPr>
        <p:grpSpPr>
          <a:xfrm>
            <a:off x="1586924" y="5550647"/>
            <a:ext cx="3290065" cy="380434"/>
            <a:chOff x="2685789" y="5596049"/>
            <a:chExt cx="4274414" cy="494255"/>
          </a:xfrm>
        </p:grpSpPr>
        <p:grpSp>
          <p:nvGrpSpPr>
            <p:cNvPr id="50" name="Group 49">
              <a:extLst>
                <a:ext uri="{FF2B5EF4-FFF2-40B4-BE49-F238E27FC236}">
                  <a16:creationId xmlns:a16="http://schemas.microsoft.com/office/drawing/2014/main" id="{89AD99B8-00E0-ABA3-84BD-31D90961A50C}"/>
                </a:ext>
              </a:extLst>
            </p:cNvPr>
            <p:cNvGrpSpPr/>
            <p:nvPr/>
          </p:nvGrpSpPr>
          <p:grpSpPr>
            <a:xfrm>
              <a:off x="3315816" y="5596049"/>
              <a:ext cx="494255" cy="494255"/>
              <a:chOff x="1576357" y="4636437"/>
              <a:chExt cx="638319" cy="638319"/>
            </a:xfrm>
          </p:grpSpPr>
          <p:sp>
            <p:nvSpPr>
              <p:cNvPr id="134" name="Rectangle: Rounded Corners 460">
                <a:extLst>
                  <a:ext uri="{FF2B5EF4-FFF2-40B4-BE49-F238E27FC236}">
                    <a16:creationId xmlns:a16="http://schemas.microsoft.com/office/drawing/2014/main" id="{0ECE2EB9-EBA4-9334-E5E9-2A275B6B3792}"/>
                  </a:ext>
                </a:extLst>
              </p:cNvPr>
              <p:cNvSpPr/>
              <p:nvPr/>
            </p:nvSpPr>
            <p:spPr bwMode="gray">
              <a:xfrm>
                <a:off x="1576357" y="4636437"/>
                <a:ext cx="638319" cy="638319"/>
              </a:xfrm>
              <a:prstGeom prst="roundRect">
                <a:avLst/>
              </a:prstGeom>
              <a:solidFill>
                <a:schemeClr val="bg1"/>
              </a:solidFill>
              <a:ln w="25400" algn="ctr">
                <a:noFill/>
                <a:miter lim="800000"/>
                <a:headEnd/>
                <a:tailEnd/>
              </a:ln>
            </p:spPr>
            <p:txBody>
              <a:bodyPr lIns="182595" tIns="146076" rIns="182595" bIns="146076" rtlCol="0" anchor="t"/>
              <a:lstStyle/>
              <a:p>
                <a:pPr defTabSz="913029" fontAlgn="base">
                  <a:spcBef>
                    <a:spcPct val="50000"/>
                  </a:spcBef>
                  <a:spcAft>
                    <a:spcPct val="0"/>
                  </a:spcAft>
                  <a:buClr>
                    <a:srgbClr val="F0AB00"/>
                  </a:buClr>
                  <a:buSzPct val="80000"/>
                </a:pPr>
                <a:endParaRPr lang="en-US" sz="1099" kern="0">
                  <a:latin typeface="+mn-lt"/>
                  <a:ea typeface="72 Brand" pitchFamily="34" charset="-128"/>
                  <a:cs typeface="72 Brand" pitchFamily="34" charset="-128"/>
                </a:endParaRPr>
              </a:p>
            </p:txBody>
          </p:sp>
          <p:pic>
            <p:nvPicPr>
              <p:cNvPr id="135" name="Picture 134">
                <a:extLst>
                  <a:ext uri="{FF2B5EF4-FFF2-40B4-BE49-F238E27FC236}">
                    <a16:creationId xmlns:a16="http://schemas.microsoft.com/office/drawing/2014/main" id="{26B5F02C-CD93-2492-791C-DCF6FFDD30C7}"/>
                  </a:ext>
                </a:extLst>
              </p:cNvPr>
              <p:cNvPicPr>
                <a:picLocks noChangeAspect="1"/>
              </p:cNvPicPr>
              <p:nvPr/>
            </p:nvPicPr>
            <p:blipFill rotWithShape="1">
              <a:blip r:embed="rId3"/>
              <a:srcRect l="1704" t="1724"/>
              <a:stretch/>
            </p:blipFill>
            <p:spPr>
              <a:xfrm>
                <a:off x="1690539" y="4738495"/>
                <a:ext cx="409955" cy="434202"/>
              </a:xfrm>
              <a:prstGeom prst="rect">
                <a:avLst/>
              </a:prstGeom>
            </p:spPr>
          </p:pic>
        </p:grpSp>
        <p:grpSp>
          <p:nvGrpSpPr>
            <p:cNvPr id="51" name="Group 50">
              <a:extLst>
                <a:ext uri="{FF2B5EF4-FFF2-40B4-BE49-F238E27FC236}">
                  <a16:creationId xmlns:a16="http://schemas.microsoft.com/office/drawing/2014/main" id="{49A9B1A0-A50C-4997-E348-0D02B5D109C8}"/>
                </a:ext>
              </a:extLst>
            </p:cNvPr>
            <p:cNvGrpSpPr/>
            <p:nvPr/>
          </p:nvGrpSpPr>
          <p:grpSpPr>
            <a:xfrm>
              <a:off x="5835921" y="5596049"/>
              <a:ext cx="494255" cy="494255"/>
              <a:chOff x="1576357" y="5431809"/>
              <a:chExt cx="638319" cy="638319"/>
            </a:xfrm>
          </p:grpSpPr>
          <p:sp>
            <p:nvSpPr>
              <p:cNvPr id="132" name="Rectangle: Rounded Corners 464">
                <a:extLst>
                  <a:ext uri="{FF2B5EF4-FFF2-40B4-BE49-F238E27FC236}">
                    <a16:creationId xmlns:a16="http://schemas.microsoft.com/office/drawing/2014/main" id="{F8C56730-BB25-5B7F-F7D5-8641464CAE2D}"/>
                  </a:ext>
                </a:extLst>
              </p:cNvPr>
              <p:cNvSpPr/>
              <p:nvPr/>
            </p:nvSpPr>
            <p:spPr bwMode="gray">
              <a:xfrm>
                <a:off x="1576357" y="5431809"/>
                <a:ext cx="638319" cy="638319"/>
              </a:xfrm>
              <a:prstGeom prst="roundRect">
                <a:avLst/>
              </a:prstGeom>
              <a:solidFill>
                <a:schemeClr val="bg1"/>
              </a:solidFill>
              <a:ln w="25400" algn="ctr">
                <a:noFill/>
                <a:miter lim="800000"/>
                <a:headEnd/>
                <a:tailEnd/>
              </a:ln>
            </p:spPr>
            <p:txBody>
              <a:bodyPr lIns="182595" tIns="146076" rIns="182595" bIns="146076" rtlCol="0" anchor="t"/>
              <a:lstStyle/>
              <a:p>
                <a:pPr defTabSz="913029" fontAlgn="base">
                  <a:spcBef>
                    <a:spcPct val="50000"/>
                  </a:spcBef>
                  <a:spcAft>
                    <a:spcPct val="0"/>
                  </a:spcAft>
                  <a:buClr>
                    <a:srgbClr val="F0AB00"/>
                  </a:buClr>
                  <a:buSzPct val="80000"/>
                </a:pPr>
                <a:endParaRPr lang="en-US" sz="1099" kern="0">
                  <a:latin typeface="+mn-lt"/>
                  <a:ea typeface="72 Brand" pitchFamily="34" charset="-128"/>
                  <a:cs typeface="72 Brand" pitchFamily="34" charset="-128"/>
                </a:endParaRPr>
              </a:p>
            </p:txBody>
          </p:sp>
          <p:pic>
            <p:nvPicPr>
              <p:cNvPr id="133" name="Picture 132">
                <a:extLst>
                  <a:ext uri="{FF2B5EF4-FFF2-40B4-BE49-F238E27FC236}">
                    <a16:creationId xmlns:a16="http://schemas.microsoft.com/office/drawing/2014/main" id="{30F54189-69FD-4508-642D-F603D7DDDB11}"/>
                  </a:ext>
                </a:extLst>
              </p:cNvPr>
              <p:cNvPicPr>
                <a:picLocks noChangeAspect="1"/>
              </p:cNvPicPr>
              <p:nvPr/>
            </p:nvPicPr>
            <p:blipFill>
              <a:blip r:embed="rId4"/>
              <a:stretch>
                <a:fillRect/>
              </a:stretch>
            </p:blipFill>
            <p:spPr>
              <a:xfrm>
                <a:off x="1692895" y="5563867"/>
                <a:ext cx="405243" cy="374203"/>
              </a:xfrm>
              <a:prstGeom prst="rect">
                <a:avLst/>
              </a:prstGeom>
              <a:solidFill>
                <a:schemeClr val="bg1"/>
              </a:solidFill>
            </p:spPr>
          </p:pic>
        </p:grpSp>
        <p:grpSp>
          <p:nvGrpSpPr>
            <p:cNvPr id="52" name="Group 51">
              <a:extLst>
                <a:ext uri="{FF2B5EF4-FFF2-40B4-BE49-F238E27FC236}">
                  <a16:creationId xmlns:a16="http://schemas.microsoft.com/office/drawing/2014/main" id="{251C71B7-2E4D-2109-C288-846CF8545C1A}"/>
                </a:ext>
              </a:extLst>
            </p:cNvPr>
            <p:cNvGrpSpPr/>
            <p:nvPr/>
          </p:nvGrpSpPr>
          <p:grpSpPr>
            <a:xfrm>
              <a:off x="2685789" y="5596049"/>
              <a:ext cx="494255" cy="494255"/>
              <a:chOff x="811784" y="4636437"/>
              <a:chExt cx="638319" cy="638319"/>
            </a:xfrm>
          </p:grpSpPr>
          <p:sp>
            <p:nvSpPr>
              <p:cNvPr id="130" name="Rectangle: Rounded Corners 459">
                <a:extLst>
                  <a:ext uri="{FF2B5EF4-FFF2-40B4-BE49-F238E27FC236}">
                    <a16:creationId xmlns:a16="http://schemas.microsoft.com/office/drawing/2014/main" id="{44FE8826-68EE-1270-0369-2E2DBC2852D6}"/>
                  </a:ext>
                </a:extLst>
              </p:cNvPr>
              <p:cNvSpPr/>
              <p:nvPr/>
            </p:nvSpPr>
            <p:spPr bwMode="gray">
              <a:xfrm>
                <a:off x="811784" y="4636437"/>
                <a:ext cx="638319" cy="638319"/>
              </a:xfrm>
              <a:prstGeom prst="roundRect">
                <a:avLst/>
              </a:prstGeom>
              <a:solidFill>
                <a:schemeClr val="bg1"/>
              </a:solidFill>
              <a:ln w="25400" algn="ctr">
                <a:noFill/>
                <a:miter lim="800000"/>
                <a:headEnd/>
                <a:tailEnd/>
              </a:ln>
            </p:spPr>
            <p:txBody>
              <a:bodyPr lIns="182595" tIns="146076" rIns="182595" bIns="146076" rtlCol="0" anchor="t"/>
              <a:lstStyle/>
              <a:p>
                <a:pPr defTabSz="913029" fontAlgn="base">
                  <a:spcBef>
                    <a:spcPct val="50000"/>
                  </a:spcBef>
                  <a:spcAft>
                    <a:spcPct val="0"/>
                  </a:spcAft>
                  <a:buClr>
                    <a:srgbClr val="F0AB00"/>
                  </a:buClr>
                  <a:buSzPct val="80000"/>
                </a:pPr>
                <a:endParaRPr lang="en-US" sz="1099" kern="0">
                  <a:latin typeface="+mn-lt"/>
                  <a:ea typeface="72 Brand" pitchFamily="34" charset="-128"/>
                  <a:cs typeface="72 Brand" pitchFamily="34" charset="-128"/>
                </a:endParaRPr>
              </a:p>
            </p:txBody>
          </p:sp>
          <p:pic>
            <p:nvPicPr>
              <p:cNvPr id="131" name="Picture 130">
                <a:extLst>
                  <a:ext uri="{FF2B5EF4-FFF2-40B4-BE49-F238E27FC236}">
                    <a16:creationId xmlns:a16="http://schemas.microsoft.com/office/drawing/2014/main" id="{A8BF0C72-577D-5981-842D-FFB7709E4285}"/>
                  </a:ext>
                </a:extLst>
              </p:cNvPr>
              <p:cNvPicPr>
                <a:picLocks noChangeAspect="1"/>
              </p:cNvPicPr>
              <p:nvPr/>
            </p:nvPicPr>
            <p:blipFill>
              <a:blip r:embed="rId5"/>
              <a:stretch>
                <a:fillRect/>
              </a:stretch>
            </p:blipFill>
            <p:spPr>
              <a:xfrm>
                <a:off x="952198" y="4748724"/>
                <a:ext cx="357490" cy="413744"/>
              </a:xfrm>
              <a:prstGeom prst="rect">
                <a:avLst/>
              </a:prstGeom>
            </p:spPr>
          </p:pic>
        </p:grpSp>
        <p:grpSp>
          <p:nvGrpSpPr>
            <p:cNvPr id="53" name="Group 52">
              <a:extLst>
                <a:ext uri="{FF2B5EF4-FFF2-40B4-BE49-F238E27FC236}">
                  <a16:creationId xmlns:a16="http://schemas.microsoft.com/office/drawing/2014/main" id="{E19EA77F-F316-ADE3-BAEF-DB09D3CB080F}"/>
                </a:ext>
              </a:extLst>
            </p:cNvPr>
            <p:cNvGrpSpPr/>
            <p:nvPr/>
          </p:nvGrpSpPr>
          <p:grpSpPr>
            <a:xfrm>
              <a:off x="3945843" y="5596049"/>
              <a:ext cx="494255" cy="494255"/>
              <a:chOff x="2340929" y="4636437"/>
              <a:chExt cx="638319" cy="638319"/>
            </a:xfrm>
          </p:grpSpPr>
          <p:sp>
            <p:nvSpPr>
              <p:cNvPr id="128" name="Rectangle: Rounded Corners 461">
                <a:extLst>
                  <a:ext uri="{FF2B5EF4-FFF2-40B4-BE49-F238E27FC236}">
                    <a16:creationId xmlns:a16="http://schemas.microsoft.com/office/drawing/2014/main" id="{9B49206A-1A30-E9D6-F9D0-C85F041D9738}"/>
                  </a:ext>
                </a:extLst>
              </p:cNvPr>
              <p:cNvSpPr/>
              <p:nvPr/>
            </p:nvSpPr>
            <p:spPr bwMode="gray">
              <a:xfrm>
                <a:off x="2340929" y="4636437"/>
                <a:ext cx="638319" cy="638319"/>
              </a:xfrm>
              <a:prstGeom prst="roundRect">
                <a:avLst/>
              </a:prstGeom>
              <a:solidFill>
                <a:schemeClr val="bg1"/>
              </a:solidFill>
              <a:ln w="25400" algn="ctr">
                <a:noFill/>
                <a:miter lim="800000"/>
                <a:headEnd/>
                <a:tailEnd/>
              </a:ln>
            </p:spPr>
            <p:txBody>
              <a:bodyPr lIns="182595" tIns="146076" rIns="182595" bIns="146076" rtlCol="0" anchor="t"/>
              <a:lstStyle/>
              <a:p>
                <a:pPr defTabSz="913029" fontAlgn="base">
                  <a:spcBef>
                    <a:spcPct val="50000"/>
                  </a:spcBef>
                  <a:spcAft>
                    <a:spcPct val="0"/>
                  </a:spcAft>
                  <a:buClr>
                    <a:srgbClr val="F0AB00"/>
                  </a:buClr>
                  <a:buSzPct val="80000"/>
                </a:pPr>
                <a:endParaRPr lang="en-US" sz="1099" kern="0">
                  <a:latin typeface="+mn-lt"/>
                  <a:ea typeface="72 Brand" pitchFamily="34" charset="-128"/>
                  <a:cs typeface="72 Brand" pitchFamily="34" charset="-128"/>
                </a:endParaRPr>
              </a:p>
            </p:txBody>
          </p:sp>
          <p:pic>
            <p:nvPicPr>
              <p:cNvPr id="129" name="Picture 128">
                <a:extLst>
                  <a:ext uri="{FF2B5EF4-FFF2-40B4-BE49-F238E27FC236}">
                    <a16:creationId xmlns:a16="http://schemas.microsoft.com/office/drawing/2014/main" id="{81D94B38-42B3-3E39-5E98-F740C1B1ED7B}"/>
                  </a:ext>
                </a:extLst>
              </p:cNvPr>
              <p:cNvPicPr>
                <a:picLocks noChangeAspect="1"/>
              </p:cNvPicPr>
              <p:nvPr/>
            </p:nvPicPr>
            <p:blipFill>
              <a:blip r:embed="rId6"/>
              <a:stretch>
                <a:fillRect/>
              </a:stretch>
            </p:blipFill>
            <p:spPr>
              <a:xfrm>
                <a:off x="2461172" y="4732303"/>
                <a:ext cx="397832" cy="446586"/>
              </a:xfrm>
              <a:prstGeom prst="rect">
                <a:avLst/>
              </a:prstGeom>
            </p:spPr>
          </p:pic>
        </p:grpSp>
        <p:grpSp>
          <p:nvGrpSpPr>
            <p:cNvPr id="54" name="Group 53">
              <a:extLst>
                <a:ext uri="{FF2B5EF4-FFF2-40B4-BE49-F238E27FC236}">
                  <a16:creationId xmlns:a16="http://schemas.microsoft.com/office/drawing/2014/main" id="{418E328B-843E-047A-4F72-E5047B5DA498}"/>
                </a:ext>
              </a:extLst>
            </p:cNvPr>
            <p:cNvGrpSpPr/>
            <p:nvPr/>
          </p:nvGrpSpPr>
          <p:grpSpPr>
            <a:xfrm>
              <a:off x="5205896" y="5596049"/>
              <a:ext cx="494255" cy="494255"/>
              <a:chOff x="811784" y="5431809"/>
              <a:chExt cx="638319" cy="638319"/>
            </a:xfrm>
          </p:grpSpPr>
          <p:sp>
            <p:nvSpPr>
              <p:cNvPr id="62" name="Rectangle: Rounded Corners 463">
                <a:extLst>
                  <a:ext uri="{FF2B5EF4-FFF2-40B4-BE49-F238E27FC236}">
                    <a16:creationId xmlns:a16="http://schemas.microsoft.com/office/drawing/2014/main" id="{F2D52C15-9C2B-61E7-FE9A-81FDEF342DD7}"/>
                  </a:ext>
                </a:extLst>
              </p:cNvPr>
              <p:cNvSpPr/>
              <p:nvPr/>
            </p:nvSpPr>
            <p:spPr bwMode="gray">
              <a:xfrm>
                <a:off x="811784" y="5431809"/>
                <a:ext cx="638319" cy="638319"/>
              </a:xfrm>
              <a:prstGeom prst="roundRect">
                <a:avLst/>
              </a:prstGeom>
              <a:solidFill>
                <a:schemeClr val="bg1"/>
              </a:solidFill>
              <a:ln w="25400" algn="ctr">
                <a:noFill/>
                <a:miter lim="800000"/>
                <a:headEnd/>
                <a:tailEnd/>
              </a:ln>
            </p:spPr>
            <p:txBody>
              <a:bodyPr lIns="182595" tIns="146076" rIns="182595" bIns="146076" rtlCol="0" anchor="t"/>
              <a:lstStyle/>
              <a:p>
                <a:pPr defTabSz="913029" fontAlgn="base">
                  <a:spcBef>
                    <a:spcPct val="50000"/>
                  </a:spcBef>
                  <a:spcAft>
                    <a:spcPct val="0"/>
                  </a:spcAft>
                  <a:buClr>
                    <a:srgbClr val="F0AB00"/>
                  </a:buClr>
                  <a:buSzPct val="80000"/>
                </a:pPr>
                <a:endParaRPr lang="en-US" sz="1099" kern="0">
                  <a:latin typeface="+mn-lt"/>
                  <a:ea typeface="72 Brand" pitchFamily="34" charset="-128"/>
                  <a:cs typeface="72 Brand" pitchFamily="34" charset="-128"/>
                </a:endParaRPr>
              </a:p>
            </p:txBody>
          </p:sp>
          <p:pic>
            <p:nvPicPr>
              <p:cNvPr id="63" name="Picture 62">
                <a:extLst>
                  <a:ext uri="{FF2B5EF4-FFF2-40B4-BE49-F238E27FC236}">
                    <a16:creationId xmlns:a16="http://schemas.microsoft.com/office/drawing/2014/main" id="{0C99DD1A-8D55-E4E6-6636-78E5E652AF39}"/>
                  </a:ext>
                </a:extLst>
              </p:cNvPr>
              <p:cNvPicPr>
                <a:picLocks noChangeAspect="1"/>
              </p:cNvPicPr>
              <p:nvPr/>
            </p:nvPicPr>
            <p:blipFill>
              <a:blip r:embed="rId7"/>
              <a:stretch>
                <a:fillRect/>
              </a:stretch>
            </p:blipFill>
            <p:spPr>
              <a:xfrm>
                <a:off x="916004" y="5559463"/>
                <a:ext cx="429880" cy="383012"/>
              </a:xfrm>
              <a:prstGeom prst="rect">
                <a:avLst/>
              </a:prstGeom>
            </p:spPr>
          </p:pic>
        </p:grpSp>
        <p:grpSp>
          <p:nvGrpSpPr>
            <p:cNvPr id="55" name="Group 54">
              <a:extLst>
                <a:ext uri="{FF2B5EF4-FFF2-40B4-BE49-F238E27FC236}">
                  <a16:creationId xmlns:a16="http://schemas.microsoft.com/office/drawing/2014/main" id="{62EB2111-81A1-FE63-F6F5-73FDE9D0891C}"/>
                </a:ext>
              </a:extLst>
            </p:cNvPr>
            <p:cNvGrpSpPr/>
            <p:nvPr/>
          </p:nvGrpSpPr>
          <p:grpSpPr>
            <a:xfrm>
              <a:off x="6465948" y="5596049"/>
              <a:ext cx="494255" cy="494255"/>
              <a:chOff x="2340929" y="5431809"/>
              <a:chExt cx="638319" cy="638319"/>
            </a:xfrm>
          </p:grpSpPr>
          <p:sp>
            <p:nvSpPr>
              <p:cNvPr id="60" name="Rectangle: Rounded Corners 465">
                <a:extLst>
                  <a:ext uri="{FF2B5EF4-FFF2-40B4-BE49-F238E27FC236}">
                    <a16:creationId xmlns:a16="http://schemas.microsoft.com/office/drawing/2014/main" id="{DF087135-C329-3232-1246-453A64BA2D47}"/>
                  </a:ext>
                </a:extLst>
              </p:cNvPr>
              <p:cNvSpPr/>
              <p:nvPr/>
            </p:nvSpPr>
            <p:spPr bwMode="gray">
              <a:xfrm>
                <a:off x="2340929" y="5431809"/>
                <a:ext cx="638319" cy="638319"/>
              </a:xfrm>
              <a:prstGeom prst="roundRect">
                <a:avLst/>
              </a:prstGeom>
              <a:solidFill>
                <a:schemeClr val="bg1"/>
              </a:solidFill>
              <a:ln w="25400" algn="ctr">
                <a:noFill/>
                <a:miter lim="800000"/>
                <a:headEnd/>
                <a:tailEnd/>
              </a:ln>
            </p:spPr>
            <p:txBody>
              <a:bodyPr lIns="182595" tIns="146076" rIns="182595" bIns="146076" rtlCol="0" anchor="t"/>
              <a:lstStyle/>
              <a:p>
                <a:pPr defTabSz="913029" fontAlgn="base">
                  <a:spcBef>
                    <a:spcPct val="50000"/>
                  </a:spcBef>
                  <a:spcAft>
                    <a:spcPct val="0"/>
                  </a:spcAft>
                  <a:buClr>
                    <a:srgbClr val="F0AB00"/>
                  </a:buClr>
                  <a:buSzPct val="80000"/>
                </a:pPr>
                <a:endParaRPr lang="en-US" sz="1099" kern="0">
                  <a:latin typeface="+mn-lt"/>
                  <a:ea typeface="72 Brand" pitchFamily="34" charset="-128"/>
                  <a:cs typeface="72 Brand" pitchFamily="34" charset="-128"/>
                </a:endParaRPr>
              </a:p>
            </p:txBody>
          </p:sp>
          <p:pic>
            <p:nvPicPr>
              <p:cNvPr id="61" name="Picture 60">
                <a:extLst>
                  <a:ext uri="{FF2B5EF4-FFF2-40B4-BE49-F238E27FC236}">
                    <a16:creationId xmlns:a16="http://schemas.microsoft.com/office/drawing/2014/main" id="{F1166D28-A656-3F2D-6F3E-F525E328B006}"/>
                  </a:ext>
                </a:extLst>
              </p:cNvPr>
              <p:cNvPicPr>
                <a:picLocks noChangeAspect="1"/>
              </p:cNvPicPr>
              <p:nvPr/>
            </p:nvPicPr>
            <p:blipFill>
              <a:blip r:embed="rId8"/>
              <a:srcRect l="2127" r="2127"/>
              <a:stretch/>
            </p:blipFill>
            <p:spPr>
              <a:xfrm>
                <a:off x="2456730" y="5547577"/>
                <a:ext cx="406717" cy="406782"/>
              </a:xfrm>
              <a:prstGeom prst="rect">
                <a:avLst/>
              </a:prstGeom>
            </p:spPr>
          </p:pic>
        </p:grpSp>
        <p:grpSp>
          <p:nvGrpSpPr>
            <p:cNvPr id="57" name="Group 56">
              <a:extLst>
                <a:ext uri="{FF2B5EF4-FFF2-40B4-BE49-F238E27FC236}">
                  <a16:creationId xmlns:a16="http://schemas.microsoft.com/office/drawing/2014/main" id="{1C1CBA14-214A-8E43-973F-17648AFB8C4D}"/>
                </a:ext>
              </a:extLst>
            </p:cNvPr>
            <p:cNvGrpSpPr/>
            <p:nvPr/>
          </p:nvGrpSpPr>
          <p:grpSpPr>
            <a:xfrm>
              <a:off x="4575869" y="5596049"/>
              <a:ext cx="494255" cy="494255"/>
              <a:chOff x="3105503" y="4636437"/>
              <a:chExt cx="638319" cy="638319"/>
            </a:xfrm>
          </p:grpSpPr>
          <p:sp>
            <p:nvSpPr>
              <p:cNvPr id="58" name="Rectangle: Rounded Corners 462">
                <a:extLst>
                  <a:ext uri="{FF2B5EF4-FFF2-40B4-BE49-F238E27FC236}">
                    <a16:creationId xmlns:a16="http://schemas.microsoft.com/office/drawing/2014/main" id="{53FD94CD-88B1-BF27-B32C-1DC840DF04E7}"/>
                  </a:ext>
                </a:extLst>
              </p:cNvPr>
              <p:cNvSpPr/>
              <p:nvPr/>
            </p:nvSpPr>
            <p:spPr bwMode="gray">
              <a:xfrm>
                <a:off x="3105503" y="4636437"/>
                <a:ext cx="638319" cy="638319"/>
              </a:xfrm>
              <a:prstGeom prst="roundRect">
                <a:avLst/>
              </a:prstGeom>
              <a:solidFill>
                <a:schemeClr val="bg1"/>
              </a:solidFill>
              <a:ln w="25400" algn="ctr">
                <a:noFill/>
                <a:miter lim="800000"/>
                <a:headEnd/>
                <a:tailEnd/>
              </a:ln>
            </p:spPr>
            <p:txBody>
              <a:bodyPr lIns="182595" tIns="146076" rIns="182595" bIns="146076" rtlCol="0" anchor="t"/>
              <a:lstStyle/>
              <a:p>
                <a:pPr defTabSz="913029" fontAlgn="base">
                  <a:spcBef>
                    <a:spcPct val="50000"/>
                  </a:spcBef>
                  <a:spcAft>
                    <a:spcPct val="0"/>
                  </a:spcAft>
                  <a:buClr>
                    <a:srgbClr val="F0AB00"/>
                  </a:buClr>
                  <a:buSzPct val="80000"/>
                </a:pPr>
                <a:endParaRPr lang="en-US" sz="1099" kern="0">
                  <a:latin typeface="+mn-lt"/>
                  <a:ea typeface="72 Brand" pitchFamily="34" charset="-128"/>
                  <a:cs typeface="72 Brand" pitchFamily="34" charset="-128"/>
                </a:endParaRPr>
              </a:p>
            </p:txBody>
          </p:sp>
          <p:pic>
            <p:nvPicPr>
              <p:cNvPr id="59" name="Picture 58">
                <a:extLst>
                  <a:ext uri="{FF2B5EF4-FFF2-40B4-BE49-F238E27FC236}">
                    <a16:creationId xmlns:a16="http://schemas.microsoft.com/office/drawing/2014/main" id="{33962626-03EA-8AA4-3C26-0160096EF0D9}"/>
                  </a:ext>
                </a:extLst>
              </p:cNvPr>
              <p:cNvPicPr>
                <a:picLocks noChangeAspect="1"/>
              </p:cNvPicPr>
              <p:nvPr/>
            </p:nvPicPr>
            <p:blipFill>
              <a:blip r:embed="rId9"/>
              <a:stretch>
                <a:fillRect/>
              </a:stretch>
            </p:blipFill>
            <p:spPr>
              <a:xfrm>
                <a:off x="3220299" y="4741626"/>
                <a:ext cx="408726" cy="427940"/>
              </a:xfrm>
              <a:prstGeom prst="rect">
                <a:avLst/>
              </a:prstGeom>
            </p:spPr>
          </p:pic>
        </p:grpSp>
      </p:grpSp>
      <p:sp>
        <p:nvSpPr>
          <p:cNvPr id="33" name="TextBox 32">
            <a:extLst>
              <a:ext uri="{FF2B5EF4-FFF2-40B4-BE49-F238E27FC236}">
                <a16:creationId xmlns:a16="http://schemas.microsoft.com/office/drawing/2014/main" id="{B9C19803-09ED-EC54-D5D2-A220E1D4831D}"/>
              </a:ext>
            </a:extLst>
          </p:cNvPr>
          <p:cNvSpPr txBox="1"/>
          <p:nvPr/>
        </p:nvSpPr>
        <p:spPr>
          <a:xfrm>
            <a:off x="8755906" y="5638733"/>
            <a:ext cx="1133554" cy="184570"/>
          </a:xfrm>
          <a:prstGeom prst="rect">
            <a:avLst/>
          </a:prstGeom>
          <a:noFill/>
        </p:spPr>
        <p:txBody>
          <a:bodyPr wrap="square" lIns="0" tIns="0" rIns="0" bIns="0" rtlCol="0">
            <a:spAutoFit/>
          </a:bodyPr>
          <a:lstStyle/>
          <a:p>
            <a:pPr algn="r"/>
            <a:r>
              <a:rPr lang="en-US" sz="1199">
                <a:gradFill>
                  <a:gsLst>
                    <a:gs pos="0">
                      <a:srgbClr val="00144A"/>
                    </a:gs>
                    <a:gs pos="100000">
                      <a:srgbClr val="00144A"/>
                    </a:gs>
                  </a:gsLst>
                  <a:lin ang="5400000" scaled="1"/>
                </a:gradFill>
                <a:latin typeface="72 Brand Medium" panose="020B0604030603020204" pitchFamily="34" charset="0"/>
                <a:cs typeface="72" panose="020B0503030000000003" pitchFamily="34" charset="0"/>
              </a:rPr>
              <a:t>Non-SAP Data</a:t>
            </a:r>
          </a:p>
        </p:txBody>
      </p:sp>
      <p:sp>
        <p:nvSpPr>
          <p:cNvPr id="34" name="Rectangle: Top Corners Rounded 33">
            <a:extLst>
              <a:ext uri="{FF2B5EF4-FFF2-40B4-BE49-F238E27FC236}">
                <a16:creationId xmlns:a16="http://schemas.microsoft.com/office/drawing/2014/main" id="{1EA1DB7B-22A4-DA40-F18D-AAF1CE76905C}"/>
              </a:ext>
            </a:extLst>
          </p:cNvPr>
          <p:cNvSpPr/>
          <p:nvPr/>
        </p:nvSpPr>
        <p:spPr bwMode="gray">
          <a:xfrm rot="5400000" flipH="1">
            <a:off x="7251494" y="3202699"/>
            <a:ext cx="568408" cy="5076327"/>
          </a:xfrm>
          <a:prstGeom prst="round2SameRect">
            <a:avLst>
              <a:gd name="adj1" fmla="val 12153"/>
              <a:gd name="adj2" fmla="val 0"/>
            </a:avLst>
          </a:prstGeom>
          <a:noFill/>
          <a:ln w="12700" algn="ctr">
            <a:solidFill>
              <a:srgbClr val="D1EFFF"/>
            </a:solidFill>
            <a:miter lim="800000"/>
            <a:headEnd/>
            <a:tailEnd/>
          </a:ln>
        </p:spPr>
        <p:txBody>
          <a:bodyPr lIns="182785" tIns="146228" rIns="182785" bIns="146228" rtlCol="0" anchor="t"/>
          <a:lstStyle/>
          <a:p>
            <a:pPr defTabSz="913943" fontAlgn="base">
              <a:spcBef>
                <a:spcPct val="50000"/>
              </a:spcBef>
              <a:spcAft>
                <a:spcPct val="0"/>
              </a:spcAft>
              <a:buClr>
                <a:srgbClr val="F0AB00"/>
              </a:buClr>
              <a:buSzPct val="80000"/>
            </a:pPr>
            <a:endParaRPr lang="en-US" sz="1099" kern="0"/>
          </a:p>
        </p:txBody>
      </p:sp>
      <p:sp>
        <p:nvSpPr>
          <p:cNvPr id="35" name="TextBox 34">
            <a:extLst>
              <a:ext uri="{FF2B5EF4-FFF2-40B4-BE49-F238E27FC236}">
                <a16:creationId xmlns:a16="http://schemas.microsoft.com/office/drawing/2014/main" id="{4E2C3261-C6D7-B30E-1E8F-204F636FAB9E}"/>
              </a:ext>
            </a:extLst>
          </p:cNvPr>
          <p:cNvSpPr txBox="1"/>
          <p:nvPr/>
        </p:nvSpPr>
        <p:spPr>
          <a:xfrm>
            <a:off x="5187591" y="5660651"/>
            <a:ext cx="398780" cy="160425"/>
          </a:xfrm>
          <a:prstGeom prst="rect">
            <a:avLst/>
          </a:prstGeom>
          <a:noFill/>
        </p:spPr>
        <p:txBody>
          <a:bodyPr wrap="none" lIns="0" tIns="0" rIns="0" bIns="0" rtlCol="0">
            <a:spAutoFit/>
          </a:bodyPr>
          <a:lstStyle/>
          <a:p>
            <a:r>
              <a:rPr lang="en-US" sz="1049">
                <a:gradFill>
                  <a:gsLst>
                    <a:gs pos="0">
                      <a:srgbClr val="00144A"/>
                    </a:gs>
                    <a:gs pos="100000">
                      <a:srgbClr val="00144A"/>
                    </a:gs>
                  </a:gsLst>
                  <a:lin ang="5400000" scaled="1"/>
                </a:gradFill>
                <a:latin typeface="72 Brand" panose="020B0504030603020204" pitchFamily="34" charset="0"/>
                <a:cs typeface="72" panose="020B0503030000000003" pitchFamily="34" charset="0"/>
              </a:rPr>
              <a:t>Hybrid</a:t>
            </a:r>
          </a:p>
        </p:txBody>
      </p:sp>
      <p:sp>
        <p:nvSpPr>
          <p:cNvPr id="36" name="TextBox 35">
            <a:extLst>
              <a:ext uri="{FF2B5EF4-FFF2-40B4-BE49-F238E27FC236}">
                <a16:creationId xmlns:a16="http://schemas.microsoft.com/office/drawing/2014/main" id="{BA2E921C-B3EC-44A2-9E16-A6335324452A}"/>
              </a:ext>
            </a:extLst>
          </p:cNvPr>
          <p:cNvSpPr txBox="1"/>
          <p:nvPr/>
        </p:nvSpPr>
        <p:spPr>
          <a:xfrm>
            <a:off x="5811994" y="5660651"/>
            <a:ext cx="295280" cy="160425"/>
          </a:xfrm>
          <a:prstGeom prst="rect">
            <a:avLst/>
          </a:prstGeom>
          <a:noFill/>
        </p:spPr>
        <p:txBody>
          <a:bodyPr wrap="none" lIns="0" tIns="0" rIns="0" bIns="0" rtlCol="0">
            <a:spAutoFit/>
          </a:bodyPr>
          <a:lstStyle/>
          <a:p>
            <a:r>
              <a:rPr lang="en-US" sz="1049">
                <a:gradFill>
                  <a:gsLst>
                    <a:gs pos="0">
                      <a:srgbClr val="00144A"/>
                    </a:gs>
                    <a:gs pos="100000">
                      <a:srgbClr val="00144A"/>
                    </a:gs>
                  </a:gsLst>
                  <a:lin ang="5400000" scaled="1"/>
                </a:gradFill>
                <a:latin typeface="72 Brand" panose="020B0504030603020204" pitchFamily="34" charset="0"/>
                <a:cs typeface="72" panose="020B0503030000000003" pitchFamily="34" charset="0"/>
              </a:rPr>
              <a:t>SaaS</a:t>
            </a:r>
          </a:p>
        </p:txBody>
      </p:sp>
      <p:sp>
        <p:nvSpPr>
          <p:cNvPr id="37" name="TextBox 36">
            <a:extLst>
              <a:ext uri="{FF2B5EF4-FFF2-40B4-BE49-F238E27FC236}">
                <a16:creationId xmlns:a16="http://schemas.microsoft.com/office/drawing/2014/main" id="{7EE49AED-813B-F664-191E-E5E4B2C4163E}"/>
              </a:ext>
            </a:extLst>
          </p:cNvPr>
          <p:cNvSpPr txBox="1"/>
          <p:nvPr/>
        </p:nvSpPr>
        <p:spPr>
          <a:xfrm>
            <a:off x="7318028" y="5660651"/>
            <a:ext cx="761030" cy="160425"/>
          </a:xfrm>
          <a:prstGeom prst="rect">
            <a:avLst/>
          </a:prstGeom>
          <a:noFill/>
        </p:spPr>
        <p:txBody>
          <a:bodyPr wrap="none" lIns="0" tIns="0" rIns="0" bIns="0" rtlCol="0">
            <a:spAutoFit/>
          </a:bodyPr>
          <a:lstStyle/>
          <a:p>
            <a:r>
              <a:rPr lang="en-US" sz="1049">
                <a:gradFill>
                  <a:gsLst>
                    <a:gs pos="0">
                      <a:srgbClr val="00144A"/>
                    </a:gs>
                    <a:gs pos="100000">
                      <a:srgbClr val="00144A"/>
                    </a:gs>
                  </a:gsLst>
                  <a:lin ang="5400000" scaled="1"/>
                </a:gradFill>
                <a:latin typeface="72 Brand" panose="020B0504030603020204" pitchFamily="34" charset="0"/>
                <a:cs typeface="72" panose="020B0503030000000003" pitchFamily="34" charset="0"/>
              </a:rPr>
              <a:t>On-premises</a:t>
            </a:r>
          </a:p>
        </p:txBody>
      </p:sp>
      <p:sp>
        <p:nvSpPr>
          <p:cNvPr id="38" name="TextBox 37">
            <a:extLst>
              <a:ext uri="{FF2B5EF4-FFF2-40B4-BE49-F238E27FC236}">
                <a16:creationId xmlns:a16="http://schemas.microsoft.com/office/drawing/2014/main" id="{8F32D73A-95E0-7ED4-8F69-8E0B9D451F03}"/>
              </a:ext>
            </a:extLst>
          </p:cNvPr>
          <p:cNvSpPr txBox="1"/>
          <p:nvPr/>
        </p:nvSpPr>
        <p:spPr>
          <a:xfrm>
            <a:off x="6332897" y="5660651"/>
            <a:ext cx="767439" cy="161499"/>
          </a:xfrm>
          <a:prstGeom prst="rect">
            <a:avLst/>
          </a:prstGeom>
          <a:noFill/>
        </p:spPr>
        <p:txBody>
          <a:bodyPr wrap="none" lIns="0" tIns="0" rIns="0" bIns="0" rtlCol="0">
            <a:spAutoFit/>
          </a:bodyPr>
          <a:lstStyle/>
          <a:p>
            <a:r>
              <a:rPr lang="en-US" sz="1049">
                <a:gradFill>
                  <a:gsLst>
                    <a:gs pos="0">
                      <a:srgbClr val="00144A"/>
                    </a:gs>
                    <a:gs pos="100000">
                      <a:srgbClr val="00144A"/>
                    </a:gs>
                  </a:gsLst>
                  <a:lin ang="5400000" scaled="1"/>
                </a:gradFill>
                <a:latin typeface="72 Brand" panose="020B0504030603020204" pitchFamily="34" charset="0"/>
                <a:cs typeface="72" panose="020B0503030000000003" pitchFamily="34" charset="0"/>
              </a:rPr>
              <a:t>Cloud-native</a:t>
            </a:r>
          </a:p>
        </p:txBody>
      </p:sp>
      <p:sp>
        <p:nvSpPr>
          <p:cNvPr id="39" name="TextBox 38">
            <a:extLst>
              <a:ext uri="{FF2B5EF4-FFF2-40B4-BE49-F238E27FC236}">
                <a16:creationId xmlns:a16="http://schemas.microsoft.com/office/drawing/2014/main" id="{D9C1EFE3-7F1A-565E-8B29-BAC8EEAFB704}"/>
              </a:ext>
            </a:extLst>
          </p:cNvPr>
          <p:cNvSpPr txBox="1"/>
          <p:nvPr/>
        </p:nvSpPr>
        <p:spPr>
          <a:xfrm>
            <a:off x="8304679" y="5660651"/>
            <a:ext cx="304412" cy="161499"/>
          </a:xfrm>
          <a:prstGeom prst="rect">
            <a:avLst/>
          </a:prstGeom>
          <a:noFill/>
        </p:spPr>
        <p:txBody>
          <a:bodyPr wrap="none" lIns="0" tIns="0" rIns="0" bIns="0" rtlCol="0">
            <a:spAutoFit/>
          </a:bodyPr>
          <a:lstStyle/>
          <a:p>
            <a:r>
              <a:rPr lang="en-US" sz="1049">
                <a:gradFill>
                  <a:gsLst>
                    <a:gs pos="0">
                      <a:srgbClr val="00144A"/>
                    </a:gs>
                    <a:gs pos="100000">
                      <a:srgbClr val="00144A"/>
                    </a:gs>
                  </a:gsLst>
                  <a:lin ang="5400000" scaled="1"/>
                </a:gradFill>
                <a:latin typeface="72 Brand" panose="020B0504030603020204" pitchFamily="34" charset="0"/>
                <a:cs typeface="72" panose="020B0503030000000003" pitchFamily="34" charset="0"/>
              </a:rPr>
              <a:t>Edge</a:t>
            </a:r>
          </a:p>
        </p:txBody>
      </p:sp>
      <p:sp>
        <p:nvSpPr>
          <p:cNvPr id="40" name="Oval 39">
            <a:extLst>
              <a:ext uri="{FF2B5EF4-FFF2-40B4-BE49-F238E27FC236}">
                <a16:creationId xmlns:a16="http://schemas.microsoft.com/office/drawing/2014/main" id="{2C1AD455-0386-FA7B-CF79-F00F57310E16}"/>
              </a:ext>
            </a:extLst>
          </p:cNvPr>
          <p:cNvSpPr/>
          <p:nvPr/>
        </p:nvSpPr>
        <p:spPr bwMode="gray">
          <a:xfrm>
            <a:off x="5677476" y="5718116"/>
            <a:ext cx="43411" cy="43411"/>
          </a:xfrm>
          <a:prstGeom prst="ellipse">
            <a:avLst/>
          </a:prstGeom>
          <a:solidFill>
            <a:srgbClr val="89D1FF"/>
          </a:solidFill>
          <a:ln w="25400" algn="ctr">
            <a:noFill/>
            <a:miter lim="800000"/>
            <a:headEnd/>
            <a:tailEnd/>
          </a:ln>
        </p:spPr>
        <p:txBody>
          <a:bodyPr lIns="182785" tIns="146228" rIns="182785" bIns="146228" rtlCol="0" anchor="t"/>
          <a:lstStyle/>
          <a:p>
            <a:pPr defTabSz="913943" fontAlgn="base">
              <a:spcBef>
                <a:spcPct val="50000"/>
              </a:spcBef>
              <a:spcAft>
                <a:spcPct val="0"/>
              </a:spcAft>
              <a:buClr>
                <a:srgbClr val="F0AB00"/>
              </a:buClr>
              <a:buSzPct val="80000"/>
            </a:pPr>
            <a:endParaRPr lang="en-US" sz="1099" kern="0">
              <a:latin typeface="+mn-lt"/>
              <a:ea typeface="72 Brand" pitchFamily="34" charset="-128"/>
              <a:cs typeface="72 Brand" pitchFamily="34" charset="-128"/>
            </a:endParaRPr>
          </a:p>
        </p:txBody>
      </p:sp>
      <p:sp>
        <p:nvSpPr>
          <p:cNvPr id="41" name="Oval 40">
            <a:extLst>
              <a:ext uri="{FF2B5EF4-FFF2-40B4-BE49-F238E27FC236}">
                <a16:creationId xmlns:a16="http://schemas.microsoft.com/office/drawing/2014/main" id="{9BEA5EFD-620B-C6D9-3CD1-47D38AE4EDC0}"/>
              </a:ext>
            </a:extLst>
          </p:cNvPr>
          <p:cNvSpPr/>
          <p:nvPr/>
        </p:nvSpPr>
        <p:spPr bwMode="gray">
          <a:xfrm>
            <a:off x="6198380" y="5718116"/>
            <a:ext cx="43411" cy="43411"/>
          </a:xfrm>
          <a:prstGeom prst="ellipse">
            <a:avLst/>
          </a:prstGeom>
          <a:solidFill>
            <a:srgbClr val="89D1FF"/>
          </a:solidFill>
          <a:ln w="25400" algn="ctr">
            <a:noFill/>
            <a:miter lim="800000"/>
            <a:headEnd/>
            <a:tailEnd/>
          </a:ln>
        </p:spPr>
        <p:txBody>
          <a:bodyPr lIns="182785" tIns="146228" rIns="182785" bIns="146228" rtlCol="0" anchor="t"/>
          <a:lstStyle/>
          <a:p>
            <a:pPr defTabSz="913943" fontAlgn="base">
              <a:spcBef>
                <a:spcPct val="50000"/>
              </a:spcBef>
              <a:spcAft>
                <a:spcPct val="0"/>
              </a:spcAft>
              <a:buClr>
                <a:srgbClr val="F0AB00"/>
              </a:buClr>
              <a:buSzPct val="80000"/>
            </a:pPr>
            <a:endParaRPr lang="en-US" sz="1099" kern="0">
              <a:latin typeface="+mn-lt"/>
              <a:ea typeface="72 Brand" pitchFamily="34" charset="-128"/>
              <a:cs typeface="72 Brand" pitchFamily="34" charset="-128"/>
            </a:endParaRPr>
          </a:p>
        </p:txBody>
      </p:sp>
      <p:sp>
        <p:nvSpPr>
          <p:cNvPr id="42" name="Oval 41">
            <a:extLst>
              <a:ext uri="{FF2B5EF4-FFF2-40B4-BE49-F238E27FC236}">
                <a16:creationId xmlns:a16="http://schemas.microsoft.com/office/drawing/2014/main" id="{876CDB81-9156-D733-D46D-5AEFAB3455CC}"/>
              </a:ext>
            </a:extLst>
          </p:cNvPr>
          <p:cNvSpPr/>
          <p:nvPr/>
        </p:nvSpPr>
        <p:spPr bwMode="gray">
          <a:xfrm>
            <a:off x="7183512" y="5718116"/>
            <a:ext cx="43411" cy="43411"/>
          </a:xfrm>
          <a:prstGeom prst="ellipse">
            <a:avLst/>
          </a:prstGeom>
          <a:solidFill>
            <a:srgbClr val="89D1FF"/>
          </a:solidFill>
          <a:ln w="25400" algn="ctr">
            <a:noFill/>
            <a:miter lim="800000"/>
            <a:headEnd/>
            <a:tailEnd/>
          </a:ln>
        </p:spPr>
        <p:txBody>
          <a:bodyPr lIns="182785" tIns="146228" rIns="182785" bIns="146228" rtlCol="0" anchor="t"/>
          <a:lstStyle/>
          <a:p>
            <a:pPr defTabSz="913943" fontAlgn="base">
              <a:spcBef>
                <a:spcPct val="50000"/>
              </a:spcBef>
              <a:spcAft>
                <a:spcPct val="0"/>
              </a:spcAft>
              <a:buClr>
                <a:srgbClr val="F0AB00"/>
              </a:buClr>
              <a:buSzPct val="80000"/>
            </a:pPr>
            <a:endParaRPr lang="en-US" sz="1099" kern="0">
              <a:latin typeface="+mn-lt"/>
              <a:ea typeface="72 Brand" pitchFamily="34" charset="-128"/>
              <a:cs typeface="72 Brand" pitchFamily="34" charset="-128"/>
            </a:endParaRPr>
          </a:p>
        </p:txBody>
      </p:sp>
      <p:sp>
        <p:nvSpPr>
          <p:cNvPr id="43" name="Oval 42">
            <a:extLst>
              <a:ext uri="{FF2B5EF4-FFF2-40B4-BE49-F238E27FC236}">
                <a16:creationId xmlns:a16="http://schemas.microsoft.com/office/drawing/2014/main" id="{F2071C1B-2DFC-E00B-DC37-D63738A2EEFD}"/>
              </a:ext>
            </a:extLst>
          </p:cNvPr>
          <p:cNvSpPr/>
          <p:nvPr/>
        </p:nvSpPr>
        <p:spPr bwMode="gray">
          <a:xfrm>
            <a:off x="8170165" y="5718116"/>
            <a:ext cx="43411" cy="43411"/>
          </a:xfrm>
          <a:prstGeom prst="ellipse">
            <a:avLst/>
          </a:prstGeom>
          <a:solidFill>
            <a:srgbClr val="89D1FF"/>
          </a:solidFill>
          <a:ln w="25400" algn="ctr">
            <a:noFill/>
            <a:miter lim="800000"/>
            <a:headEnd/>
            <a:tailEnd/>
          </a:ln>
        </p:spPr>
        <p:txBody>
          <a:bodyPr lIns="182785" tIns="146228" rIns="182785" bIns="146228" rtlCol="0" anchor="t"/>
          <a:lstStyle/>
          <a:p>
            <a:pPr defTabSz="913943" fontAlgn="base">
              <a:spcBef>
                <a:spcPct val="50000"/>
              </a:spcBef>
              <a:spcAft>
                <a:spcPct val="0"/>
              </a:spcAft>
              <a:buClr>
                <a:srgbClr val="F0AB00"/>
              </a:buClr>
              <a:buSzPct val="80000"/>
            </a:pPr>
            <a:endParaRPr lang="en-US" sz="1099" kern="0">
              <a:latin typeface="+mn-lt"/>
              <a:ea typeface="72 Brand" pitchFamily="34" charset="-128"/>
              <a:cs typeface="72 Brand" pitchFamily="34" charset="-128"/>
            </a:endParaRPr>
          </a:p>
        </p:txBody>
      </p:sp>
      <p:sp>
        <p:nvSpPr>
          <p:cNvPr id="44" name="Rectangle: Top Corners Rounded 235">
            <a:extLst>
              <a:ext uri="{FF2B5EF4-FFF2-40B4-BE49-F238E27FC236}">
                <a16:creationId xmlns:a16="http://schemas.microsoft.com/office/drawing/2014/main" id="{A5BACBDE-A58A-1FDB-3B72-8D8FFD25F62C}"/>
              </a:ext>
            </a:extLst>
          </p:cNvPr>
          <p:cNvSpPr/>
          <p:nvPr/>
        </p:nvSpPr>
        <p:spPr bwMode="auto">
          <a:xfrm>
            <a:off x="590192" y="2205163"/>
            <a:ext cx="6913664" cy="1059600"/>
          </a:xfrm>
          <a:prstGeom prst="round2SameRect">
            <a:avLst>
              <a:gd name="adj1" fmla="val 11552"/>
              <a:gd name="adj2" fmla="val 0"/>
            </a:avLst>
          </a:prstGeom>
          <a:gradFill flip="none" rotWithShape="1">
            <a:gsLst>
              <a:gs pos="100000">
                <a:srgbClr val="0057D2"/>
              </a:gs>
              <a:gs pos="0">
                <a:srgbClr val="0070F2"/>
              </a:gs>
            </a:gsLst>
            <a:lin ang="2700000" scaled="1"/>
            <a:tileRect/>
          </a:gradFill>
          <a:ln w="12700" cap="flat" cmpd="sng" algn="ctr">
            <a:noFill/>
            <a:prstDash val="solid"/>
            <a:headEnd type="none" w="med" len="med"/>
            <a:tailEnd type="none" w="med" len="med"/>
          </a:ln>
          <a:effectLst/>
        </p:spPr>
        <p:txBody>
          <a:bodyPr rot="0" spcFirstLastPara="0" vertOverflow="overflow" horzOverflow="overflow" vert="horz" wrap="square" lIns="182499" tIns="146000" rIns="182499" bIns="146000" numCol="1" spcCol="0" rtlCol="0" fromWordArt="0" anchor="ctr" anchorCtr="0" forceAA="0" compatLnSpc="1">
            <a:prstTxWarp prst="textNoShape">
              <a:avLst/>
            </a:prstTxWarp>
            <a:noAutofit/>
          </a:bodyPr>
          <a:lstStyle/>
          <a:p>
            <a:pPr algn="ctr" defTabSz="1087297" fontAlgn="base">
              <a:spcBef>
                <a:spcPct val="0"/>
              </a:spcBef>
              <a:spcAft>
                <a:spcPct val="0"/>
              </a:spcAft>
              <a:defRPr/>
            </a:pPr>
            <a:endParaRPr lang="en-US" sz="1097" kern="0">
              <a:gradFill>
                <a:gsLst>
                  <a:gs pos="0">
                    <a:srgbClr val="00144A"/>
                  </a:gs>
                  <a:gs pos="100000">
                    <a:srgbClr val="00144A"/>
                  </a:gs>
                </a:gsLst>
                <a:lin ang="5400000" scaled="1"/>
              </a:gradFill>
              <a:latin typeface="72 Brand"/>
              <a:cs typeface="72" panose="020B0503030000000003" pitchFamily="34" charset="0"/>
            </a:endParaRPr>
          </a:p>
        </p:txBody>
      </p:sp>
      <p:sp>
        <p:nvSpPr>
          <p:cNvPr id="45" name="Rectangle: Rounded Corners 239">
            <a:extLst>
              <a:ext uri="{FF2B5EF4-FFF2-40B4-BE49-F238E27FC236}">
                <a16:creationId xmlns:a16="http://schemas.microsoft.com/office/drawing/2014/main" id="{7AA5DDA5-399F-4191-7818-9DF9BB6224AC}"/>
              </a:ext>
            </a:extLst>
          </p:cNvPr>
          <p:cNvSpPr/>
          <p:nvPr/>
        </p:nvSpPr>
        <p:spPr bwMode="gray">
          <a:xfrm>
            <a:off x="499802" y="2095892"/>
            <a:ext cx="7094446" cy="3277321"/>
          </a:xfrm>
          <a:prstGeom prst="roundRect">
            <a:avLst>
              <a:gd name="adj" fmla="val 3648"/>
            </a:avLst>
          </a:prstGeom>
          <a:noFill/>
          <a:ln w="12700" algn="ctr">
            <a:solidFill>
              <a:srgbClr val="7858FF"/>
            </a:solidFill>
            <a:miter lim="800000"/>
            <a:headEnd/>
            <a:tailEnd/>
          </a:ln>
        </p:spPr>
        <p:txBody>
          <a:bodyPr lIns="182689" tIns="146152" rIns="182689" bIns="146152" rtlCol="0" anchor="t"/>
          <a:lstStyle/>
          <a:p>
            <a:pPr defTabSz="913395" fontAlgn="base">
              <a:spcBef>
                <a:spcPct val="50000"/>
              </a:spcBef>
              <a:spcAft>
                <a:spcPct val="0"/>
              </a:spcAft>
              <a:buClr>
                <a:srgbClr val="F0AB00"/>
              </a:buClr>
              <a:buSzPct val="80000"/>
            </a:pPr>
            <a:endParaRPr lang="en-US" sz="1199" kern="0">
              <a:solidFill>
                <a:srgbClr val="FFFFFF"/>
              </a:solidFill>
              <a:latin typeface="72 Brand"/>
              <a:ea typeface="72 Brand" pitchFamily="34" charset="-128"/>
              <a:cs typeface="72 Brand" pitchFamily="34" charset="-128"/>
            </a:endParaRPr>
          </a:p>
        </p:txBody>
      </p:sp>
      <p:sp>
        <p:nvSpPr>
          <p:cNvPr id="46" name="Rectangle 45">
            <a:extLst>
              <a:ext uri="{FF2B5EF4-FFF2-40B4-BE49-F238E27FC236}">
                <a16:creationId xmlns:a16="http://schemas.microsoft.com/office/drawing/2014/main" id="{FA08D29C-40AF-1C1C-7F78-439E70C603B9}"/>
              </a:ext>
            </a:extLst>
          </p:cNvPr>
          <p:cNvSpPr/>
          <p:nvPr/>
        </p:nvSpPr>
        <p:spPr bwMode="gray">
          <a:xfrm>
            <a:off x="590195" y="3258773"/>
            <a:ext cx="6913663" cy="1229338"/>
          </a:xfrm>
          <a:prstGeom prst="rect">
            <a:avLst/>
          </a:prstGeom>
          <a:gradFill flip="none" rotWithShape="1">
            <a:gsLst>
              <a:gs pos="100000">
                <a:srgbClr val="4DB1FF"/>
              </a:gs>
              <a:gs pos="0">
                <a:srgbClr val="89D1FF"/>
              </a:gs>
            </a:gsLst>
            <a:lin ang="2700000" scaled="1"/>
            <a:tileRect/>
          </a:gradFill>
          <a:ln w="12700" cap="flat" cmpd="sng" algn="ctr">
            <a:noFill/>
            <a:prstDash val="solid"/>
            <a:headEnd type="none" w="med" len="med"/>
            <a:tailEnd type="none" w="med" len="med"/>
          </a:ln>
          <a:effectLst/>
        </p:spPr>
        <p:txBody>
          <a:bodyPr rot="0" spcFirstLastPara="0" vertOverflow="overflow" horzOverflow="overflow" vert="horz" wrap="square" lIns="182499" tIns="146000" rIns="182499" bIns="146000" numCol="1" spcCol="0" rtlCol="0" fromWordArt="0" anchor="ctr" anchorCtr="0" forceAA="0" compatLnSpc="1">
            <a:prstTxWarp prst="textNoShape">
              <a:avLst/>
            </a:prstTxWarp>
            <a:noAutofit/>
          </a:bodyPr>
          <a:lstStyle/>
          <a:p>
            <a:pPr algn="ctr" defTabSz="1087297" fontAlgn="base">
              <a:spcBef>
                <a:spcPct val="0"/>
              </a:spcBef>
              <a:spcAft>
                <a:spcPct val="0"/>
              </a:spcAft>
              <a:defRPr/>
            </a:pPr>
            <a:endParaRPr lang="en-US" sz="1097" kern="0">
              <a:gradFill>
                <a:gsLst>
                  <a:gs pos="0">
                    <a:srgbClr val="00144A"/>
                  </a:gs>
                  <a:gs pos="100000">
                    <a:srgbClr val="00144A"/>
                  </a:gs>
                </a:gsLst>
                <a:lin ang="5400000" scaled="1"/>
              </a:gradFill>
              <a:latin typeface="72 Brand"/>
              <a:cs typeface="72" panose="020B0503030000000003" pitchFamily="34" charset="0"/>
            </a:endParaRPr>
          </a:p>
        </p:txBody>
      </p:sp>
      <p:sp>
        <p:nvSpPr>
          <p:cNvPr id="47" name="Rectangle: Top Corners Rounded 241">
            <a:extLst>
              <a:ext uri="{FF2B5EF4-FFF2-40B4-BE49-F238E27FC236}">
                <a16:creationId xmlns:a16="http://schemas.microsoft.com/office/drawing/2014/main" id="{74B37857-69EB-DF3F-3E42-2AC0140912EA}"/>
              </a:ext>
            </a:extLst>
          </p:cNvPr>
          <p:cNvSpPr/>
          <p:nvPr/>
        </p:nvSpPr>
        <p:spPr bwMode="gray">
          <a:xfrm flipV="1">
            <a:off x="590194" y="4484290"/>
            <a:ext cx="6913663" cy="770884"/>
          </a:xfrm>
          <a:prstGeom prst="round2SameRect">
            <a:avLst>
              <a:gd name="adj1" fmla="val 16001"/>
              <a:gd name="adj2" fmla="val 0"/>
            </a:avLst>
          </a:prstGeom>
          <a:gradFill flip="none" rotWithShape="1">
            <a:gsLst>
              <a:gs pos="100000">
                <a:srgbClr val="89D1FF"/>
              </a:gs>
              <a:gs pos="0">
                <a:srgbClr val="A6E0FF"/>
              </a:gs>
            </a:gsLst>
            <a:lin ang="18900000" scaled="1"/>
            <a:tileRect/>
          </a:gradFill>
          <a:ln w="12700" cap="flat" cmpd="sng" algn="ctr">
            <a:noFill/>
            <a:prstDash val="solid"/>
            <a:headEnd type="none" w="med" len="med"/>
            <a:tailEnd type="none" w="med" len="med"/>
          </a:ln>
          <a:effectLst/>
        </p:spPr>
        <p:txBody>
          <a:bodyPr rot="0" spcFirstLastPara="0" vertOverflow="overflow" horzOverflow="overflow" vert="horz" wrap="square" lIns="182499" tIns="146000" rIns="182499" bIns="146000" numCol="1" spcCol="0" rtlCol="0" fromWordArt="0" anchor="ctr" anchorCtr="0" forceAA="0" compatLnSpc="1">
            <a:prstTxWarp prst="textNoShape">
              <a:avLst/>
            </a:prstTxWarp>
            <a:noAutofit/>
          </a:bodyPr>
          <a:lstStyle/>
          <a:p>
            <a:pPr algn="ctr" defTabSz="1087297" fontAlgn="base">
              <a:spcBef>
                <a:spcPct val="0"/>
              </a:spcBef>
              <a:spcAft>
                <a:spcPct val="0"/>
              </a:spcAft>
              <a:defRPr/>
            </a:pPr>
            <a:endParaRPr lang="en-US" sz="1097" kern="0">
              <a:gradFill>
                <a:gsLst>
                  <a:gs pos="0">
                    <a:srgbClr val="00144A"/>
                  </a:gs>
                  <a:gs pos="100000">
                    <a:srgbClr val="00144A"/>
                  </a:gs>
                </a:gsLst>
                <a:lin ang="5400000" scaled="1"/>
              </a:gradFill>
              <a:latin typeface="72 Brand"/>
              <a:cs typeface="72" panose="020B0503030000000003" pitchFamily="34" charset="0"/>
            </a:endParaRPr>
          </a:p>
        </p:txBody>
      </p:sp>
      <p:sp>
        <p:nvSpPr>
          <p:cNvPr id="48" name="TextBox 47">
            <a:extLst>
              <a:ext uri="{FF2B5EF4-FFF2-40B4-BE49-F238E27FC236}">
                <a16:creationId xmlns:a16="http://schemas.microsoft.com/office/drawing/2014/main" id="{50C2E40E-0ADF-C10F-A62A-171C82BAE8D6}"/>
              </a:ext>
            </a:extLst>
          </p:cNvPr>
          <p:cNvSpPr txBox="1"/>
          <p:nvPr/>
        </p:nvSpPr>
        <p:spPr>
          <a:xfrm>
            <a:off x="3536263" y="2410639"/>
            <a:ext cx="1021524" cy="214899"/>
          </a:xfrm>
          <a:prstGeom prst="rect">
            <a:avLst/>
          </a:prstGeom>
          <a:noFill/>
        </p:spPr>
        <p:txBody>
          <a:bodyPr wrap="none" lIns="0" tIns="0" rIns="0" bIns="0" rtlCol="0">
            <a:spAutoFit/>
          </a:bodyPr>
          <a:lstStyle>
            <a:defPPr>
              <a:defRPr lang="de-DE"/>
            </a:defPPr>
            <a:lvl1pPr algn="ctr">
              <a:defRPr sz="1400">
                <a:gradFill>
                  <a:gsLst>
                    <a:gs pos="0">
                      <a:srgbClr val="00144A"/>
                    </a:gs>
                    <a:gs pos="100000">
                      <a:srgbClr val="00144A"/>
                    </a:gs>
                  </a:gsLst>
                  <a:lin ang="5400000" scaled="1"/>
                </a:gradFill>
                <a:latin typeface="72 Brand Medium" panose="020B0604030603020204" pitchFamily="34" charset="0"/>
                <a:cs typeface="72" panose="020B0503030000000003" pitchFamily="34" charset="0"/>
              </a:defRPr>
            </a:lvl1pPr>
          </a:lstStyle>
          <a:p>
            <a:pPr defTabSz="1087297">
              <a:defRPr/>
            </a:pPr>
            <a:r>
              <a:rPr lang="en-US" sz="1397" kern="0">
                <a:gradFill>
                  <a:gsLst>
                    <a:gs pos="0">
                      <a:srgbClr val="FFFFFF"/>
                    </a:gs>
                    <a:gs pos="100000">
                      <a:srgbClr val="FFFFFF"/>
                    </a:gs>
                  </a:gsLst>
                  <a:lin ang="5400000" scaled="1"/>
                </a:gradFill>
              </a:rPr>
              <a:t>Insight Apps</a:t>
            </a:r>
          </a:p>
        </p:txBody>
      </p:sp>
      <p:sp>
        <p:nvSpPr>
          <p:cNvPr id="49" name="TextBox 48">
            <a:extLst>
              <a:ext uri="{FF2B5EF4-FFF2-40B4-BE49-F238E27FC236}">
                <a16:creationId xmlns:a16="http://schemas.microsoft.com/office/drawing/2014/main" id="{450E89AF-D94A-5A88-28DF-3D9C7D5D0676}"/>
              </a:ext>
            </a:extLst>
          </p:cNvPr>
          <p:cNvSpPr txBox="1"/>
          <p:nvPr/>
        </p:nvSpPr>
        <p:spPr>
          <a:xfrm>
            <a:off x="3191367" y="3383332"/>
            <a:ext cx="1711314" cy="214899"/>
          </a:xfrm>
          <a:prstGeom prst="rect">
            <a:avLst/>
          </a:prstGeom>
          <a:noFill/>
        </p:spPr>
        <p:txBody>
          <a:bodyPr wrap="none" lIns="0" tIns="0" rIns="0" bIns="0" rtlCol="0">
            <a:spAutoFit/>
          </a:bodyPr>
          <a:lstStyle>
            <a:defPPr>
              <a:defRPr lang="de-DE"/>
            </a:defPPr>
            <a:lvl1pPr algn="ctr">
              <a:defRPr sz="1400">
                <a:gradFill>
                  <a:gsLst>
                    <a:gs pos="0">
                      <a:srgbClr val="00144A"/>
                    </a:gs>
                    <a:gs pos="100000">
                      <a:srgbClr val="00144A"/>
                    </a:gs>
                  </a:gsLst>
                  <a:lin ang="5400000" scaled="1"/>
                </a:gradFill>
                <a:latin typeface="72 Brand Medium" panose="020B0604030603020204" pitchFamily="34" charset="0"/>
                <a:cs typeface="72" panose="020B0503030000000003" pitchFamily="34" charset="0"/>
              </a:defRPr>
            </a:lvl1pPr>
          </a:lstStyle>
          <a:p>
            <a:pPr defTabSz="1087297">
              <a:defRPr/>
            </a:pPr>
            <a:r>
              <a:rPr lang="en-US" sz="1397" kern="0"/>
              <a:t>Business Data Fabric</a:t>
            </a:r>
          </a:p>
        </p:txBody>
      </p:sp>
      <p:grpSp>
        <p:nvGrpSpPr>
          <p:cNvPr id="168" name="Group 167">
            <a:extLst>
              <a:ext uri="{FF2B5EF4-FFF2-40B4-BE49-F238E27FC236}">
                <a16:creationId xmlns:a16="http://schemas.microsoft.com/office/drawing/2014/main" id="{DCC73062-3EB0-CFB3-AA14-C89AFE789928}"/>
              </a:ext>
            </a:extLst>
          </p:cNvPr>
          <p:cNvGrpSpPr/>
          <p:nvPr/>
        </p:nvGrpSpPr>
        <p:grpSpPr>
          <a:xfrm>
            <a:off x="950890" y="2789471"/>
            <a:ext cx="6191872" cy="309590"/>
            <a:chOff x="3984667" y="1813839"/>
            <a:chExt cx="6148718" cy="309913"/>
          </a:xfrm>
        </p:grpSpPr>
        <p:sp>
          <p:nvSpPr>
            <p:cNvPr id="223" name="Rectangle: Rounded Corners 29">
              <a:extLst>
                <a:ext uri="{FF2B5EF4-FFF2-40B4-BE49-F238E27FC236}">
                  <a16:creationId xmlns:a16="http://schemas.microsoft.com/office/drawing/2014/main" id="{A4F4B2D9-95F1-6EC9-6D8F-0BDE11E7449D}"/>
                </a:ext>
              </a:extLst>
            </p:cNvPr>
            <p:cNvSpPr/>
            <p:nvPr/>
          </p:nvSpPr>
          <p:spPr bwMode="auto">
            <a:xfrm>
              <a:off x="3984667" y="1813839"/>
              <a:ext cx="1997330" cy="309913"/>
            </a:xfrm>
            <a:prstGeom prst="roundRect">
              <a:avLst>
                <a:gd name="adj" fmla="val 50000"/>
              </a:avLst>
            </a:prstGeom>
            <a:gradFill flip="none" rotWithShape="1">
              <a:gsLst>
                <a:gs pos="0">
                  <a:srgbClr val="0057D2"/>
                </a:gs>
                <a:gs pos="100000">
                  <a:srgbClr val="0040B0"/>
                </a:gs>
              </a:gsLst>
              <a:lin ang="2700000" scaled="1"/>
              <a:tileRect/>
            </a:gradFill>
            <a:ln w="12700" cap="flat" cmpd="sng" algn="ctr">
              <a:noFill/>
              <a:prstDash val="solid"/>
              <a:headEnd type="none" w="med" len="med"/>
              <a:tailEnd type="none" w="med" len="med"/>
            </a:ln>
            <a:effectLst/>
          </p:spPr>
          <p:txBody>
            <a:bodyPr rot="0" spcFirstLastPara="0" vertOverflow="overflow" horzOverflow="overflow" vert="horz" wrap="none" lIns="182689" tIns="145962" rIns="182451" bIns="145962" numCol="1" spcCol="0" rtlCol="0" fromWordArt="0" anchor="ctr" anchorCtr="0" forceAA="0" compatLnSpc="1">
              <a:prstTxWarp prst="textNoShape">
                <a:avLst/>
              </a:prstTxWarp>
              <a:noAutofit/>
            </a:bodyPr>
            <a:lstStyle/>
            <a:p>
              <a:pPr algn="ctr" defTabSz="930237" fontAlgn="base">
                <a:spcBef>
                  <a:spcPct val="0"/>
                </a:spcBef>
                <a:spcAft>
                  <a:spcPct val="0"/>
                </a:spcAft>
                <a:defRPr/>
              </a:pPr>
              <a:r>
                <a:rPr lang="en-US" sz="1099" kern="0">
                  <a:gradFill>
                    <a:gsLst>
                      <a:gs pos="0">
                        <a:srgbClr val="FFFFFF"/>
                      </a:gs>
                      <a:gs pos="100000">
                        <a:srgbClr val="FFFFFF"/>
                      </a:gs>
                    </a:gsLst>
                    <a:lin ang="5400000" scaled="1"/>
                  </a:gradFill>
                  <a:latin typeface="72 Brand Medium" panose="020B0604030603020204" pitchFamily="34" charset="0"/>
                  <a:cs typeface="72" panose="020B0503030000000003" pitchFamily="34" charset="0"/>
                </a:rPr>
                <a:t>Partner Ecosystem Apps</a:t>
              </a:r>
            </a:p>
          </p:txBody>
        </p:sp>
        <p:sp>
          <p:nvSpPr>
            <p:cNvPr id="224" name="Rectangle: Rounded Corners 29">
              <a:extLst>
                <a:ext uri="{FF2B5EF4-FFF2-40B4-BE49-F238E27FC236}">
                  <a16:creationId xmlns:a16="http://schemas.microsoft.com/office/drawing/2014/main" id="{12A7EF2C-F09C-73EC-C7B5-7F89105DB9F1}"/>
                </a:ext>
              </a:extLst>
            </p:cNvPr>
            <p:cNvSpPr/>
            <p:nvPr/>
          </p:nvSpPr>
          <p:spPr bwMode="auto">
            <a:xfrm>
              <a:off x="6060615" y="1813839"/>
              <a:ext cx="1997076" cy="309913"/>
            </a:xfrm>
            <a:prstGeom prst="roundRect">
              <a:avLst>
                <a:gd name="adj" fmla="val 50000"/>
              </a:avLst>
            </a:prstGeom>
            <a:gradFill flip="none" rotWithShape="1">
              <a:gsLst>
                <a:gs pos="0">
                  <a:srgbClr val="0057D2"/>
                </a:gs>
                <a:gs pos="100000">
                  <a:srgbClr val="0040B0"/>
                </a:gs>
              </a:gsLst>
              <a:lin ang="2700000" scaled="1"/>
              <a:tileRect/>
            </a:gradFill>
            <a:ln w="12700" cap="flat" cmpd="sng" algn="ctr">
              <a:noFill/>
              <a:prstDash val="solid"/>
              <a:headEnd type="none" w="med" len="med"/>
              <a:tailEnd type="none" w="med" len="med"/>
            </a:ln>
            <a:effectLst/>
          </p:spPr>
          <p:txBody>
            <a:bodyPr rot="0" spcFirstLastPara="0" vertOverflow="overflow" horzOverflow="overflow" vert="horz" wrap="none" lIns="182689" tIns="145962" rIns="182451" bIns="145962" numCol="1" spcCol="0" rtlCol="0" fromWordArt="0" anchor="ctr" anchorCtr="0" forceAA="0" compatLnSpc="1">
              <a:prstTxWarp prst="textNoShape">
                <a:avLst/>
              </a:prstTxWarp>
              <a:noAutofit/>
            </a:bodyPr>
            <a:lstStyle/>
            <a:p>
              <a:pPr algn="ctr" defTabSz="930237" fontAlgn="base">
                <a:spcBef>
                  <a:spcPct val="0"/>
                </a:spcBef>
                <a:spcAft>
                  <a:spcPct val="0"/>
                </a:spcAft>
                <a:defRPr/>
              </a:pPr>
              <a:r>
                <a:rPr lang="en-US" sz="1099" kern="0">
                  <a:gradFill>
                    <a:gsLst>
                      <a:gs pos="0">
                        <a:srgbClr val="FFFFFF"/>
                      </a:gs>
                      <a:gs pos="100000">
                        <a:srgbClr val="FFFFFF"/>
                      </a:gs>
                    </a:gsLst>
                    <a:lin ang="5400000" scaled="1"/>
                  </a:gradFill>
                  <a:latin typeface="72 Brand Medium" panose="020B0604030603020204" pitchFamily="34" charset="0"/>
                  <a:cs typeface="72" panose="020B0503030000000003" pitchFamily="34" charset="0"/>
                </a:rPr>
                <a:t>360° analytics</a:t>
              </a:r>
            </a:p>
          </p:txBody>
        </p:sp>
        <p:sp>
          <p:nvSpPr>
            <p:cNvPr id="225" name="Rectangle: Rounded Corners 29">
              <a:extLst>
                <a:ext uri="{FF2B5EF4-FFF2-40B4-BE49-F238E27FC236}">
                  <a16:creationId xmlns:a16="http://schemas.microsoft.com/office/drawing/2014/main" id="{C19606C8-35A5-57F3-75D0-78B282962EF7}"/>
                </a:ext>
              </a:extLst>
            </p:cNvPr>
            <p:cNvSpPr/>
            <p:nvPr/>
          </p:nvSpPr>
          <p:spPr bwMode="auto">
            <a:xfrm>
              <a:off x="8136309" y="1813839"/>
              <a:ext cx="1997076" cy="309913"/>
            </a:xfrm>
            <a:prstGeom prst="roundRect">
              <a:avLst>
                <a:gd name="adj" fmla="val 50000"/>
              </a:avLst>
            </a:prstGeom>
            <a:gradFill flip="none" rotWithShape="1">
              <a:gsLst>
                <a:gs pos="0">
                  <a:srgbClr val="0057D2"/>
                </a:gs>
                <a:gs pos="100000">
                  <a:srgbClr val="0040B0"/>
                </a:gs>
              </a:gsLst>
              <a:lin ang="2700000" scaled="1"/>
              <a:tileRect/>
            </a:gradFill>
            <a:ln w="12700" cap="flat" cmpd="sng" algn="ctr">
              <a:noFill/>
              <a:prstDash val="solid"/>
              <a:headEnd type="none" w="med" len="med"/>
              <a:tailEnd type="none" w="med" len="med"/>
            </a:ln>
            <a:effectLst/>
          </p:spPr>
          <p:txBody>
            <a:bodyPr rot="0" spcFirstLastPara="0" vertOverflow="overflow" horzOverflow="overflow" vert="horz" wrap="none" lIns="182689" tIns="145962" rIns="182451" bIns="145962" numCol="1" spcCol="0" rtlCol="0" fromWordArt="0" anchor="ctr" anchorCtr="0" forceAA="0" compatLnSpc="1">
              <a:prstTxWarp prst="textNoShape">
                <a:avLst/>
              </a:prstTxWarp>
              <a:noAutofit/>
            </a:bodyPr>
            <a:lstStyle/>
            <a:p>
              <a:pPr algn="ctr" defTabSz="930237" fontAlgn="base">
                <a:spcBef>
                  <a:spcPct val="0"/>
                </a:spcBef>
                <a:spcAft>
                  <a:spcPct val="0"/>
                </a:spcAft>
                <a:defRPr/>
              </a:pPr>
              <a:r>
                <a:rPr lang="en-US" sz="1099" kern="0">
                  <a:gradFill>
                    <a:gsLst>
                      <a:gs pos="0">
                        <a:srgbClr val="FFFFFF"/>
                      </a:gs>
                      <a:gs pos="100000">
                        <a:srgbClr val="FFFFFF"/>
                      </a:gs>
                    </a:gsLst>
                    <a:lin ang="5400000" scaled="1"/>
                  </a:gradFill>
                  <a:latin typeface="72 Brand Medium" panose="020B0604030603020204" pitchFamily="34" charset="0"/>
                  <a:cs typeface="72" panose="020B0503030000000003" pitchFamily="34" charset="0"/>
                </a:rPr>
                <a:t>Extended planning</a:t>
              </a:r>
            </a:p>
          </p:txBody>
        </p:sp>
      </p:grpSp>
      <p:grpSp>
        <p:nvGrpSpPr>
          <p:cNvPr id="201" name="Group 200">
            <a:extLst>
              <a:ext uri="{FF2B5EF4-FFF2-40B4-BE49-F238E27FC236}">
                <a16:creationId xmlns:a16="http://schemas.microsoft.com/office/drawing/2014/main" id="{3C1A0D54-275A-350F-C6C3-6CE25AED79B4}"/>
              </a:ext>
            </a:extLst>
          </p:cNvPr>
          <p:cNvGrpSpPr/>
          <p:nvPr/>
        </p:nvGrpSpPr>
        <p:grpSpPr>
          <a:xfrm>
            <a:off x="950890" y="4714938"/>
            <a:ext cx="6191872" cy="309590"/>
            <a:chOff x="836612" y="4287793"/>
            <a:chExt cx="6530976" cy="309913"/>
          </a:xfrm>
        </p:grpSpPr>
        <p:sp>
          <p:nvSpPr>
            <p:cNvPr id="220" name="Rectangle: Rounded Corners 29">
              <a:extLst>
                <a:ext uri="{FF2B5EF4-FFF2-40B4-BE49-F238E27FC236}">
                  <a16:creationId xmlns:a16="http://schemas.microsoft.com/office/drawing/2014/main" id="{B2EC4B5F-3B24-D797-7E5B-3D8CF8A97A3C}"/>
                </a:ext>
              </a:extLst>
            </p:cNvPr>
            <p:cNvSpPr/>
            <p:nvPr/>
          </p:nvSpPr>
          <p:spPr bwMode="auto">
            <a:xfrm>
              <a:off x="836612" y="4287793"/>
              <a:ext cx="3224790" cy="309913"/>
            </a:xfrm>
            <a:prstGeom prst="roundRect">
              <a:avLst>
                <a:gd name="adj" fmla="val 50000"/>
              </a:avLst>
            </a:prstGeom>
            <a:gradFill flip="none" rotWithShape="1">
              <a:gsLst>
                <a:gs pos="0">
                  <a:srgbClr val="4DB1FF"/>
                </a:gs>
                <a:gs pos="100000">
                  <a:srgbClr val="1B90FF"/>
                </a:gs>
              </a:gsLst>
              <a:lin ang="2700000" scaled="1"/>
              <a:tileRect/>
            </a:gradFill>
            <a:ln w="12700" cap="flat" cmpd="sng" algn="ctr">
              <a:noFill/>
              <a:prstDash val="solid"/>
              <a:headEnd type="none" w="med" len="med"/>
              <a:tailEnd type="none" w="med" len="med"/>
            </a:ln>
            <a:effectLst/>
          </p:spPr>
          <p:txBody>
            <a:bodyPr rot="0" spcFirstLastPara="0" vertOverflow="overflow" horzOverflow="overflow" vert="horz" wrap="none" lIns="182689" tIns="145962" rIns="182451" bIns="145962" numCol="1" spcCol="0" rtlCol="0" fromWordArt="0" anchor="ctr" anchorCtr="0" forceAA="0" compatLnSpc="1">
              <a:prstTxWarp prst="textNoShape">
                <a:avLst/>
              </a:prstTxWarp>
              <a:noAutofit/>
            </a:bodyPr>
            <a:lstStyle/>
            <a:p>
              <a:pPr algn="ctr" defTabSz="930237" fontAlgn="base">
                <a:spcBef>
                  <a:spcPct val="0"/>
                </a:spcBef>
                <a:spcAft>
                  <a:spcPct val="0"/>
                </a:spcAft>
                <a:defRPr/>
              </a:pPr>
              <a:r>
                <a:rPr lang="en-US" sz="1099" kern="0">
                  <a:gradFill>
                    <a:gsLst>
                      <a:gs pos="0">
                        <a:srgbClr val="FFFFFF"/>
                      </a:gs>
                      <a:gs pos="100000">
                        <a:srgbClr val="FFFFFF"/>
                      </a:gs>
                    </a:gsLst>
                    <a:lin ang="5400000" scaled="1"/>
                  </a:gradFill>
                  <a:latin typeface="72 Brand Medium" panose="020B0604030603020204" pitchFamily="34" charset="0"/>
                  <a:cs typeface="72" panose="020B0503030000000003" pitchFamily="34" charset="0"/>
                </a:rPr>
                <a:t>Data products</a:t>
              </a:r>
            </a:p>
          </p:txBody>
        </p:sp>
        <p:sp>
          <p:nvSpPr>
            <p:cNvPr id="221" name="Rectangle: Rounded Corners 29">
              <a:extLst>
                <a:ext uri="{FF2B5EF4-FFF2-40B4-BE49-F238E27FC236}">
                  <a16:creationId xmlns:a16="http://schemas.microsoft.com/office/drawing/2014/main" id="{671BBE70-7CF1-DBA7-1F3A-801E9AB9DB50}"/>
                </a:ext>
              </a:extLst>
            </p:cNvPr>
            <p:cNvSpPr/>
            <p:nvPr/>
          </p:nvSpPr>
          <p:spPr bwMode="auto">
            <a:xfrm>
              <a:off x="4142798" y="4287793"/>
              <a:ext cx="3224790" cy="309913"/>
            </a:xfrm>
            <a:prstGeom prst="roundRect">
              <a:avLst>
                <a:gd name="adj" fmla="val 50000"/>
              </a:avLst>
            </a:prstGeom>
            <a:gradFill flip="none" rotWithShape="1">
              <a:gsLst>
                <a:gs pos="0">
                  <a:srgbClr val="4DB1FF"/>
                </a:gs>
                <a:gs pos="100000">
                  <a:srgbClr val="1B90FF"/>
                </a:gs>
              </a:gsLst>
              <a:lin ang="2700000" scaled="1"/>
              <a:tileRect/>
            </a:gradFill>
            <a:ln w="12700" cap="flat" cmpd="sng" algn="ctr">
              <a:noFill/>
              <a:prstDash val="solid"/>
              <a:headEnd type="none" w="med" len="med"/>
              <a:tailEnd type="none" w="med" len="med"/>
            </a:ln>
            <a:effectLst/>
          </p:spPr>
          <p:txBody>
            <a:bodyPr rot="0" spcFirstLastPara="0" vertOverflow="overflow" horzOverflow="overflow" vert="horz" wrap="none" lIns="182689" tIns="145962" rIns="182451" bIns="145962" numCol="1" spcCol="0" rtlCol="0" fromWordArt="0" anchor="ctr" anchorCtr="0" forceAA="0" compatLnSpc="1">
              <a:prstTxWarp prst="textNoShape">
                <a:avLst/>
              </a:prstTxWarp>
              <a:noAutofit/>
            </a:bodyPr>
            <a:lstStyle/>
            <a:p>
              <a:pPr algn="ctr" defTabSz="930237" fontAlgn="base">
                <a:spcBef>
                  <a:spcPct val="0"/>
                </a:spcBef>
                <a:spcAft>
                  <a:spcPct val="0"/>
                </a:spcAft>
                <a:defRPr/>
              </a:pPr>
              <a:r>
                <a:rPr lang="en-US" sz="1099" kern="0">
                  <a:gradFill>
                    <a:gsLst>
                      <a:gs pos="0">
                        <a:srgbClr val="FFFFFF"/>
                      </a:gs>
                      <a:gs pos="100000">
                        <a:srgbClr val="FFFFFF"/>
                      </a:gs>
                    </a:gsLst>
                    <a:lin ang="5400000" scaled="1"/>
                  </a:gradFill>
                  <a:latin typeface="72 Brand Medium" panose="020B0604030603020204" pitchFamily="34" charset="0"/>
                  <a:cs typeface="72" panose="020B0503030000000003" pitchFamily="34" charset="0"/>
                </a:rPr>
                <a:t>Harmonized data models</a:t>
              </a:r>
            </a:p>
          </p:txBody>
        </p:sp>
        <p:cxnSp>
          <p:nvCxnSpPr>
            <p:cNvPr id="222" name="Straight Connector 221">
              <a:extLst>
                <a:ext uri="{FF2B5EF4-FFF2-40B4-BE49-F238E27FC236}">
                  <a16:creationId xmlns:a16="http://schemas.microsoft.com/office/drawing/2014/main" id="{9D818B70-838E-C178-F058-CCE640825F57}"/>
                </a:ext>
              </a:extLst>
            </p:cNvPr>
            <p:cNvCxnSpPr>
              <a:cxnSpLocks/>
            </p:cNvCxnSpPr>
            <p:nvPr/>
          </p:nvCxnSpPr>
          <p:spPr>
            <a:xfrm>
              <a:off x="3817938" y="4451975"/>
              <a:ext cx="568325" cy="0"/>
            </a:xfrm>
            <a:prstGeom prst="line">
              <a:avLst/>
            </a:prstGeom>
            <a:noFill/>
            <a:ln w="12700" cap="flat" cmpd="sng" algn="ctr">
              <a:gradFill flip="none" rotWithShape="1">
                <a:gsLst>
                  <a:gs pos="0">
                    <a:srgbClr val="1B90FF">
                      <a:alpha val="0"/>
                    </a:srgbClr>
                  </a:gs>
                  <a:gs pos="85000">
                    <a:srgbClr val="1B90FF"/>
                  </a:gs>
                  <a:gs pos="19000">
                    <a:srgbClr val="1B90FF"/>
                  </a:gs>
                  <a:gs pos="100000">
                    <a:srgbClr val="1B90FF">
                      <a:alpha val="0"/>
                    </a:srgbClr>
                  </a:gs>
                </a:gsLst>
                <a:lin ang="0" scaled="1"/>
                <a:tileRect/>
              </a:gradFill>
              <a:prstDash val="dash"/>
              <a:headEnd type="none" w="med" len="med"/>
              <a:tailEnd type="none" w="med" len="med"/>
            </a:ln>
            <a:effectLst/>
          </p:spPr>
        </p:cxnSp>
      </p:grpSp>
      <p:grpSp>
        <p:nvGrpSpPr>
          <p:cNvPr id="10" name="Group 9">
            <a:extLst>
              <a:ext uri="{FF2B5EF4-FFF2-40B4-BE49-F238E27FC236}">
                <a16:creationId xmlns:a16="http://schemas.microsoft.com/office/drawing/2014/main" id="{8F98AED0-6C83-723E-3420-6B00987727BF}"/>
              </a:ext>
            </a:extLst>
          </p:cNvPr>
          <p:cNvGrpSpPr/>
          <p:nvPr/>
        </p:nvGrpSpPr>
        <p:grpSpPr>
          <a:xfrm>
            <a:off x="733808" y="3722607"/>
            <a:ext cx="6626436" cy="615330"/>
            <a:chOff x="798132" y="3722759"/>
            <a:chExt cx="6629888" cy="615651"/>
          </a:xfrm>
        </p:grpSpPr>
        <p:grpSp>
          <p:nvGrpSpPr>
            <p:cNvPr id="203" name="Group 202">
              <a:extLst>
                <a:ext uri="{FF2B5EF4-FFF2-40B4-BE49-F238E27FC236}">
                  <a16:creationId xmlns:a16="http://schemas.microsoft.com/office/drawing/2014/main" id="{39765576-E8E0-C798-2A26-814649F89364}"/>
                </a:ext>
              </a:extLst>
            </p:cNvPr>
            <p:cNvGrpSpPr/>
            <p:nvPr/>
          </p:nvGrpSpPr>
          <p:grpSpPr>
            <a:xfrm>
              <a:off x="5527696" y="3722759"/>
              <a:ext cx="1900324" cy="614049"/>
              <a:chOff x="8561132" y="2588105"/>
              <a:chExt cx="1900819" cy="614209"/>
            </a:xfrm>
          </p:grpSpPr>
          <p:grpSp>
            <p:nvGrpSpPr>
              <p:cNvPr id="215" name="Group 214">
                <a:extLst>
                  <a:ext uri="{FF2B5EF4-FFF2-40B4-BE49-F238E27FC236}">
                    <a16:creationId xmlns:a16="http://schemas.microsoft.com/office/drawing/2014/main" id="{4D2B528D-43A3-AD8B-C98C-87075E608BAD}"/>
                  </a:ext>
                </a:extLst>
              </p:cNvPr>
              <p:cNvGrpSpPr/>
              <p:nvPr/>
            </p:nvGrpSpPr>
            <p:grpSpPr>
              <a:xfrm>
                <a:off x="8561132" y="2588105"/>
                <a:ext cx="1900819" cy="614209"/>
                <a:chOff x="7320454" y="3842152"/>
                <a:chExt cx="1985482" cy="614369"/>
              </a:xfrm>
            </p:grpSpPr>
            <p:sp>
              <p:nvSpPr>
                <p:cNvPr id="218" name="Rectangle: Rounded Corners 254">
                  <a:extLst>
                    <a:ext uri="{FF2B5EF4-FFF2-40B4-BE49-F238E27FC236}">
                      <a16:creationId xmlns:a16="http://schemas.microsoft.com/office/drawing/2014/main" id="{77A9B754-BEF8-86E3-FE79-70BAC93C9C01}"/>
                    </a:ext>
                  </a:extLst>
                </p:cNvPr>
                <p:cNvSpPr/>
                <p:nvPr/>
              </p:nvSpPr>
              <p:spPr bwMode="gray">
                <a:xfrm>
                  <a:off x="7398001" y="3902093"/>
                  <a:ext cx="1830388" cy="554428"/>
                </a:xfrm>
                <a:prstGeom prst="roundRect">
                  <a:avLst>
                    <a:gd name="adj" fmla="val 8680"/>
                  </a:avLst>
                </a:prstGeom>
                <a:gradFill flip="none" rotWithShape="1">
                  <a:gsLst>
                    <a:gs pos="100000">
                      <a:srgbClr val="EBF8FF"/>
                    </a:gs>
                    <a:gs pos="0">
                      <a:srgbClr val="FFFFFF">
                        <a:alpha val="70000"/>
                      </a:srgbClr>
                    </a:gs>
                  </a:gsLst>
                  <a:lin ang="2700000" scaled="1"/>
                  <a:tileRect/>
                </a:gradFill>
                <a:ln w="12700" cap="flat" cmpd="sng" algn="ctr">
                  <a:noFill/>
                  <a:prstDash val="solid"/>
                  <a:headEnd type="none" w="med" len="med"/>
                  <a:tailEnd type="none" w="med" len="med"/>
                </a:ln>
                <a:effectLst/>
              </p:spPr>
              <p:txBody>
                <a:bodyPr rot="0" spcFirstLastPara="0" vertOverflow="overflow" horzOverflow="overflow" vert="horz" wrap="square" lIns="182499" tIns="146000" rIns="182499" bIns="146000" numCol="1" spcCol="0" rtlCol="0" fromWordArt="0" anchor="t" anchorCtr="0" forceAA="0" compatLnSpc="1">
                  <a:prstTxWarp prst="textNoShape">
                    <a:avLst/>
                  </a:prstTxWarp>
                  <a:noAutofit/>
                </a:bodyPr>
                <a:lstStyle/>
                <a:p>
                  <a:pPr defTabSz="930517" fontAlgn="base">
                    <a:spcBef>
                      <a:spcPct val="0"/>
                    </a:spcBef>
                    <a:spcAft>
                      <a:spcPct val="0"/>
                    </a:spcAft>
                    <a:defRPr/>
                  </a:pPr>
                  <a:endParaRPr lang="en-US" sz="1995" kern="0">
                    <a:gradFill>
                      <a:gsLst>
                        <a:gs pos="0">
                          <a:srgbClr val="000000"/>
                        </a:gs>
                        <a:gs pos="100000">
                          <a:srgbClr val="000000"/>
                        </a:gs>
                      </a:gsLst>
                      <a:lin ang="5400000" scaled="1"/>
                    </a:gradFill>
                    <a:latin typeface="72 Brand"/>
                    <a:cs typeface="72" panose="020B0503030000000003" pitchFamily="34" charset="0"/>
                  </a:endParaRPr>
                </a:p>
              </p:txBody>
            </p:sp>
            <p:sp>
              <p:nvSpPr>
                <p:cNvPr id="219" name="Rectangle: Rounded Corners 29">
                  <a:extLst>
                    <a:ext uri="{FF2B5EF4-FFF2-40B4-BE49-F238E27FC236}">
                      <a16:creationId xmlns:a16="http://schemas.microsoft.com/office/drawing/2014/main" id="{46F139BF-7399-D4B6-1EC9-776F9E34331A}"/>
                    </a:ext>
                  </a:extLst>
                </p:cNvPr>
                <p:cNvSpPr/>
                <p:nvPr/>
              </p:nvSpPr>
              <p:spPr bwMode="auto">
                <a:xfrm>
                  <a:off x="7320454" y="3842152"/>
                  <a:ext cx="1985482" cy="309761"/>
                </a:xfrm>
                <a:prstGeom prst="roundRect">
                  <a:avLst>
                    <a:gd name="adj" fmla="val 50000"/>
                  </a:avLst>
                </a:prstGeom>
                <a:gradFill flip="none" rotWithShape="1">
                  <a:gsLst>
                    <a:gs pos="0">
                      <a:srgbClr val="1B90FF"/>
                    </a:gs>
                    <a:gs pos="100000">
                      <a:srgbClr val="0070F2"/>
                    </a:gs>
                  </a:gsLst>
                  <a:lin ang="2700000" scaled="1"/>
                  <a:tileRect/>
                </a:gradFill>
                <a:ln w="12700" cap="flat" cmpd="sng" algn="ctr">
                  <a:noFill/>
                  <a:prstDash val="solid"/>
                  <a:headEnd type="none" w="med" len="med"/>
                  <a:tailEnd type="none" w="med" len="med"/>
                </a:ln>
                <a:effectLst/>
              </p:spPr>
              <p:txBody>
                <a:bodyPr rot="0" spcFirstLastPara="0" vertOverflow="overflow" horzOverflow="overflow" vert="horz" wrap="none" lIns="182689" tIns="145962" rIns="182451" bIns="145962" numCol="1" spcCol="0" rtlCol="0" fromWordArt="0" anchor="ctr" anchorCtr="0" forceAA="0" compatLnSpc="1">
                  <a:prstTxWarp prst="textNoShape">
                    <a:avLst/>
                  </a:prstTxWarp>
                  <a:noAutofit/>
                </a:bodyPr>
                <a:lstStyle/>
                <a:p>
                  <a:pPr algn="ctr" defTabSz="930237" fontAlgn="base">
                    <a:spcBef>
                      <a:spcPct val="0"/>
                    </a:spcBef>
                    <a:spcAft>
                      <a:spcPct val="0"/>
                    </a:spcAft>
                    <a:defRPr/>
                  </a:pPr>
                  <a:r>
                    <a:rPr lang="en-US" sz="1099" kern="0">
                      <a:gradFill>
                        <a:gsLst>
                          <a:gs pos="0">
                            <a:srgbClr val="FFFFFF"/>
                          </a:gs>
                          <a:gs pos="100000">
                            <a:srgbClr val="FFFFFF"/>
                          </a:gs>
                        </a:gsLst>
                        <a:lin ang="5400000" scaled="1"/>
                      </a:gradFill>
                      <a:latin typeface="72 Brand Medium" panose="020B0604030603020204" pitchFamily="34" charset="0"/>
                      <a:cs typeface="72" panose="020B0503030000000003" pitchFamily="34" charset="0"/>
                    </a:rPr>
                    <a:t>Data engineering and ML/AI</a:t>
                  </a:r>
                </a:p>
              </p:txBody>
            </p:sp>
          </p:grpSp>
          <p:sp>
            <p:nvSpPr>
              <p:cNvPr id="216" name="TextBox 215">
                <a:extLst>
                  <a:ext uri="{FF2B5EF4-FFF2-40B4-BE49-F238E27FC236}">
                    <a16:creationId xmlns:a16="http://schemas.microsoft.com/office/drawing/2014/main" id="{36267AFB-2C01-5FEB-16A0-D8A0BBB38AF7}"/>
                  </a:ext>
                </a:extLst>
              </p:cNvPr>
              <p:cNvSpPr txBox="1"/>
              <p:nvPr/>
            </p:nvSpPr>
            <p:spPr>
              <a:xfrm>
                <a:off x="9923242" y="2883089"/>
                <a:ext cx="151623" cy="161541"/>
              </a:xfrm>
              <a:prstGeom prst="rect">
                <a:avLst/>
              </a:prstGeom>
              <a:noFill/>
            </p:spPr>
            <p:txBody>
              <a:bodyPr wrap="square" lIns="0" tIns="0" rIns="0" bIns="0" rtlCol="0" anchor="t">
                <a:spAutoFit/>
              </a:bodyPr>
              <a:lstStyle/>
              <a:p>
                <a:pPr algn="ctr" defTabSz="1087297" fontAlgn="base">
                  <a:spcBef>
                    <a:spcPct val="50000"/>
                  </a:spcBef>
                  <a:spcAft>
                    <a:spcPct val="0"/>
                  </a:spcAft>
                  <a:buClr>
                    <a:srgbClr val="FFFFFF"/>
                  </a:buClr>
                  <a:buSzPct val="100000"/>
                  <a:defRPr/>
                </a:pPr>
                <a:endParaRPr lang="en-US" sz="1049" kern="0">
                  <a:gradFill>
                    <a:gsLst>
                      <a:gs pos="0">
                        <a:srgbClr val="000000"/>
                      </a:gs>
                      <a:gs pos="100000">
                        <a:srgbClr val="000000"/>
                      </a:gs>
                    </a:gsLst>
                    <a:lin ang="0" scaled="1"/>
                  </a:gradFill>
                  <a:latin typeface="72 Brand" panose="020B0504030603020204" pitchFamily="34" charset="0"/>
                  <a:ea typeface="72 Brand" pitchFamily="34" charset="-128"/>
                  <a:cs typeface="72 Brand" pitchFamily="34" charset="-128"/>
                </a:endParaRPr>
              </a:p>
            </p:txBody>
          </p:sp>
          <p:sp>
            <p:nvSpPr>
              <p:cNvPr id="217" name="Rectangle: Rounded Corners 29">
                <a:extLst>
                  <a:ext uri="{FF2B5EF4-FFF2-40B4-BE49-F238E27FC236}">
                    <a16:creationId xmlns:a16="http://schemas.microsoft.com/office/drawing/2014/main" id="{2D314C6D-F1AC-5025-AF12-8620440FDBAC}"/>
                  </a:ext>
                </a:extLst>
              </p:cNvPr>
              <p:cNvSpPr/>
              <p:nvPr/>
            </p:nvSpPr>
            <p:spPr bwMode="auto">
              <a:xfrm>
                <a:off x="8766579" y="2874689"/>
                <a:ext cx="1489926" cy="309832"/>
              </a:xfrm>
              <a:prstGeom prst="roundRect">
                <a:avLst>
                  <a:gd name="adj" fmla="val 50000"/>
                </a:avLst>
              </a:prstGeom>
              <a:noFill/>
              <a:ln w="12700" cap="flat" cmpd="sng" algn="ctr">
                <a:noFill/>
                <a:prstDash val="solid"/>
                <a:headEnd type="none" w="med" len="med"/>
                <a:tailEnd type="none" w="med" len="med"/>
              </a:ln>
              <a:effectLst/>
            </p:spPr>
            <p:txBody>
              <a:bodyPr rot="0" spcFirstLastPara="0" vertOverflow="overflow" horzOverflow="overflow" vert="horz" wrap="none" lIns="182689" tIns="145962" rIns="182451" bIns="145962" numCol="1" spcCol="0" rtlCol="0" fromWordArt="0" anchor="ctr" anchorCtr="0" forceAA="0" compatLnSpc="1">
                <a:prstTxWarp prst="textNoShape">
                  <a:avLst/>
                </a:prstTxWarp>
                <a:noAutofit/>
              </a:bodyPr>
              <a:lstStyle/>
              <a:p>
                <a:pPr algn="ctr" defTabSz="930237" fontAlgn="base">
                  <a:spcBef>
                    <a:spcPct val="0"/>
                  </a:spcBef>
                  <a:spcAft>
                    <a:spcPct val="0"/>
                  </a:spcAft>
                  <a:defRPr/>
                </a:pPr>
                <a:r>
                  <a:rPr lang="en-US" sz="999" kern="0">
                    <a:gradFill>
                      <a:gsLst>
                        <a:gs pos="0">
                          <a:srgbClr val="000000"/>
                        </a:gs>
                        <a:gs pos="100000">
                          <a:srgbClr val="000000"/>
                        </a:gs>
                      </a:gsLst>
                    </a:gradFill>
                    <a:latin typeface="72 Brand Medium" panose="020B0604030603020204" pitchFamily="34" charset="0"/>
                    <a:cs typeface="72" panose="020B0503030000000003" pitchFamily="34" charset="0"/>
                  </a:rPr>
                  <a:t>SAP Databricks*</a:t>
                </a:r>
              </a:p>
            </p:txBody>
          </p:sp>
        </p:grpSp>
        <p:grpSp>
          <p:nvGrpSpPr>
            <p:cNvPr id="7" name="Group 6">
              <a:extLst>
                <a:ext uri="{FF2B5EF4-FFF2-40B4-BE49-F238E27FC236}">
                  <a16:creationId xmlns:a16="http://schemas.microsoft.com/office/drawing/2014/main" id="{1B349F70-32E6-6D46-8ADC-4D02A45D6E1A}"/>
                </a:ext>
              </a:extLst>
            </p:cNvPr>
            <p:cNvGrpSpPr/>
            <p:nvPr/>
          </p:nvGrpSpPr>
          <p:grpSpPr>
            <a:xfrm>
              <a:off x="798132" y="3722759"/>
              <a:ext cx="1446233" cy="598120"/>
              <a:chOff x="798132" y="3722759"/>
              <a:chExt cx="1446233" cy="598120"/>
            </a:xfrm>
          </p:grpSpPr>
          <p:sp>
            <p:nvSpPr>
              <p:cNvPr id="207" name="Rectangle: Rounded Corners 254">
                <a:extLst>
                  <a:ext uri="{FF2B5EF4-FFF2-40B4-BE49-F238E27FC236}">
                    <a16:creationId xmlns:a16="http://schemas.microsoft.com/office/drawing/2014/main" id="{748DECBD-1141-69EB-C293-60EC326D2456}"/>
                  </a:ext>
                </a:extLst>
              </p:cNvPr>
              <p:cNvSpPr/>
              <p:nvPr/>
            </p:nvSpPr>
            <p:spPr bwMode="gray">
              <a:xfrm>
                <a:off x="850701" y="3766740"/>
                <a:ext cx="1341095" cy="554139"/>
              </a:xfrm>
              <a:prstGeom prst="roundRect">
                <a:avLst>
                  <a:gd name="adj" fmla="val 8680"/>
                </a:avLst>
              </a:prstGeom>
              <a:gradFill flip="none" rotWithShape="1">
                <a:gsLst>
                  <a:gs pos="100000">
                    <a:srgbClr val="EBF8FF"/>
                  </a:gs>
                  <a:gs pos="0">
                    <a:srgbClr val="FFFFFF">
                      <a:alpha val="70000"/>
                    </a:srgbClr>
                  </a:gs>
                </a:gsLst>
                <a:lin ang="2700000" scaled="1"/>
                <a:tileRect/>
              </a:gradFill>
              <a:ln w="12700" cap="flat" cmpd="sng" algn="ctr">
                <a:noFill/>
                <a:prstDash val="solid"/>
                <a:headEnd type="none" w="med" len="med"/>
                <a:tailEnd type="none" w="med" len="med"/>
              </a:ln>
              <a:effectLst/>
            </p:spPr>
            <p:txBody>
              <a:bodyPr rot="0" spcFirstLastPara="0" vertOverflow="overflow" horzOverflow="overflow" vert="horz" wrap="square" lIns="182499" tIns="146000" rIns="182499" bIns="146000" numCol="1" spcCol="0" rtlCol="0" fromWordArt="0" anchor="t" anchorCtr="0" forceAA="0" compatLnSpc="1">
                <a:prstTxWarp prst="textNoShape">
                  <a:avLst/>
                </a:prstTxWarp>
                <a:noAutofit/>
              </a:bodyPr>
              <a:lstStyle/>
              <a:p>
                <a:pPr defTabSz="930517" fontAlgn="base">
                  <a:spcBef>
                    <a:spcPct val="0"/>
                  </a:spcBef>
                  <a:spcAft>
                    <a:spcPct val="0"/>
                  </a:spcAft>
                  <a:defRPr/>
                </a:pPr>
                <a:endParaRPr lang="en-US" sz="1399" kern="0">
                  <a:gradFill>
                    <a:gsLst>
                      <a:gs pos="0">
                        <a:srgbClr val="000000"/>
                      </a:gs>
                      <a:gs pos="100000">
                        <a:srgbClr val="000000"/>
                      </a:gs>
                    </a:gsLst>
                    <a:lin ang="5400000" scaled="1"/>
                  </a:gradFill>
                  <a:latin typeface="72 Brand"/>
                  <a:cs typeface="72" panose="020B0503030000000003" pitchFamily="34" charset="0"/>
                </a:endParaRPr>
              </a:p>
            </p:txBody>
          </p:sp>
          <p:sp>
            <p:nvSpPr>
              <p:cNvPr id="208" name="Rectangle: Rounded Corners 29">
                <a:extLst>
                  <a:ext uri="{FF2B5EF4-FFF2-40B4-BE49-F238E27FC236}">
                    <a16:creationId xmlns:a16="http://schemas.microsoft.com/office/drawing/2014/main" id="{7D8C3B9C-9C67-1A0B-8E3E-9412297FE5B9}"/>
                  </a:ext>
                </a:extLst>
              </p:cNvPr>
              <p:cNvSpPr/>
              <p:nvPr/>
            </p:nvSpPr>
            <p:spPr bwMode="auto">
              <a:xfrm>
                <a:off x="798132" y="3722759"/>
                <a:ext cx="1446233" cy="309600"/>
              </a:xfrm>
              <a:prstGeom prst="roundRect">
                <a:avLst>
                  <a:gd name="adj" fmla="val 50000"/>
                </a:avLst>
              </a:prstGeom>
              <a:gradFill flip="none" rotWithShape="1">
                <a:gsLst>
                  <a:gs pos="0">
                    <a:srgbClr val="1B90FF"/>
                  </a:gs>
                  <a:gs pos="100000">
                    <a:srgbClr val="0070F2"/>
                  </a:gs>
                </a:gsLst>
                <a:lin ang="2700000" scaled="1"/>
                <a:tileRect/>
              </a:gradFill>
              <a:ln w="12700" cap="flat" cmpd="sng" algn="ctr">
                <a:noFill/>
                <a:prstDash val="solid"/>
                <a:headEnd type="none" w="med" len="med"/>
                <a:tailEnd type="none" w="med" len="med"/>
              </a:ln>
              <a:effectLst/>
            </p:spPr>
            <p:txBody>
              <a:bodyPr rot="0" spcFirstLastPara="0" vertOverflow="overflow" horzOverflow="overflow" vert="horz" wrap="none" lIns="182689" tIns="145962" rIns="182451" bIns="145962" numCol="1" spcCol="0" rtlCol="0" fromWordArt="0" anchor="ctr" anchorCtr="0" forceAA="0" compatLnSpc="1">
                <a:prstTxWarp prst="textNoShape">
                  <a:avLst/>
                </a:prstTxWarp>
                <a:noAutofit/>
              </a:bodyPr>
              <a:lstStyle/>
              <a:p>
                <a:pPr algn="ctr" defTabSz="930237" fontAlgn="base">
                  <a:spcBef>
                    <a:spcPct val="0"/>
                  </a:spcBef>
                  <a:spcAft>
                    <a:spcPct val="0"/>
                  </a:spcAft>
                  <a:defRPr/>
                </a:pPr>
                <a:r>
                  <a:rPr lang="en-US" sz="1099" kern="0">
                    <a:gradFill>
                      <a:gsLst>
                        <a:gs pos="0">
                          <a:srgbClr val="FFFFFF"/>
                        </a:gs>
                        <a:gs pos="100000">
                          <a:srgbClr val="FFFFFF"/>
                        </a:gs>
                      </a:gsLst>
                      <a:lin ang="5400000" scaled="1"/>
                    </a:gradFill>
                    <a:latin typeface="72 Brand Medium" panose="020B0604030603020204" pitchFamily="34" charset="0"/>
                    <a:cs typeface="72" panose="020B0503030000000003" pitchFamily="34" charset="0"/>
                  </a:rPr>
                  <a:t>Business semantics</a:t>
                </a:r>
              </a:p>
            </p:txBody>
          </p:sp>
          <p:sp>
            <p:nvSpPr>
              <p:cNvPr id="209" name="Rectangle: Rounded Corners 29">
                <a:extLst>
                  <a:ext uri="{FF2B5EF4-FFF2-40B4-BE49-F238E27FC236}">
                    <a16:creationId xmlns:a16="http://schemas.microsoft.com/office/drawing/2014/main" id="{8AD6000F-50EA-25F5-4ACF-45DFD5918FE7}"/>
                  </a:ext>
                </a:extLst>
              </p:cNvPr>
              <p:cNvSpPr/>
              <p:nvPr/>
            </p:nvSpPr>
            <p:spPr bwMode="auto">
              <a:xfrm>
                <a:off x="906799" y="4009268"/>
                <a:ext cx="1228898" cy="309751"/>
              </a:xfrm>
              <a:prstGeom prst="roundRect">
                <a:avLst>
                  <a:gd name="adj" fmla="val 50000"/>
                </a:avLst>
              </a:prstGeom>
              <a:noFill/>
              <a:ln w="12700" cap="flat" cmpd="sng" algn="ctr">
                <a:noFill/>
                <a:prstDash val="solid"/>
                <a:headEnd type="none" w="med" len="med"/>
                <a:tailEnd type="none" w="med" len="med"/>
              </a:ln>
              <a:effectLst/>
            </p:spPr>
            <p:txBody>
              <a:bodyPr rot="0" spcFirstLastPara="0" vertOverflow="overflow" horzOverflow="overflow" vert="horz" wrap="none" lIns="182689" tIns="145962" rIns="182451" bIns="145962" numCol="1" spcCol="0" rtlCol="0" fromWordArt="0" anchor="ctr" anchorCtr="0" forceAA="0" compatLnSpc="1">
                <a:prstTxWarp prst="textNoShape">
                  <a:avLst/>
                </a:prstTxWarp>
                <a:noAutofit/>
              </a:bodyPr>
              <a:lstStyle/>
              <a:p>
                <a:pPr algn="ctr" defTabSz="930237" fontAlgn="base">
                  <a:spcBef>
                    <a:spcPct val="0"/>
                  </a:spcBef>
                  <a:spcAft>
                    <a:spcPct val="0"/>
                  </a:spcAft>
                  <a:defRPr/>
                </a:pPr>
                <a:r>
                  <a:rPr lang="en-US" sz="999" kern="0">
                    <a:gradFill>
                      <a:gsLst>
                        <a:gs pos="0">
                          <a:srgbClr val="000000"/>
                        </a:gs>
                        <a:gs pos="100000">
                          <a:srgbClr val="000000"/>
                        </a:gs>
                      </a:gsLst>
                      <a:lin ang="2700000" scaled="1"/>
                    </a:gradFill>
                    <a:latin typeface="72 Brand Medium" panose="020B0604030603020204" pitchFamily="34" charset="0"/>
                    <a:cs typeface="72" panose="020B0503030000000003" pitchFamily="34" charset="0"/>
                  </a:rPr>
                  <a:t>Datasphere</a:t>
                </a:r>
              </a:p>
            </p:txBody>
          </p:sp>
        </p:grpSp>
        <p:grpSp>
          <p:nvGrpSpPr>
            <p:cNvPr id="8" name="Group 7">
              <a:extLst>
                <a:ext uri="{FF2B5EF4-FFF2-40B4-BE49-F238E27FC236}">
                  <a16:creationId xmlns:a16="http://schemas.microsoft.com/office/drawing/2014/main" id="{8508CB15-533C-4105-FFE7-682FC5832866}"/>
                </a:ext>
              </a:extLst>
            </p:cNvPr>
            <p:cNvGrpSpPr/>
            <p:nvPr/>
          </p:nvGrpSpPr>
          <p:grpSpPr>
            <a:xfrm>
              <a:off x="2291084" y="3722759"/>
              <a:ext cx="1653635" cy="610442"/>
              <a:chOff x="2294790" y="3722759"/>
              <a:chExt cx="1653635" cy="610442"/>
            </a:xfrm>
          </p:grpSpPr>
          <p:sp>
            <p:nvSpPr>
              <p:cNvPr id="205" name="Rectangle: Rounded Corners 254">
                <a:extLst>
                  <a:ext uri="{FF2B5EF4-FFF2-40B4-BE49-F238E27FC236}">
                    <a16:creationId xmlns:a16="http://schemas.microsoft.com/office/drawing/2014/main" id="{CD69D117-241C-DA4F-03A1-3AC837035B4A}"/>
                  </a:ext>
                </a:extLst>
              </p:cNvPr>
              <p:cNvSpPr/>
              <p:nvPr/>
            </p:nvSpPr>
            <p:spPr bwMode="gray">
              <a:xfrm>
                <a:off x="2451060" y="3779062"/>
                <a:ext cx="1341095" cy="554139"/>
              </a:xfrm>
              <a:prstGeom prst="roundRect">
                <a:avLst>
                  <a:gd name="adj" fmla="val 8680"/>
                </a:avLst>
              </a:prstGeom>
              <a:gradFill flip="none" rotWithShape="1">
                <a:gsLst>
                  <a:gs pos="100000">
                    <a:srgbClr val="EBF8FF"/>
                  </a:gs>
                  <a:gs pos="0">
                    <a:srgbClr val="FFFFFF">
                      <a:alpha val="70000"/>
                    </a:srgbClr>
                  </a:gs>
                </a:gsLst>
                <a:lin ang="2700000" scaled="1"/>
                <a:tileRect/>
              </a:gradFill>
              <a:ln w="12700" cap="flat" cmpd="sng" algn="ctr">
                <a:noFill/>
                <a:prstDash val="solid"/>
                <a:headEnd type="none" w="med" len="med"/>
                <a:tailEnd type="none" w="med" len="med"/>
              </a:ln>
              <a:effectLst/>
            </p:spPr>
            <p:txBody>
              <a:bodyPr rot="0" spcFirstLastPara="0" vertOverflow="overflow" horzOverflow="overflow" vert="horz" wrap="square" lIns="182499" tIns="146000" rIns="182499" bIns="146000" numCol="1" spcCol="0" rtlCol="0" fromWordArt="0" anchor="t" anchorCtr="0" forceAA="0" compatLnSpc="1">
                <a:prstTxWarp prst="textNoShape">
                  <a:avLst/>
                </a:prstTxWarp>
                <a:noAutofit/>
              </a:bodyPr>
              <a:lstStyle/>
              <a:p>
                <a:pPr defTabSz="930517" fontAlgn="base">
                  <a:spcBef>
                    <a:spcPct val="0"/>
                  </a:spcBef>
                  <a:spcAft>
                    <a:spcPct val="0"/>
                  </a:spcAft>
                  <a:defRPr/>
                </a:pPr>
                <a:endParaRPr lang="en-US" sz="1995" kern="0">
                  <a:gradFill>
                    <a:gsLst>
                      <a:gs pos="0">
                        <a:srgbClr val="000000"/>
                      </a:gs>
                      <a:gs pos="100000">
                        <a:srgbClr val="000000"/>
                      </a:gs>
                    </a:gsLst>
                    <a:lin ang="5400000" scaled="1"/>
                  </a:gradFill>
                  <a:latin typeface="72 Brand"/>
                  <a:cs typeface="72" panose="020B0503030000000003" pitchFamily="34" charset="0"/>
                </a:endParaRPr>
              </a:p>
            </p:txBody>
          </p:sp>
          <p:sp>
            <p:nvSpPr>
              <p:cNvPr id="206" name="Rectangle: Rounded Corners 29">
                <a:extLst>
                  <a:ext uri="{FF2B5EF4-FFF2-40B4-BE49-F238E27FC236}">
                    <a16:creationId xmlns:a16="http://schemas.microsoft.com/office/drawing/2014/main" id="{584DC48C-5535-5D3E-5473-9631DB31A1EF}"/>
                  </a:ext>
                </a:extLst>
              </p:cNvPr>
              <p:cNvSpPr/>
              <p:nvPr/>
            </p:nvSpPr>
            <p:spPr bwMode="auto">
              <a:xfrm>
                <a:off x="2294790" y="3722759"/>
                <a:ext cx="1653635" cy="309600"/>
              </a:xfrm>
              <a:prstGeom prst="roundRect">
                <a:avLst>
                  <a:gd name="adj" fmla="val 50000"/>
                </a:avLst>
              </a:prstGeom>
              <a:gradFill flip="none" rotWithShape="1">
                <a:gsLst>
                  <a:gs pos="0">
                    <a:srgbClr val="1B90FF"/>
                  </a:gs>
                  <a:gs pos="100000">
                    <a:srgbClr val="0070F2"/>
                  </a:gs>
                </a:gsLst>
                <a:lin ang="2700000" scaled="1"/>
                <a:tileRect/>
              </a:gradFill>
              <a:ln w="12700" cap="flat" cmpd="sng" algn="ctr">
                <a:noFill/>
                <a:prstDash val="solid"/>
                <a:headEnd type="none" w="med" len="med"/>
                <a:tailEnd type="none" w="med" len="med"/>
              </a:ln>
              <a:effectLst/>
            </p:spPr>
            <p:txBody>
              <a:bodyPr rot="0" spcFirstLastPara="0" vertOverflow="overflow" horzOverflow="overflow" vert="horz" wrap="none" lIns="182689" tIns="145962" rIns="182451" bIns="145962" numCol="1" spcCol="0" rtlCol="0" fromWordArt="0" anchor="ctr" anchorCtr="0" forceAA="0" compatLnSpc="1">
                <a:prstTxWarp prst="textNoShape">
                  <a:avLst/>
                </a:prstTxWarp>
                <a:noAutofit/>
              </a:bodyPr>
              <a:lstStyle/>
              <a:p>
                <a:pPr algn="ctr" defTabSz="930237" fontAlgn="base">
                  <a:spcBef>
                    <a:spcPct val="0"/>
                  </a:spcBef>
                  <a:spcAft>
                    <a:spcPct val="0"/>
                  </a:spcAft>
                  <a:defRPr/>
                </a:pPr>
                <a:r>
                  <a:rPr lang="en-US" sz="1099" kern="0">
                    <a:gradFill>
                      <a:gsLst>
                        <a:gs pos="0">
                          <a:srgbClr val="FFFFFF"/>
                        </a:gs>
                        <a:gs pos="100000">
                          <a:srgbClr val="FFFFFF"/>
                        </a:gs>
                      </a:gsLst>
                      <a:lin ang="5400000" scaled="1"/>
                    </a:gradFill>
                    <a:latin typeface="72 Brand Medium" panose="020B0604030603020204" pitchFamily="34" charset="0"/>
                    <a:cs typeface="72" panose="020B0503030000000003" pitchFamily="34" charset="0"/>
                  </a:rPr>
                  <a:t>Analytics and planning</a:t>
                </a:r>
              </a:p>
            </p:txBody>
          </p:sp>
          <p:sp>
            <p:nvSpPr>
              <p:cNvPr id="210" name="Rectangle: Rounded Corners 29">
                <a:extLst>
                  <a:ext uri="{FF2B5EF4-FFF2-40B4-BE49-F238E27FC236}">
                    <a16:creationId xmlns:a16="http://schemas.microsoft.com/office/drawing/2014/main" id="{E5857CD3-3B43-0033-51C1-B26BAE9D7AA0}"/>
                  </a:ext>
                </a:extLst>
              </p:cNvPr>
              <p:cNvSpPr/>
              <p:nvPr/>
            </p:nvSpPr>
            <p:spPr bwMode="auto">
              <a:xfrm>
                <a:off x="2507158" y="4009268"/>
                <a:ext cx="1228898" cy="309751"/>
              </a:xfrm>
              <a:prstGeom prst="roundRect">
                <a:avLst>
                  <a:gd name="adj" fmla="val 50000"/>
                </a:avLst>
              </a:prstGeom>
              <a:noFill/>
              <a:ln w="12700" cap="flat" cmpd="sng" algn="ctr">
                <a:noFill/>
                <a:prstDash val="solid"/>
                <a:headEnd type="none" w="med" len="med"/>
                <a:tailEnd type="none" w="med" len="med"/>
              </a:ln>
              <a:effectLst/>
            </p:spPr>
            <p:txBody>
              <a:bodyPr rot="0" spcFirstLastPara="0" vertOverflow="overflow" horzOverflow="overflow" vert="horz" wrap="none" lIns="182689" tIns="145962" rIns="182451" bIns="145962" numCol="1" spcCol="0" rtlCol="0" fromWordArt="0" anchor="ctr" anchorCtr="0" forceAA="0" compatLnSpc="1">
                <a:prstTxWarp prst="textNoShape">
                  <a:avLst/>
                </a:prstTxWarp>
                <a:noAutofit/>
              </a:bodyPr>
              <a:lstStyle/>
              <a:p>
                <a:pPr algn="ctr" defTabSz="930237" fontAlgn="base">
                  <a:spcBef>
                    <a:spcPct val="0"/>
                  </a:spcBef>
                  <a:spcAft>
                    <a:spcPct val="0"/>
                  </a:spcAft>
                  <a:defRPr/>
                </a:pPr>
                <a:r>
                  <a:rPr lang="en-US" sz="999" kern="0">
                    <a:gradFill>
                      <a:gsLst>
                        <a:gs pos="0">
                          <a:srgbClr val="000000"/>
                        </a:gs>
                        <a:gs pos="100000">
                          <a:srgbClr val="000000"/>
                        </a:gs>
                      </a:gsLst>
                      <a:lin ang="2700000" scaled="1"/>
                    </a:gradFill>
                    <a:latin typeface="72 Brand Medium" panose="020B0604030603020204" pitchFamily="34" charset="0"/>
                    <a:cs typeface="72" panose="020B0503030000000003" pitchFamily="34" charset="0"/>
                  </a:rPr>
                  <a:t>Analytics Cloud</a:t>
                </a:r>
              </a:p>
            </p:txBody>
          </p:sp>
        </p:grpSp>
        <p:grpSp>
          <p:nvGrpSpPr>
            <p:cNvPr id="9" name="Group 8">
              <a:extLst>
                <a:ext uri="{FF2B5EF4-FFF2-40B4-BE49-F238E27FC236}">
                  <a16:creationId xmlns:a16="http://schemas.microsoft.com/office/drawing/2014/main" id="{F4D2E968-E814-2CB5-8C89-95F0C251C35C}"/>
                </a:ext>
              </a:extLst>
            </p:cNvPr>
            <p:cNvGrpSpPr/>
            <p:nvPr/>
          </p:nvGrpSpPr>
          <p:grpSpPr>
            <a:xfrm>
              <a:off x="3991438" y="3722759"/>
              <a:ext cx="1489538" cy="615651"/>
              <a:chOff x="3993604" y="3722759"/>
              <a:chExt cx="1489538" cy="615651"/>
            </a:xfrm>
          </p:grpSpPr>
          <p:sp>
            <p:nvSpPr>
              <p:cNvPr id="202" name="Rectangle: Rounded Corners 254">
                <a:extLst>
                  <a:ext uri="{FF2B5EF4-FFF2-40B4-BE49-F238E27FC236}">
                    <a16:creationId xmlns:a16="http://schemas.microsoft.com/office/drawing/2014/main" id="{F7E5BDA2-29FC-4E6B-10D0-1F337D76E3B8}"/>
                  </a:ext>
                </a:extLst>
              </p:cNvPr>
              <p:cNvSpPr/>
              <p:nvPr/>
            </p:nvSpPr>
            <p:spPr bwMode="gray">
              <a:xfrm>
                <a:off x="4067826" y="3784271"/>
                <a:ext cx="1341095" cy="554139"/>
              </a:xfrm>
              <a:prstGeom prst="roundRect">
                <a:avLst>
                  <a:gd name="adj" fmla="val 8680"/>
                </a:avLst>
              </a:prstGeom>
              <a:gradFill flip="none" rotWithShape="1">
                <a:gsLst>
                  <a:gs pos="100000">
                    <a:srgbClr val="EBF8FF"/>
                  </a:gs>
                  <a:gs pos="0">
                    <a:srgbClr val="FFFFFF">
                      <a:alpha val="70000"/>
                    </a:srgbClr>
                  </a:gs>
                </a:gsLst>
                <a:lin ang="2700000" scaled="1"/>
                <a:tileRect/>
              </a:gradFill>
              <a:ln w="12700" cap="flat" cmpd="sng" algn="ctr">
                <a:noFill/>
                <a:prstDash val="solid"/>
                <a:headEnd type="none" w="med" len="med"/>
                <a:tailEnd type="none" w="med" len="med"/>
              </a:ln>
              <a:effectLst/>
            </p:spPr>
            <p:txBody>
              <a:bodyPr rot="0" spcFirstLastPara="0" vertOverflow="overflow" horzOverflow="overflow" vert="horz" wrap="square" lIns="182499" tIns="146000" rIns="182499" bIns="146000" numCol="1" spcCol="0" rtlCol="0" fromWordArt="0" anchor="t" anchorCtr="0" forceAA="0" compatLnSpc="1">
                <a:prstTxWarp prst="textNoShape">
                  <a:avLst/>
                </a:prstTxWarp>
                <a:noAutofit/>
              </a:bodyPr>
              <a:lstStyle/>
              <a:p>
                <a:pPr defTabSz="930517" fontAlgn="base">
                  <a:spcBef>
                    <a:spcPct val="0"/>
                  </a:spcBef>
                  <a:spcAft>
                    <a:spcPct val="0"/>
                  </a:spcAft>
                  <a:defRPr/>
                </a:pPr>
                <a:endParaRPr lang="en-US" sz="1995" kern="0">
                  <a:gradFill>
                    <a:gsLst>
                      <a:gs pos="0">
                        <a:srgbClr val="000000"/>
                      </a:gs>
                      <a:gs pos="100000">
                        <a:srgbClr val="000000"/>
                      </a:gs>
                    </a:gsLst>
                    <a:lin ang="5400000" scaled="1"/>
                  </a:gradFill>
                  <a:latin typeface="72 Brand"/>
                  <a:cs typeface="72" panose="020B0503030000000003" pitchFamily="34" charset="0"/>
                </a:endParaRPr>
              </a:p>
            </p:txBody>
          </p:sp>
          <p:sp>
            <p:nvSpPr>
              <p:cNvPr id="204" name="Rectangle: Rounded Corners 29">
                <a:extLst>
                  <a:ext uri="{FF2B5EF4-FFF2-40B4-BE49-F238E27FC236}">
                    <a16:creationId xmlns:a16="http://schemas.microsoft.com/office/drawing/2014/main" id="{D8E970A5-188F-7C5B-157D-76C04AC62B8F}"/>
                  </a:ext>
                </a:extLst>
              </p:cNvPr>
              <p:cNvSpPr/>
              <p:nvPr/>
            </p:nvSpPr>
            <p:spPr bwMode="auto">
              <a:xfrm>
                <a:off x="3993604" y="3722759"/>
                <a:ext cx="1489538" cy="309600"/>
              </a:xfrm>
              <a:prstGeom prst="roundRect">
                <a:avLst>
                  <a:gd name="adj" fmla="val 50000"/>
                </a:avLst>
              </a:prstGeom>
              <a:gradFill flip="none" rotWithShape="1">
                <a:gsLst>
                  <a:gs pos="0">
                    <a:srgbClr val="1B90FF"/>
                  </a:gs>
                  <a:gs pos="100000">
                    <a:srgbClr val="0070F2"/>
                  </a:gs>
                </a:gsLst>
                <a:lin ang="2700000" scaled="1"/>
                <a:tileRect/>
              </a:gradFill>
              <a:ln w="12700" cap="flat" cmpd="sng" algn="ctr">
                <a:noFill/>
                <a:prstDash val="solid"/>
                <a:headEnd type="none" w="med" len="med"/>
                <a:tailEnd type="none" w="med" len="med"/>
              </a:ln>
              <a:effectLst/>
            </p:spPr>
            <p:txBody>
              <a:bodyPr rot="0" spcFirstLastPara="0" vertOverflow="overflow" horzOverflow="overflow" vert="horz" wrap="none" lIns="182689" tIns="145962" rIns="182451" bIns="145962" numCol="1" spcCol="0" rtlCol="0" fromWordArt="0" anchor="ctr" anchorCtr="0" forceAA="0" compatLnSpc="1">
                <a:prstTxWarp prst="textNoShape">
                  <a:avLst/>
                </a:prstTxWarp>
                <a:noAutofit/>
              </a:bodyPr>
              <a:lstStyle/>
              <a:p>
                <a:pPr algn="ctr" defTabSz="930237" fontAlgn="base">
                  <a:spcBef>
                    <a:spcPct val="0"/>
                  </a:spcBef>
                  <a:spcAft>
                    <a:spcPct val="0"/>
                  </a:spcAft>
                  <a:defRPr/>
                </a:pPr>
                <a:r>
                  <a:rPr lang="en-US" sz="1099" kern="0">
                    <a:gradFill>
                      <a:gsLst>
                        <a:gs pos="0">
                          <a:srgbClr val="FFFFFF"/>
                        </a:gs>
                        <a:gs pos="100000">
                          <a:srgbClr val="FFFFFF"/>
                        </a:gs>
                      </a:gsLst>
                      <a:lin ang="5400000" scaled="1"/>
                    </a:gradFill>
                    <a:latin typeface="72 Brand Medium" panose="020B0604030603020204" pitchFamily="34" charset="0"/>
                    <a:cs typeface="72" panose="020B0503030000000003" pitchFamily="34" charset="0"/>
                  </a:rPr>
                  <a:t>BW modernization</a:t>
                </a:r>
              </a:p>
            </p:txBody>
          </p:sp>
          <p:sp>
            <p:nvSpPr>
              <p:cNvPr id="211" name="Rectangle: Rounded Corners 29">
                <a:extLst>
                  <a:ext uri="{FF2B5EF4-FFF2-40B4-BE49-F238E27FC236}">
                    <a16:creationId xmlns:a16="http://schemas.microsoft.com/office/drawing/2014/main" id="{12F5D031-B7D2-435A-E4F2-97C9B63503DB}"/>
                  </a:ext>
                </a:extLst>
              </p:cNvPr>
              <p:cNvSpPr/>
              <p:nvPr/>
            </p:nvSpPr>
            <p:spPr bwMode="auto">
              <a:xfrm>
                <a:off x="4123924" y="4009268"/>
                <a:ext cx="1228898" cy="309751"/>
              </a:xfrm>
              <a:prstGeom prst="roundRect">
                <a:avLst>
                  <a:gd name="adj" fmla="val 50000"/>
                </a:avLst>
              </a:prstGeom>
              <a:noFill/>
              <a:ln w="12700" cap="flat" cmpd="sng" algn="ctr">
                <a:noFill/>
                <a:prstDash val="solid"/>
                <a:headEnd type="none" w="med" len="med"/>
                <a:tailEnd type="none" w="med" len="med"/>
              </a:ln>
              <a:effectLst/>
            </p:spPr>
            <p:txBody>
              <a:bodyPr rot="0" spcFirstLastPara="0" vertOverflow="overflow" horzOverflow="overflow" vert="horz" wrap="none" lIns="182689" tIns="145962" rIns="182451" bIns="145962" numCol="1" spcCol="0" rtlCol="0" fromWordArt="0" anchor="ctr" anchorCtr="0" forceAA="0" compatLnSpc="1">
                <a:prstTxWarp prst="textNoShape">
                  <a:avLst/>
                </a:prstTxWarp>
                <a:noAutofit/>
              </a:bodyPr>
              <a:lstStyle/>
              <a:p>
                <a:pPr algn="ctr" defTabSz="930237" fontAlgn="base">
                  <a:spcBef>
                    <a:spcPct val="0"/>
                  </a:spcBef>
                  <a:spcAft>
                    <a:spcPct val="0"/>
                  </a:spcAft>
                  <a:defRPr/>
                </a:pPr>
                <a:r>
                  <a:rPr lang="en-US" sz="999" kern="0">
                    <a:gradFill>
                      <a:gsLst>
                        <a:gs pos="0">
                          <a:srgbClr val="000000"/>
                        </a:gs>
                        <a:gs pos="100000">
                          <a:srgbClr val="000000"/>
                        </a:gs>
                      </a:gsLst>
                      <a:lin ang="2700000" scaled="1"/>
                    </a:gradFill>
                    <a:latin typeface="72 Brand Medium" panose="020B0604030603020204" pitchFamily="34" charset="0"/>
                    <a:cs typeface="72" panose="020B0503030000000003" pitchFamily="34" charset="0"/>
                  </a:rPr>
                  <a:t>Business Warehouse</a:t>
                </a:r>
              </a:p>
            </p:txBody>
          </p:sp>
        </p:grpSp>
      </p:grpSp>
      <p:grpSp>
        <p:nvGrpSpPr>
          <p:cNvPr id="212" name="Group 211">
            <a:extLst>
              <a:ext uri="{FF2B5EF4-FFF2-40B4-BE49-F238E27FC236}">
                <a16:creationId xmlns:a16="http://schemas.microsoft.com/office/drawing/2014/main" id="{CDE79267-BCBD-8A8B-F517-7CCDF4DC5AD6}"/>
              </a:ext>
            </a:extLst>
          </p:cNvPr>
          <p:cNvGrpSpPr/>
          <p:nvPr/>
        </p:nvGrpSpPr>
        <p:grpSpPr>
          <a:xfrm>
            <a:off x="3328638" y="1927538"/>
            <a:ext cx="1436778" cy="328194"/>
            <a:chOff x="-4852339" y="1513632"/>
            <a:chExt cx="1437527" cy="328365"/>
          </a:xfrm>
        </p:grpSpPr>
        <p:sp>
          <p:nvSpPr>
            <p:cNvPr id="213" name="Rectangle: Rounded Corners 29">
              <a:extLst>
                <a:ext uri="{FF2B5EF4-FFF2-40B4-BE49-F238E27FC236}">
                  <a16:creationId xmlns:a16="http://schemas.microsoft.com/office/drawing/2014/main" id="{CE86BD93-8A00-77AA-7D52-B69600DD069F}"/>
                </a:ext>
              </a:extLst>
            </p:cNvPr>
            <p:cNvSpPr/>
            <p:nvPr/>
          </p:nvSpPr>
          <p:spPr bwMode="auto">
            <a:xfrm>
              <a:off x="-4852339" y="1513632"/>
              <a:ext cx="1437527" cy="328365"/>
            </a:xfrm>
            <a:prstGeom prst="roundRect">
              <a:avLst>
                <a:gd name="adj" fmla="val 5000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65380" tIns="146038" rIns="182547" bIns="146038" numCol="1" spcCol="0" rtlCol="0" fromWordArt="0" anchor="ctr" anchorCtr="0" forceAA="0" compatLnSpc="1">
              <a:prstTxWarp prst="textNoShape">
                <a:avLst/>
              </a:prstTxWarp>
              <a:noAutofit/>
            </a:bodyPr>
            <a:lstStyle/>
            <a:p>
              <a:pPr algn="ctr" defTabSz="930794" fontAlgn="base">
                <a:spcBef>
                  <a:spcPct val="0"/>
                </a:spcBef>
                <a:spcAft>
                  <a:spcPct val="0"/>
                </a:spcAft>
              </a:pPr>
              <a:r>
                <a:rPr lang="en-US" sz="1399">
                  <a:gradFill>
                    <a:gsLst>
                      <a:gs pos="0">
                        <a:srgbClr val="5D36FF"/>
                      </a:gs>
                      <a:gs pos="100000">
                        <a:srgbClr val="5D36FF"/>
                      </a:gs>
                    </a:gsLst>
                    <a:lin ang="5400000" scaled="1"/>
                  </a:gradFill>
                  <a:latin typeface="72 Brand Medium" panose="020B0604030603020204" pitchFamily="34" charset="0"/>
                  <a:cs typeface="72" panose="020B0503030000000003" pitchFamily="34" charset="0"/>
                </a:rPr>
                <a:t>Business AI</a:t>
              </a:r>
            </a:p>
          </p:txBody>
        </p:sp>
        <p:pic>
          <p:nvPicPr>
            <p:cNvPr id="214" name="Graphic 213">
              <a:extLst>
                <a:ext uri="{FF2B5EF4-FFF2-40B4-BE49-F238E27FC236}">
                  <a16:creationId xmlns:a16="http://schemas.microsoft.com/office/drawing/2014/main" id="{E6F42433-3EF5-C633-0C5D-0FEC740F707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725792" y="1609912"/>
              <a:ext cx="139971" cy="139971"/>
            </a:xfrm>
            <a:prstGeom prst="rect">
              <a:avLst/>
            </a:prstGeom>
          </p:spPr>
        </p:pic>
      </p:grpSp>
      <p:sp>
        <p:nvSpPr>
          <p:cNvPr id="6" name="TextBox 5">
            <a:extLst>
              <a:ext uri="{FF2B5EF4-FFF2-40B4-BE49-F238E27FC236}">
                <a16:creationId xmlns:a16="http://schemas.microsoft.com/office/drawing/2014/main" id="{627F574A-A479-5D0B-F515-C98D708CB3E0}"/>
              </a:ext>
            </a:extLst>
          </p:cNvPr>
          <p:cNvSpPr txBox="1"/>
          <p:nvPr/>
        </p:nvSpPr>
        <p:spPr>
          <a:xfrm>
            <a:off x="9318536" y="6539223"/>
            <a:ext cx="2132486" cy="138427"/>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en-US" sz="900" kern="0">
                <a:latin typeface="72 Brand" panose="020B0504030603020204" pitchFamily="34" charset="0"/>
                <a:ea typeface="72 Brand" pitchFamily="34" charset="-128"/>
                <a:cs typeface="72 Brand" pitchFamily="34" charset="-128"/>
              </a:rPr>
              <a:t>*SAP Databricks will be part of GA version</a:t>
            </a:r>
          </a:p>
        </p:txBody>
      </p:sp>
      <p:sp>
        <p:nvSpPr>
          <p:cNvPr id="2" name="Oval 1">
            <a:extLst>
              <a:ext uri="{FF2B5EF4-FFF2-40B4-BE49-F238E27FC236}">
                <a16:creationId xmlns:a16="http://schemas.microsoft.com/office/drawing/2014/main" id="{92C50E5A-7698-37EE-6A5B-4A3CD4519870}"/>
              </a:ext>
              <a:ext uri="{C183D7F6-B498-43B3-948B-1728B52AA6E4}">
                <adec:decorative xmlns:adec="http://schemas.microsoft.com/office/drawing/2017/decorative" val="1"/>
              </a:ext>
            </a:extLst>
          </p:cNvPr>
          <p:cNvSpPr/>
          <p:nvPr/>
        </p:nvSpPr>
        <p:spPr bwMode="gray">
          <a:xfrm>
            <a:off x="10807846" y="550199"/>
            <a:ext cx="740337" cy="740336"/>
          </a:xfrm>
          <a:prstGeom prst="ellipse">
            <a:avLst/>
          </a:prstGeom>
          <a:noFill/>
          <a:ln w="12700" algn="ctr">
            <a:gradFill>
              <a:gsLst>
                <a:gs pos="0">
                  <a:srgbClr val="89D1FF"/>
                </a:gs>
                <a:gs pos="100000">
                  <a:srgbClr val="1B90FF"/>
                </a:gs>
              </a:gsLst>
              <a:lin ang="5400000" scaled="1"/>
            </a:grad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
        <p:nvSpPr>
          <p:cNvPr id="4" name="Rectangle: Rounded Corners 1922">
            <a:extLst>
              <a:ext uri="{FF2B5EF4-FFF2-40B4-BE49-F238E27FC236}">
                <a16:creationId xmlns:a16="http://schemas.microsoft.com/office/drawing/2014/main" id="{FCF0D254-1158-F616-16AF-AC1A02467841}"/>
              </a:ext>
            </a:extLst>
          </p:cNvPr>
          <p:cNvSpPr/>
          <p:nvPr/>
        </p:nvSpPr>
        <p:spPr bwMode="gray">
          <a:xfrm>
            <a:off x="10666040" y="501842"/>
            <a:ext cx="1023949" cy="234614"/>
          </a:xfrm>
          <a:prstGeom prst="roundRect">
            <a:avLst>
              <a:gd name="adj" fmla="val 14916"/>
            </a:avLst>
          </a:prstGeom>
          <a:solidFill>
            <a:srgbClr val="7858FF"/>
          </a:solidFill>
          <a:ln w="15238" cap="flat">
            <a:noFill/>
            <a:prstDash val="solid"/>
            <a:miter/>
          </a:ln>
        </p:spPr>
        <p:txBody>
          <a:bodyPr rtlCol="0" anchor="ctr"/>
          <a:lstStyle/>
          <a:p>
            <a:pPr algn="ctr" defTabSz="1088122"/>
            <a:r>
              <a:rPr lang="en-US" sz="1100">
                <a:gradFill>
                  <a:gsLst>
                    <a:gs pos="0">
                      <a:schemeClr val="bg1"/>
                    </a:gs>
                    <a:gs pos="100000">
                      <a:schemeClr val="bg1"/>
                    </a:gs>
                  </a:gsLst>
                  <a:lin ang="0" scaled="0"/>
                </a:gradFill>
                <a:latin typeface="+mj-lt"/>
              </a:rPr>
              <a:t>AI</a:t>
            </a:r>
          </a:p>
        </p:txBody>
      </p:sp>
      <p:sp>
        <p:nvSpPr>
          <p:cNvPr id="11" name="Rectangle: Rounded Corners 1926">
            <a:extLst>
              <a:ext uri="{FF2B5EF4-FFF2-40B4-BE49-F238E27FC236}">
                <a16:creationId xmlns:a16="http://schemas.microsoft.com/office/drawing/2014/main" id="{2C5E4C61-CD17-5B99-5812-F6861C1DE045}"/>
              </a:ext>
            </a:extLst>
          </p:cNvPr>
          <p:cNvSpPr/>
          <p:nvPr/>
        </p:nvSpPr>
        <p:spPr bwMode="gray">
          <a:xfrm>
            <a:off x="10666040" y="1104278"/>
            <a:ext cx="1023949" cy="234614"/>
          </a:xfrm>
          <a:prstGeom prst="roundRect">
            <a:avLst>
              <a:gd name="adj" fmla="val 16401"/>
            </a:avLst>
          </a:prstGeom>
          <a:gradFill flip="none" rotWithShape="1">
            <a:gsLst>
              <a:gs pos="0">
                <a:srgbClr val="A6E0FF"/>
              </a:gs>
              <a:gs pos="100000">
                <a:srgbClr val="89D1FF"/>
              </a:gs>
            </a:gsLst>
            <a:lin ang="2700000" scaled="1"/>
            <a:tileRect/>
          </a:gradFill>
          <a:ln w="15238" cap="flat">
            <a:noFill/>
            <a:prstDash val="solid"/>
            <a:miter/>
          </a:ln>
        </p:spPr>
        <p:txBody>
          <a:bodyPr lIns="91440" tIns="91440" rIns="91440" bIns="91440" rtlCol="0" anchor="ctr"/>
          <a:lstStyle/>
          <a:p>
            <a:pPr algn="ctr" defTabSz="913943" fontAlgn="base">
              <a:spcAft>
                <a:spcPts val="600"/>
              </a:spcAft>
              <a:buClr>
                <a:srgbClr val="F0AB00"/>
              </a:buClr>
              <a:buSzPct val="80000"/>
            </a:pPr>
            <a:r>
              <a:rPr lang="en-US" sz="1100" kern="0">
                <a:latin typeface="+mj-lt"/>
              </a:rPr>
              <a:t>Applications</a:t>
            </a:r>
          </a:p>
        </p:txBody>
      </p:sp>
      <p:sp>
        <p:nvSpPr>
          <p:cNvPr id="12" name="Rectangle 1925">
            <a:extLst>
              <a:ext uri="{FF2B5EF4-FFF2-40B4-BE49-F238E27FC236}">
                <a16:creationId xmlns:a16="http://schemas.microsoft.com/office/drawing/2014/main" id="{73957858-4350-000D-4B1A-E38EEC8C07F7}"/>
              </a:ext>
              <a:ext uri="{C183D7F6-B498-43B3-948B-1728B52AA6E4}">
                <adec:decorative xmlns:adec="http://schemas.microsoft.com/office/drawing/2017/decorative" val="1"/>
              </a:ext>
            </a:extLst>
          </p:cNvPr>
          <p:cNvSpPr/>
          <p:nvPr/>
        </p:nvSpPr>
        <p:spPr bwMode="gray">
          <a:xfrm>
            <a:off x="10628148" y="444958"/>
            <a:ext cx="1055852" cy="316934"/>
          </a:xfrm>
          <a:prstGeom prst="rect">
            <a:avLst/>
          </a:prstGeom>
          <a:solidFill>
            <a:schemeClr val="bg1">
              <a:alpha val="80000"/>
            </a:schemeClr>
          </a:solidFill>
          <a:ln w="25400" algn="ctr">
            <a:no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
        <p:nvSpPr>
          <p:cNvPr id="13" name="Rectangle: Rounded Corners 1924">
            <a:extLst>
              <a:ext uri="{FF2B5EF4-FFF2-40B4-BE49-F238E27FC236}">
                <a16:creationId xmlns:a16="http://schemas.microsoft.com/office/drawing/2014/main" id="{92A87B7C-E75B-951E-B163-324131698DED}"/>
              </a:ext>
            </a:extLst>
          </p:cNvPr>
          <p:cNvSpPr/>
          <p:nvPr/>
        </p:nvSpPr>
        <p:spPr bwMode="gray">
          <a:xfrm>
            <a:off x="10666040" y="803060"/>
            <a:ext cx="1023949" cy="234614"/>
          </a:xfrm>
          <a:prstGeom prst="roundRect">
            <a:avLst>
              <a:gd name="adj" fmla="val 17081"/>
            </a:avLst>
          </a:prstGeom>
          <a:solidFill>
            <a:srgbClr val="0070F2"/>
          </a:solidFill>
          <a:ln w="15238" cap="flat">
            <a:noFill/>
            <a:prstDash val="solid"/>
            <a:miter/>
          </a:ln>
        </p:spPr>
        <p:txBody>
          <a:bodyPr rtlCol="0" anchor="ctr"/>
          <a:lstStyle/>
          <a:p>
            <a:pPr algn="ctr" defTabSz="1088122"/>
            <a:r>
              <a:rPr lang="en-US" sz="1100">
                <a:gradFill>
                  <a:gsLst>
                    <a:gs pos="0">
                      <a:schemeClr val="bg1"/>
                    </a:gs>
                    <a:gs pos="100000">
                      <a:schemeClr val="bg1"/>
                    </a:gs>
                  </a:gsLst>
                  <a:lin ang="0" scaled="0"/>
                </a:gradFill>
                <a:latin typeface="+mj-lt"/>
              </a:rPr>
              <a:t>Data</a:t>
            </a:r>
          </a:p>
        </p:txBody>
      </p:sp>
      <p:sp>
        <p:nvSpPr>
          <p:cNvPr id="14" name="Rectangle 4">
            <a:extLst>
              <a:ext uri="{FF2B5EF4-FFF2-40B4-BE49-F238E27FC236}">
                <a16:creationId xmlns:a16="http://schemas.microsoft.com/office/drawing/2014/main" id="{F24C3677-BFAE-4E70-138D-278F94ED6C12}"/>
              </a:ext>
              <a:ext uri="{C183D7F6-B498-43B3-948B-1728B52AA6E4}">
                <adec:decorative xmlns:adec="http://schemas.microsoft.com/office/drawing/2017/decorative" val="1"/>
              </a:ext>
            </a:extLst>
          </p:cNvPr>
          <p:cNvSpPr/>
          <p:nvPr/>
        </p:nvSpPr>
        <p:spPr bwMode="gray">
          <a:xfrm>
            <a:off x="10659690" y="1040631"/>
            <a:ext cx="1038552" cy="308564"/>
          </a:xfrm>
          <a:prstGeom prst="rect">
            <a:avLst/>
          </a:prstGeom>
          <a:solidFill>
            <a:schemeClr val="bg1">
              <a:alpha val="80000"/>
            </a:schemeClr>
          </a:solidFill>
          <a:ln w="25400" algn="ctr">
            <a:no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
        <p:nvSpPr>
          <p:cNvPr id="15" name="TextBox 1844">
            <a:extLst>
              <a:ext uri="{FF2B5EF4-FFF2-40B4-BE49-F238E27FC236}">
                <a16:creationId xmlns:a16="http://schemas.microsoft.com/office/drawing/2014/main" id="{BB4561CB-3241-BDA2-A36E-5C71E1BD53CB}"/>
              </a:ext>
            </a:extLst>
          </p:cNvPr>
          <p:cNvSpPr txBox="1"/>
          <p:nvPr/>
        </p:nvSpPr>
        <p:spPr>
          <a:xfrm>
            <a:off x="511200" y="954000"/>
            <a:ext cx="10617081" cy="430887"/>
          </a:xfrm>
          <a:prstGeom prst="rect">
            <a:avLst/>
          </a:prstGeom>
          <a:noFill/>
        </p:spPr>
        <p:txBody>
          <a:bodyPr wrap="square" lIns="0" tIns="0" rIns="0" bIns="0" anchor="t">
            <a:spAutoFit/>
          </a:bodyPr>
          <a:lstStyle/>
          <a:p>
            <a:pPr defTabSz="1073773">
              <a:defRPr/>
            </a:pPr>
            <a:r>
              <a:rPr lang="en-GB" sz="1400" dirty="0">
                <a:solidFill>
                  <a:srgbClr val="000000"/>
                </a:solidFill>
                <a:latin typeface="72 Brand"/>
              </a:rPr>
              <a:t>With </a:t>
            </a:r>
            <a:r>
              <a:rPr lang="en-GB" sz="1400" dirty="0">
                <a:solidFill>
                  <a:srgbClr val="000000"/>
                </a:solidFill>
                <a:latin typeface="72 Brand Medium" panose="020B0604030603020204" pitchFamily="34" charset="0"/>
              </a:rPr>
              <a:t>SAP Business Data Cloud</a:t>
            </a:r>
            <a:r>
              <a:rPr lang="en-GB" sz="1400" dirty="0">
                <a:solidFill>
                  <a:srgbClr val="000000"/>
                </a:solidFill>
                <a:latin typeface="72 Brand"/>
              </a:rPr>
              <a:t>, your most valuable business data from every part of your business turns into </a:t>
            </a:r>
            <a:br>
              <a:rPr lang="en-GB" sz="1400" dirty="0">
                <a:solidFill>
                  <a:srgbClr val="000000"/>
                </a:solidFill>
                <a:latin typeface="72 Brand"/>
              </a:rPr>
            </a:br>
            <a:r>
              <a:rPr lang="en-GB" sz="1400" dirty="0">
                <a:solidFill>
                  <a:srgbClr val="000000"/>
                </a:solidFill>
                <a:latin typeface="72 Brand"/>
              </a:rPr>
              <a:t>a semantically-rich data treasure that fuels </a:t>
            </a:r>
            <a:r>
              <a:rPr lang="en-GB" sz="1400" dirty="0" err="1">
                <a:solidFill>
                  <a:srgbClr val="000000"/>
                </a:solidFill>
                <a:latin typeface="72 Brand"/>
              </a:rPr>
              <a:t>unrivaled</a:t>
            </a:r>
            <a:r>
              <a:rPr lang="en-GB" sz="1400" dirty="0">
                <a:solidFill>
                  <a:srgbClr val="000000"/>
                </a:solidFill>
                <a:latin typeface="72 Brand"/>
              </a:rPr>
              <a:t> AI-powered value for your business</a:t>
            </a:r>
          </a:p>
        </p:txBody>
      </p:sp>
    </p:spTree>
    <p:extLst>
      <p:ext uri="{BB962C8B-B14F-4D97-AF65-F5344CB8AC3E}">
        <p14:creationId xmlns:p14="http://schemas.microsoft.com/office/powerpoint/2010/main" val="32795106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FCF4A1-1427-D982-317B-128C6C6D441E}"/>
              </a:ext>
            </a:extLst>
          </p:cNvPr>
          <p:cNvSpPr>
            <a:spLocks noGrp="1"/>
          </p:cNvSpPr>
          <p:nvPr>
            <p:ph type="title"/>
          </p:nvPr>
        </p:nvSpPr>
        <p:spPr>
          <a:xfrm>
            <a:off x="554139" y="490635"/>
            <a:ext cx="11061897" cy="615553"/>
          </a:xfrm>
        </p:spPr>
        <p:txBody>
          <a:bodyPr/>
          <a:lstStyle/>
          <a:p>
            <a:r>
              <a:rPr lang="en-US" sz="2400" b="1" dirty="0">
                <a:gradFill>
                  <a:gsLst>
                    <a:gs pos="0">
                      <a:srgbClr val="000000"/>
                    </a:gs>
                    <a:gs pos="100000">
                      <a:srgbClr val="000000"/>
                    </a:gs>
                  </a:gsLst>
                  <a:lin ang="18900000" scaled="1"/>
                </a:gradFill>
                <a:latin typeface="+mj-lt"/>
                <a:sym typeface="Arial" panose="020B0604020202020204" pitchFamily="34" charset="0"/>
              </a:rPr>
              <a:t>What is a data product?</a:t>
            </a:r>
            <a:br>
              <a:rPr lang="en-US" sz="2400" b="1" dirty="0">
                <a:gradFill>
                  <a:gsLst>
                    <a:gs pos="0">
                      <a:srgbClr val="000000"/>
                    </a:gs>
                    <a:gs pos="100000">
                      <a:srgbClr val="000000"/>
                    </a:gs>
                  </a:gsLst>
                  <a:lin ang="18900000" scaled="1"/>
                </a:gradFill>
                <a:latin typeface="+mj-lt"/>
                <a:sym typeface="Arial" panose="020B0604020202020204" pitchFamily="34" charset="0"/>
              </a:rPr>
            </a:br>
            <a:r>
              <a:rPr lang="en-US" sz="1600" dirty="0">
                <a:solidFill>
                  <a:schemeClr val="tx1"/>
                </a:solidFill>
                <a:latin typeface="+mn-lt"/>
              </a:rPr>
              <a:t>Organize SAP data through data products</a:t>
            </a:r>
            <a:endParaRPr lang="de-DE" sz="1400" dirty="0"/>
          </a:p>
        </p:txBody>
      </p:sp>
      <p:sp>
        <p:nvSpPr>
          <p:cNvPr id="3" name="Rectangle: Rounded Corners 10">
            <a:extLst>
              <a:ext uri="{FF2B5EF4-FFF2-40B4-BE49-F238E27FC236}">
                <a16:creationId xmlns:a16="http://schemas.microsoft.com/office/drawing/2014/main" id="{F43CF0BB-36E9-A5AB-92A8-81CD134E9E94}"/>
              </a:ext>
            </a:extLst>
          </p:cNvPr>
          <p:cNvSpPr/>
          <p:nvPr/>
        </p:nvSpPr>
        <p:spPr bwMode="auto">
          <a:xfrm>
            <a:off x="3347402" y="1877912"/>
            <a:ext cx="2636724" cy="3539387"/>
          </a:xfrm>
          <a:prstGeom prst="roundRect">
            <a:avLst>
              <a:gd name="adj" fmla="val 2461"/>
            </a:avLst>
          </a:prstGeom>
          <a:gradFill flip="none" rotWithShape="1">
            <a:gsLst>
              <a:gs pos="100000">
                <a:srgbClr val="EBF8FF"/>
              </a:gs>
              <a:gs pos="0">
                <a:schemeClr val="bg1"/>
              </a:gs>
            </a:gsLst>
            <a:lin ang="2700000" scaled="1"/>
            <a:tileRect/>
          </a:gradFill>
          <a:ln w="9525">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t" anchorCtr="0" forceAA="0" compatLnSpc="1">
            <a:prstTxWarp prst="textNoShape">
              <a:avLst/>
            </a:prstTxWarp>
            <a:noAutofit/>
          </a:bodyPr>
          <a:lstStyle/>
          <a:p>
            <a:pPr algn="ctr"/>
            <a:endParaRPr lang="en-US" sz="999">
              <a:solidFill>
                <a:srgbClr val="0070F2"/>
              </a:solidFill>
              <a:latin typeface="72 Brand Light" panose="020B0304030603020204" pitchFamily="34" charset="0"/>
            </a:endParaRPr>
          </a:p>
        </p:txBody>
      </p:sp>
      <p:sp>
        <p:nvSpPr>
          <p:cNvPr id="4" name="Rectangle: Rounded Corners 10">
            <a:extLst>
              <a:ext uri="{FF2B5EF4-FFF2-40B4-BE49-F238E27FC236}">
                <a16:creationId xmlns:a16="http://schemas.microsoft.com/office/drawing/2014/main" id="{9F8968D7-CED2-D4E7-4244-986C68CC0B52}"/>
              </a:ext>
            </a:extLst>
          </p:cNvPr>
          <p:cNvSpPr/>
          <p:nvPr/>
        </p:nvSpPr>
        <p:spPr bwMode="auto">
          <a:xfrm>
            <a:off x="6196589" y="1877912"/>
            <a:ext cx="2636724" cy="3539387"/>
          </a:xfrm>
          <a:prstGeom prst="roundRect">
            <a:avLst>
              <a:gd name="adj" fmla="val 2461"/>
            </a:avLst>
          </a:prstGeom>
          <a:gradFill flip="none" rotWithShape="1">
            <a:gsLst>
              <a:gs pos="100000">
                <a:srgbClr val="EBF8FF"/>
              </a:gs>
              <a:gs pos="0">
                <a:schemeClr val="bg1"/>
              </a:gs>
            </a:gsLst>
            <a:lin ang="2700000" scaled="1"/>
            <a:tileRect/>
          </a:gradFill>
          <a:ln w="9525">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t" anchorCtr="0" forceAA="0" compatLnSpc="1">
            <a:prstTxWarp prst="textNoShape">
              <a:avLst/>
            </a:prstTxWarp>
            <a:noAutofit/>
          </a:bodyPr>
          <a:lstStyle/>
          <a:p>
            <a:pPr algn="ctr"/>
            <a:endParaRPr lang="en-US" sz="999">
              <a:solidFill>
                <a:srgbClr val="0070F2"/>
              </a:solidFill>
              <a:latin typeface="72 Brand Light" panose="020B0304030603020204" pitchFamily="34" charset="0"/>
            </a:endParaRPr>
          </a:p>
        </p:txBody>
      </p:sp>
      <p:sp>
        <p:nvSpPr>
          <p:cNvPr id="5" name="Rectangle: Rounded Corners 10">
            <a:extLst>
              <a:ext uri="{FF2B5EF4-FFF2-40B4-BE49-F238E27FC236}">
                <a16:creationId xmlns:a16="http://schemas.microsoft.com/office/drawing/2014/main" id="{1050A086-EFCF-1A82-9826-D7FC3989469E}"/>
              </a:ext>
            </a:extLst>
          </p:cNvPr>
          <p:cNvSpPr/>
          <p:nvPr/>
        </p:nvSpPr>
        <p:spPr bwMode="auto">
          <a:xfrm>
            <a:off x="9045775" y="1877912"/>
            <a:ext cx="2636724" cy="3539387"/>
          </a:xfrm>
          <a:prstGeom prst="roundRect">
            <a:avLst>
              <a:gd name="adj" fmla="val 2461"/>
            </a:avLst>
          </a:prstGeom>
          <a:gradFill flip="none" rotWithShape="1">
            <a:gsLst>
              <a:gs pos="100000">
                <a:srgbClr val="EBF8FF"/>
              </a:gs>
              <a:gs pos="0">
                <a:schemeClr val="bg1"/>
              </a:gs>
            </a:gsLst>
            <a:lin ang="2700000" scaled="1"/>
            <a:tileRect/>
          </a:gradFill>
          <a:ln w="9525">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t" anchorCtr="0" forceAA="0" compatLnSpc="1">
            <a:prstTxWarp prst="textNoShape">
              <a:avLst/>
            </a:prstTxWarp>
            <a:noAutofit/>
          </a:bodyPr>
          <a:lstStyle/>
          <a:p>
            <a:pPr algn="ctr"/>
            <a:endParaRPr lang="en-US" sz="999">
              <a:solidFill>
                <a:srgbClr val="0070F2"/>
              </a:solidFill>
              <a:latin typeface="72 Brand Light" panose="020B0304030603020204" pitchFamily="34" charset="0"/>
            </a:endParaRPr>
          </a:p>
        </p:txBody>
      </p:sp>
      <p:sp>
        <p:nvSpPr>
          <p:cNvPr id="6" name="Rectangle: Rounded Corners 10">
            <a:extLst>
              <a:ext uri="{FF2B5EF4-FFF2-40B4-BE49-F238E27FC236}">
                <a16:creationId xmlns:a16="http://schemas.microsoft.com/office/drawing/2014/main" id="{DAEF9D7D-F683-E99E-1818-555EC946DE41}"/>
              </a:ext>
            </a:extLst>
          </p:cNvPr>
          <p:cNvSpPr/>
          <p:nvPr/>
        </p:nvSpPr>
        <p:spPr bwMode="auto">
          <a:xfrm>
            <a:off x="498216" y="1877912"/>
            <a:ext cx="2636724" cy="3539387"/>
          </a:xfrm>
          <a:prstGeom prst="roundRect">
            <a:avLst>
              <a:gd name="adj" fmla="val 2461"/>
            </a:avLst>
          </a:prstGeom>
          <a:gradFill flip="none" rotWithShape="1">
            <a:gsLst>
              <a:gs pos="100000">
                <a:srgbClr val="EBF8FF"/>
              </a:gs>
              <a:gs pos="0">
                <a:schemeClr val="bg1"/>
              </a:gs>
            </a:gsLst>
            <a:lin ang="2700000" scaled="1"/>
            <a:tileRect/>
          </a:gradFill>
          <a:ln w="9525">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t" anchorCtr="0" forceAA="0" compatLnSpc="1">
            <a:prstTxWarp prst="textNoShape">
              <a:avLst/>
            </a:prstTxWarp>
            <a:noAutofit/>
          </a:bodyPr>
          <a:lstStyle/>
          <a:p>
            <a:pPr algn="ctr"/>
            <a:endParaRPr lang="en-US" sz="999">
              <a:solidFill>
                <a:srgbClr val="0070F2"/>
              </a:solidFill>
              <a:latin typeface="72 Brand Light" panose="020B0304030603020204" pitchFamily="34" charset="0"/>
            </a:endParaRPr>
          </a:p>
        </p:txBody>
      </p:sp>
      <p:sp>
        <p:nvSpPr>
          <p:cNvPr id="7" name="TextBox 1">
            <a:extLst>
              <a:ext uri="{FF2B5EF4-FFF2-40B4-BE49-F238E27FC236}">
                <a16:creationId xmlns:a16="http://schemas.microsoft.com/office/drawing/2014/main" id="{EC3DDFB6-F32A-2B39-95F0-31FB47BBC52F}"/>
              </a:ext>
            </a:extLst>
          </p:cNvPr>
          <p:cNvSpPr txBox="1"/>
          <p:nvPr/>
        </p:nvSpPr>
        <p:spPr>
          <a:xfrm>
            <a:off x="508308" y="3598867"/>
            <a:ext cx="2626632" cy="1511213"/>
          </a:xfrm>
          <a:prstGeom prst="rect">
            <a:avLst/>
          </a:prstGeom>
          <a:noFill/>
        </p:spPr>
        <p:txBody>
          <a:bodyPr wrap="square" lIns="89953" tIns="89953" rIns="89953" bIns="89953">
            <a:noAutofit/>
          </a:bodyPr>
          <a:lstStyle/>
          <a:p>
            <a:pPr algn="ctr" defTabSz="913395">
              <a:defRPr/>
            </a:pPr>
            <a:r>
              <a:rPr lang="en-US" sz="1599" b="1" dirty="0">
                <a:solidFill>
                  <a:srgbClr val="002A86"/>
                </a:solidFill>
                <a:latin typeface="+mn-lt"/>
                <a:ea typeface="+mn-lt"/>
                <a:cs typeface="Arial" panose="020B0604020202020204" pitchFamily="34" charset="0"/>
              </a:rPr>
              <a:t>Business</a:t>
            </a:r>
            <a:r>
              <a:rPr lang="en-US" sz="1599" b="1" dirty="0">
                <a:solidFill>
                  <a:srgbClr val="002A86"/>
                </a:solidFill>
                <a:latin typeface="+mn-lt"/>
                <a:ea typeface="Open Sans SemiBold"/>
                <a:cs typeface="Arial" panose="020B0604020202020204" pitchFamily="34" charset="0"/>
              </a:rPr>
              <a:t> </a:t>
            </a:r>
            <a:r>
              <a:rPr lang="en-US" sz="1599" b="1" dirty="0">
                <a:solidFill>
                  <a:srgbClr val="002A86"/>
                </a:solidFill>
                <a:latin typeface="+mn-lt"/>
                <a:ea typeface="+mn-lt"/>
                <a:cs typeface="Arial" panose="020B0604020202020204" pitchFamily="34" charset="0"/>
              </a:rPr>
              <a:t>Data Sets </a:t>
            </a:r>
          </a:p>
          <a:p>
            <a:pPr algn="ctr" defTabSz="913395">
              <a:defRPr/>
            </a:pPr>
            <a:endParaRPr lang="en-US" sz="1399" b="1" dirty="0">
              <a:solidFill>
                <a:srgbClr val="002A86"/>
              </a:solidFill>
              <a:latin typeface="+mn-lt"/>
              <a:ea typeface="+mn-lt"/>
              <a:cs typeface="Arial" panose="020B0604020202020204" pitchFamily="34" charset="0"/>
            </a:endParaRPr>
          </a:p>
          <a:p>
            <a:pPr algn="ctr" defTabSz="913395">
              <a:defRPr/>
            </a:pPr>
            <a:r>
              <a:rPr lang="en-US" sz="1399" dirty="0">
                <a:solidFill>
                  <a:srgbClr val="002A86"/>
                </a:solidFill>
                <a:latin typeface="72 Brand Light" panose="020B0304030603020204" pitchFamily="34" charset="0"/>
                <a:ea typeface="+mn-lt"/>
                <a:cs typeface="Arial" panose="020B0604020202020204" pitchFamily="34" charset="0"/>
              </a:rPr>
              <a:t>Master and transactional objects/entities, analytical data sets, config data, etc.</a:t>
            </a:r>
            <a:br>
              <a:rPr lang="en-US" sz="1399" dirty="0">
                <a:solidFill>
                  <a:srgbClr val="002A86"/>
                </a:solidFill>
                <a:latin typeface="72 Brand Light" panose="020B0304030603020204" pitchFamily="34" charset="0"/>
                <a:ea typeface="+mn-lt"/>
                <a:cs typeface="Arial" panose="020B0604020202020204" pitchFamily="34" charset="0"/>
              </a:rPr>
            </a:br>
            <a:r>
              <a:rPr lang="en-US" sz="1399" dirty="0">
                <a:solidFill>
                  <a:srgbClr val="002A86"/>
                </a:solidFill>
                <a:latin typeface="72 Brand Light" panose="020B0304030603020204" pitchFamily="34" charset="0"/>
                <a:ea typeface="+mn-lt"/>
                <a:cs typeface="Arial" panose="020B0604020202020204" pitchFamily="34" charset="0"/>
              </a:rPr>
              <a:t>all semantically aligned</a:t>
            </a:r>
          </a:p>
        </p:txBody>
      </p:sp>
      <p:sp>
        <p:nvSpPr>
          <p:cNvPr id="8" name="TextBox 2">
            <a:extLst>
              <a:ext uri="{FF2B5EF4-FFF2-40B4-BE49-F238E27FC236}">
                <a16:creationId xmlns:a16="http://schemas.microsoft.com/office/drawing/2014/main" id="{37D03E48-5536-0BA3-C5DE-BBC16B6D39A4}"/>
              </a:ext>
            </a:extLst>
          </p:cNvPr>
          <p:cNvSpPr txBox="1"/>
          <p:nvPr/>
        </p:nvSpPr>
        <p:spPr>
          <a:xfrm>
            <a:off x="6206681" y="3598867"/>
            <a:ext cx="2626632" cy="1511213"/>
          </a:xfrm>
          <a:prstGeom prst="rect">
            <a:avLst/>
          </a:prstGeom>
          <a:noFill/>
        </p:spPr>
        <p:txBody>
          <a:bodyPr wrap="square" lIns="89953" tIns="89953" rIns="89953" bIns="89953">
            <a:noAutofit/>
          </a:bodyPr>
          <a:lstStyle/>
          <a:p>
            <a:pPr algn="ctr" defTabSz="913395">
              <a:defRPr/>
            </a:pPr>
            <a:r>
              <a:rPr lang="en-US" sz="1599" b="1">
                <a:solidFill>
                  <a:srgbClr val="002A86"/>
                </a:solidFill>
                <a:latin typeface="+mn-lt"/>
                <a:ea typeface="+mn-lt"/>
                <a:cs typeface="Arial" panose="020B0604020202020204" pitchFamily="34" charset="0"/>
              </a:rPr>
              <a:t>Easily Consumable</a:t>
            </a:r>
          </a:p>
          <a:p>
            <a:pPr algn="ctr" defTabSz="913395">
              <a:defRPr/>
            </a:pPr>
            <a:endParaRPr lang="en-US" sz="1399" b="1">
              <a:solidFill>
                <a:srgbClr val="002A86"/>
              </a:solidFill>
              <a:latin typeface="+mn-lt"/>
              <a:ea typeface="+mn-lt"/>
              <a:cs typeface="Arial" panose="020B0604020202020204" pitchFamily="34" charset="0"/>
            </a:endParaRPr>
          </a:p>
          <a:p>
            <a:pPr algn="ctr" defTabSz="913395">
              <a:defRPr/>
            </a:pPr>
            <a:r>
              <a:rPr lang="en-US" sz="1399">
                <a:solidFill>
                  <a:srgbClr val="002A86"/>
                </a:solidFill>
                <a:latin typeface="72 Brand Light" panose="020B0304030603020204" pitchFamily="34" charset="0"/>
                <a:ea typeface="+mn-lt"/>
                <a:cs typeface="Arial" panose="020B0604020202020204" pitchFamily="34" charset="0"/>
              </a:rPr>
              <a:t>Simple SaaS access from data modeling and BI tools, while fully integrated with data engineering tools</a:t>
            </a:r>
          </a:p>
          <a:p>
            <a:pPr algn="ctr" defTabSz="913395">
              <a:defRPr/>
            </a:pPr>
            <a:endParaRPr lang="en-US" sz="1399" b="1">
              <a:solidFill>
                <a:srgbClr val="002A86"/>
              </a:solidFill>
              <a:latin typeface="+mn-lt"/>
              <a:ea typeface="+mn-lt"/>
              <a:cs typeface="Arial" panose="020B0604020202020204" pitchFamily="34" charset="0"/>
            </a:endParaRPr>
          </a:p>
        </p:txBody>
      </p:sp>
      <p:sp>
        <p:nvSpPr>
          <p:cNvPr id="9" name="TextBox 3">
            <a:extLst>
              <a:ext uri="{FF2B5EF4-FFF2-40B4-BE49-F238E27FC236}">
                <a16:creationId xmlns:a16="http://schemas.microsoft.com/office/drawing/2014/main" id="{DBC9C0F2-780F-FE57-2471-0B57D8DAA228}"/>
              </a:ext>
            </a:extLst>
          </p:cNvPr>
          <p:cNvSpPr txBox="1"/>
          <p:nvPr/>
        </p:nvSpPr>
        <p:spPr>
          <a:xfrm>
            <a:off x="3357495" y="3598866"/>
            <a:ext cx="2626632" cy="1511213"/>
          </a:xfrm>
          <a:prstGeom prst="rect">
            <a:avLst/>
          </a:prstGeom>
          <a:noFill/>
        </p:spPr>
        <p:txBody>
          <a:bodyPr wrap="square" lIns="89953" tIns="89953" rIns="89953" bIns="89953">
            <a:noAutofit/>
          </a:bodyPr>
          <a:lstStyle/>
          <a:p>
            <a:pPr algn="ctr" defTabSz="913395">
              <a:defRPr/>
            </a:pPr>
            <a:r>
              <a:rPr lang="en-US" sz="1599" b="1">
                <a:solidFill>
                  <a:srgbClr val="002A86"/>
                </a:solidFill>
                <a:latin typeface="+mn-lt"/>
                <a:ea typeface="+mn-lt"/>
                <a:cs typeface="Arial" panose="020B0604020202020204" pitchFamily="34" charset="0"/>
              </a:rPr>
              <a:t>Well Described</a:t>
            </a:r>
          </a:p>
          <a:p>
            <a:pPr algn="ctr" defTabSz="913395">
              <a:defRPr/>
            </a:pPr>
            <a:endParaRPr lang="en-US" sz="1399" b="1">
              <a:solidFill>
                <a:srgbClr val="002A86"/>
              </a:solidFill>
              <a:latin typeface="+mn-lt"/>
              <a:ea typeface="+mn-lt"/>
              <a:cs typeface="Arial" panose="020B0604020202020204" pitchFamily="34" charset="0"/>
            </a:endParaRPr>
          </a:p>
          <a:p>
            <a:pPr algn="ctr" defTabSz="913395">
              <a:defRPr/>
            </a:pPr>
            <a:r>
              <a:rPr lang="en-US" sz="1399">
                <a:solidFill>
                  <a:srgbClr val="002A86"/>
                </a:solidFill>
                <a:latin typeface="72 Brand Light" panose="020B0304030603020204" pitchFamily="34" charset="0"/>
                <a:ea typeface="+mn-lt"/>
                <a:cs typeface="Arial" panose="020B0604020202020204" pitchFamily="34" charset="0"/>
              </a:rPr>
              <a:t>via rich metadata descriptions and including semantics</a:t>
            </a:r>
          </a:p>
        </p:txBody>
      </p:sp>
      <p:sp>
        <p:nvSpPr>
          <p:cNvPr id="10" name="TextBox 4">
            <a:extLst>
              <a:ext uri="{FF2B5EF4-FFF2-40B4-BE49-F238E27FC236}">
                <a16:creationId xmlns:a16="http://schemas.microsoft.com/office/drawing/2014/main" id="{91608824-6A2D-EE91-7CA6-EEE23F9CAA4A}"/>
              </a:ext>
            </a:extLst>
          </p:cNvPr>
          <p:cNvSpPr txBox="1"/>
          <p:nvPr/>
        </p:nvSpPr>
        <p:spPr>
          <a:xfrm>
            <a:off x="9055867" y="3598866"/>
            <a:ext cx="2626632" cy="1511213"/>
          </a:xfrm>
          <a:prstGeom prst="rect">
            <a:avLst/>
          </a:prstGeom>
          <a:noFill/>
        </p:spPr>
        <p:txBody>
          <a:bodyPr wrap="square" lIns="89953" tIns="89953" rIns="89953" bIns="89953">
            <a:noAutofit/>
          </a:bodyPr>
          <a:lstStyle/>
          <a:p>
            <a:pPr algn="ctr" defTabSz="913395">
              <a:defRPr/>
            </a:pPr>
            <a:r>
              <a:rPr lang="en-US" sz="1599" b="1">
                <a:solidFill>
                  <a:srgbClr val="002A86"/>
                </a:solidFill>
                <a:latin typeface="+mn-lt"/>
                <a:ea typeface="+mn-lt"/>
                <a:cs typeface="Arial" panose="020B0604020202020204" pitchFamily="34" charset="0"/>
              </a:rPr>
              <a:t>Discoverable</a:t>
            </a:r>
          </a:p>
          <a:p>
            <a:pPr algn="ctr" defTabSz="913395">
              <a:defRPr/>
            </a:pPr>
            <a:endParaRPr lang="en-US" sz="1399" b="1">
              <a:solidFill>
                <a:srgbClr val="002A86"/>
              </a:solidFill>
              <a:latin typeface="+mn-lt"/>
              <a:ea typeface="+mn-lt"/>
              <a:cs typeface="Arial" panose="020B0604020202020204" pitchFamily="34" charset="0"/>
            </a:endParaRPr>
          </a:p>
          <a:p>
            <a:pPr algn="ctr" defTabSz="913395">
              <a:defRPr/>
            </a:pPr>
            <a:r>
              <a:rPr lang="en-US" sz="1399">
                <a:solidFill>
                  <a:srgbClr val="002A86"/>
                </a:solidFill>
                <a:latin typeface="72 Brand Light" panose="020B0304030603020204" pitchFamily="34" charset="0"/>
                <a:ea typeface="+mn-lt"/>
                <a:cs typeface="Arial" panose="020B0604020202020204" pitchFamily="34" charset="0"/>
              </a:rPr>
              <a:t>via an </a:t>
            </a:r>
            <a:br>
              <a:rPr lang="en-US" sz="1399">
                <a:solidFill>
                  <a:srgbClr val="002A86"/>
                </a:solidFill>
                <a:latin typeface="72 Brand Light" panose="020B0304030603020204" pitchFamily="34" charset="0"/>
                <a:ea typeface="+mn-lt"/>
                <a:cs typeface="Arial" panose="020B0604020202020204" pitchFamily="34" charset="0"/>
              </a:rPr>
            </a:br>
            <a:r>
              <a:rPr lang="en-US" sz="1399">
                <a:solidFill>
                  <a:srgbClr val="002A86"/>
                </a:solidFill>
                <a:latin typeface="72 Brand Light" panose="020B0304030603020204" pitchFamily="34" charset="0"/>
                <a:ea typeface="+mn-lt"/>
                <a:cs typeface="Arial" panose="020B0604020202020204" pitchFamily="34" charset="0"/>
              </a:rPr>
              <a:t>SAP data product catalog</a:t>
            </a:r>
          </a:p>
        </p:txBody>
      </p:sp>
      <p:pic>
        <p:nvPicPr>
          <p:cNvPr id="11" name="Graphic 10">
            <a:extLst>
              <a:ext uri="{FF2B5EF4-FFF2-40B4-BE49-F238E27FC236}">
                <a16:creationId xmlns:a16="http://schemas.microsoft.com/office/drawing/2014/main" id="{7C77D717-8AC5-129C-004E-59EF43D6A9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27933" y="2190436"/>
            <a:ext cx="1187381" cy="1117536"/>
          </a:xfrm>
          <a:prstGeom prst="rect">
            <a:avLst/>
          </a:prstGeom>
        </p:spPr>
      </p:pic>
      <p:pic>
        <p:nvPicPr>
          <p:cNvPr id="12" name="Graphic 22">
            <a:extLst>
              <a:ext uri="{FF2B5EF4-FFF2-40B4-BE49-F238E27FC236}">
                <a16:creationId xmlns:a16="http://schemas.microsoft.com/office/drawing/2014/main" id="{726E27FB-EB51-ADA4-A2B1-E1A9B816E35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95111" y="2365404"/>
            <a:ext cx="1151400" cy="767600"/>
          </a:xfrm>
          <a:prstGeom prst="rect">
            <a:avLst/>
          </a:prstGeom>
        </p:spPr>
      </p:pic>
      <p:pic>
        <p:nvPicPr>
          <p:cNvPr id="13" name="Graphic 25">
            <a:extLst>
              <a:ext uri="{FF2B5EF4-FFF2-40B4-BE49-F238E27FC236}">
                <a16:creationId xmlns:a16="http://schemas.microsoft.com/office/drawing/2014/main" id="{F7FBA662-244A-161D-C3F4-65F5323499F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62288" y="2253463"/>
            <a:ext cx="1115419" cy="991483"/>
          </a:xfrm>
          <a:prstGeom prst="rect">
            <a:avLst/>
          </a:prstGeom>
        </p:spPr>
      </p:pic>
      <p:pic>
        <p:nvPicPr>
          <p:cNvPr id="14" name="Graphic 29">
            <a:extLst>
              <a:ext uri="{FF2B5EF4-FFF2-40B4-BE49-F238E27FC236}">
                <a16:creationId xmlns:a16="http://schemas.microsoft.com/office/drawing/2014/main" id="{B8CA48B8-6B31-F546-78DE-39CA45688E9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29464" y="2241238"/>
            <a:ext cx="1079438" cy="1015933"/>
          </a:xfrm>
          <a:prstGeom prst="rect">
            <a:avLst/>
          </a:prstGeom>
        </p:spPr>
      </p:pic>
      <p:sp>
        <p:nvSpPr>
          <p:cNvPr id="15" name="Oval 14">
            <a:extLst>
              <a:ext uri="{FF2B5EF4-FFF2-40B4-BE49-F238E27FC236}">
                <a16:creationId xmlns:a16="http://schemas.microsoft.com/office/drawing/2014/main" id="{4BB0FCFD-5225-431B-A130-9CE80561BECC}"/>
              </a:ext>
              <a:ext uri="{C183D7F6-B498-43B3-948B-1728B52AA6E4}">
                <adec:decorative xmlns:adec="http://schemas.microsoft.com/office/drawing/2017/decorative" val="1"/>
              </a:ext>
            </a:extLst>
          </p:cNvPr>
          <p:cNvSpPr/>
          <p:nvPr/>
        </p:nvSpPr>
        <p:spPr bwMode="gray">
          <a:xfrm>
            <a:off x="10807846" y="550199"/>
            <a:ext cx="740337" cy="740336"/>
          </a:xfrm>
          <a:prstGeom prst="ellipse">
            <a:avLst/>
          </a:prstGeom>
          <a:noFill/>
          <a:ln w="12700" algn="ctr">
            <a:gradFill>
              <a:gsLst>
                <a:gs pos="0">
                  <a:srgbClr val="89D1FF"/>
                </a:gs>
                <a:gs pos="100000">
                  <a:srgbClr val="1B90FF"/>
                </a:gs>
              </a:gsLst>
              <a:lin ang="5400000" scaled="1"/>
            </a:grad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
        <p:nvSpPr>
          <p:cNvPr id="16" name="Rectangle: Rounded Corners 1922">
            <a:extLst>
              <a:ext uri="{FF2B5EF4-FFF2-40B4-BE49-F238E27FC236}">
                <a16:creationId xmlns:a16="http://schemas.microsoft.com/office/drawing/2014/main" id="{6A69C3F7-62AC-E7A4-6F57-7C20320F64A7}"/>
              </a:ext>
            </a:extLst>
          </p:cNvPr>
          <p:cNvSpPr/>
          <p:nvPr/>
        </p:nvSpPr>
        <p:spPr bwMode="gray">
          <a:xfrm>
            <a:off x="10666040" y="501842"/>
            <a:ext cx="1023949" cy="234614"/>
          </a:xfrm>
          <a:prstGeom prst="roundRect">
            <a:avLst>
              <a:gd name="adj" fmla="val 14916"/>
            </a:avLst>
          </a:prstGeom>
          <a:solidFill>
            <a:srgbClr val="7858FF"/>
          </a:solidFill>
          <a:ln w="15238" cap="flat">
            <a:noFill/>
            <a:prstDash val="solid"/>
            <a:miter/>
          </a:ln>
        </p:spPr>
        <p:txBody>
          <a:bodyPr rtlCol="0" anchor="ctr"/>
          <a:lstStyle/>
          <a:p>
            <a:pPr algn="ctr" defTabSz="1088122"/>
            <a:r>
              <a:rPr lang="en-US" sz="1100">
                <a:gradFill>
                  <a:gsLst>
                    <a:gs pos="0">
                      <a:schemeClr val="bg1"/>
                    </a:gs>
                    <a:gs pos="100000">
                      <a:schemeClr val="bg1"/>
                    </a:gs>
                  </a:gsLst>
                  <a:lin ang="0" scaled="0"/>
                </a:gradFill>
                <a:latin typeface="+mj-lt"/>
              </a:rPr>
              <a:t>AI</a:t>
            </a:r>
          </a:p>
        </p:txBody>
      </p:sp>
      <p:sp>
        <p:nvSpPr>
          <p:cNvPr id="17" name="Rectangle: Rounded Corners 1926">
            <a:extLst>
              <a:ext uri="{FF2B5EF4-FFF2-40B4-BE49-F238E27FC236}">
                <a16:creationId xmlns:a16="http://schemas.microsoft.com/office/drawing/2014/main" id="{C2CA4359-5FCD-71B6-EFD1-0C25AEC99649}"/>
              </a:ext>
            </a:extLst>
          </p:cNvPr>
          <p:cNvSpPr/>
          <p:nvPr/>
        </p:nvSpPr>
        <p:spPr bwMode="gray">
          <a:xfrm>
            <a:off x="10666040" y="1104278"/>
            <a:ext cx="1023949" cy="234614"/>
          </a:xfrm>
          <a:prstGeom prst="roundRect">
            <a:avLst>
              <a:gd name="adj" fmla="val 16401"/>
            </a:avLst>
          </a:prstGeom>
          <a:gradFill flip="none" rotWithShape="1">
            <a:gsLst>
              <a:gs pos="0">
                <a:srgbClr val="A6E0FF"/>
              </a:gs>
              <a:gs pos="100000">
                <a:srgbClr val="89D1FF"/>
              </a:gs>
            </a:gsLst>
            <a:lin ang="2700000" scaled="1"/>
            <a:tileRect/>
          </a:gradFill>
          <a:ln w="15238" cap="flat">
            <a:noFill/>
            <a:prstDash val="solid"/>
            <a:miter/>
          </a:ln>
        </p:spPr>
        <p:txBody>
          <a:bodyPr lIns="91440" tIns="91440" rIns="91440" bIns="91440" rtlCol="0" anchor="ctr"/>
          <a:lstStyle/>
          <a:p>
            <a:pPr algn="ctr" defTabSz="913943" fontAlgn="base">
              <a:spcAft>
                <a:spcPts val="600"/>
              </a:spcAft>
              <a:buClr>
                <a:srgbClr val="F0AB00"/>
              </a:buClr>
              <a:buSzPct val="80000"/>
            </a:pPr>
            <a:r>
              <a:rPr lang="en-US" sz="1100" kern="0">
                <a:latin typeface="+mj-lt"/>
              </a:rPr>
              <a:t>Applications</a:t>
            </a:r>
          </a:p>
        </p:txBody>
      </p:sp>
      <p:sp>
        <p:nvSpPr>
          <p:cNvPr id="18" name="Rectangle 1925">
            <a:extLst>
              <a:ext uri="{FF2B5EF4-FFF2-40B4-BE49-F238E27FC236}">
                <a16:creationId xmlns:a16="http://schemas.microsoft.com/office/drawing/2014/main" id="{E856D120-08AC-9553-9596-37236EF44F3A}"/>
              </a:ext>
              <a:ext uri="{C183D7F6-B498-43B3-948B-1728B52AA6E4}">
                <adec:decorative xmlns:adec="http://schemas.microsoft.com/office/drawing/2017/decorative" val="1"/>
              </a:ext>
            </a:extLst>
          </p:cNvPr>
          <p:cNvSpPr/>
          <p:nvPr/>
        </p:nvSpPr>
        <p:spPr bwMode="gray">
          <a:xfrm>
            <a:off x="10628148" y="444958"/>
            <a:ext cx="1055852" cy="316934"/>
          </a:xfrm>
          <a:prstGeom prst="rect">
            <a:avLst/>
          </a:prstGeom>
          <a:solidFill>
            <a:schemeClr val="bg1">
              <a:alpha val="80000"/>
            </a:schemeClr>
          </a:solidFill>
          <a:ln w="25400" algn="ctr">
            <a:no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
        <p:nvSpPr>
          <p:cNvPr id="19" name="Rectangle: Rounded Corners 1924">
            <a:extLst>
              <a:ext uri="{FF2B5EF4-FFF2-40B4-BE49-F238E27FC236}">
                <a16:creationId xmlns:a16="http://schemas.microsoft.com/office/drawing/2014/main" id="{E0681376-08EF-7D79-0D03-52408ED89B06}"/>
              </a:ext>
            </a:extLst>
          </p:cNvPr>
          <p:cNvSpPr/>
          <p:nvPr/>
        </p:nvSpPr>
        <p:spPr bwMode="gray">
          <a:xfrm>
            <a:off x="10666040" y="803060"/>
            <a:ext cx="1023949" cy="234614"/>
          </a:xfrm>
          <a:prstGeom prst="roundRect">
            <a:avLst>
              <a:gd name="adj" fmla="val 17081"/>
            </a:avLst>
          </a:prstGeom>
          <a:solidFill>
            <a:srgbClr val="0070F2"/>
          </a:solidFill>
          <a:ln w="15238" cap="flat">
            <a:noFill/>
            <a:prstDash val="solid"/>
            <a:miter/>
          </a:ln>
        </p:spPr>
        <p:txBody>
          <a:bodyPr rtlCol="0" anchor="ctr"/>
          <a:lstStyle/>
          <a:p>
            <a:pPr algn="ctr" defTabSz="1088122"/>
            <a:r>
              <a:rPr lang="en-US" sz="1100">
                <a:gradFill>
                  <a:gsLst>
                    <a:gs pos="0">
                      <a:schemeClr val="bg1"/>
                    </a:gs>
                    <a:gs pos="100000">
                      <a:schemeClr val="bg1"/>
                    </a:gs>
                  </a:gsLst>
                  <a:lin ang="0" scaled="0"/>
                </a:gradFill>
                <a:latin typeface="+mj-lt"/>
              </a:rPr>
              <a:t>Data</a:t>
            </a:r>
          </a:p>
        </p:txBody>
      </p:sp>
      <p:sp>
        <p:nvSpPr>
          <p:cNvPr id="20" name="Rectangle 4">
            <a:extLst>
              <a:ext uri="{FF2B5EF4-FFF2-40B4-BE49-F238E27FC236}">
                <a16:creationId xmlns:a16="http://schemas.microsoft.com/office/drawing/2014/main" id="{22837A10-3D6C-45F3-6F74-ADC1AC458201}"/>
              </a:ext>
              <a:ext uri="{C183D7F6-B498-43B3-948B-1728B52AA6E4}">
                <adec:decorative xmlns:adec="http://schemas.microsoft.com/office/drawing/2017/decorative" val="1"/>
              </a:ext>
            </a:extLst>
          </p:cNvPr>
          <p:cNvSpPr/>
          <p:nvPr/>
        </p:nvSpPr>
        <p:spPr bwMode="gray">
          <a:xfrm>
            <a:off x="10659690" y="1040631"/>
            <a:ext cx="1038552" cy="308564"/>
          </a:xfrm>
          <a:prstGeom prst="rect">
            <a:avLst/>
          </a:prstGeom>
          <a:solidFill>
            <a:schemeClr val="bg1">
              <a:alpha val="80000"/>
            </a:schemeClr>
          </a:solidFill>
          <a:ln w="25400" algn="ctr">
            <a:no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Tree>
    <p:extLst>
      <p:ext uri="{BB962C8B-B14F-4D97-AF65-F5344CB8AC3E}">
        <p14:creationId xmlns:p14="http://schemas.microsoft.com/office/powerpoint/2010/main" val="26668336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75CFED-3EC1-E676-3C71-3CB53D15EBE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F042B4C-DCE0-B5B4-C6FC-7BF71EC030FD}"/>
              </a:ext>
            </a:extLst>
          </p:cNvPr>
          <p:cNvSpPr>
            <a:spLocks noGrp="1"/>
          </p:cNvSpPr>
          <p:nvPr>
            <p:ph type="title"/>
          </p:nvPr>
        </p:nvSpPr>
        <p:spPr/>
        <p:txBody>
          <a:bodyPr/>
          <a:lstStyle/>
          <a:p>
            <a:r>
              <a:rPr lang="en-US" sz="2400" b="1" dirty="0">
                <a:solidFill>
                  <a:schemeClr val="tx1"/>
                </a:solidFill>
                <a:latin typeface="+mj-lt"/>
              </a:rPr>
              <a:t>What are insight apps in SAP Business Data Cloud?</a:t>
            </a:r>
          </a:p>
        </p:txBody>
      </p:sp>
      <p:grpSp>
        <p:nvGrpSpPr>
          <p:cNvPr id="95" name="Group 94">
            <a:extLst>
              <a:ext uri="{FF2B5EF4-FFF2-40B4-BE49-F238E27FC236}">
                <a16:creationId xmlns:a16="http://schemas.microsoft.com/office/drawing/2014/main" id="{ACAF88BA-77C9-6093-42E5-05381B4E877A}"/>
              </a:ext>
            </a:extLst>
          </p:cNvPr>
          <p:cNvGrpSpPr/>
          <p:nvPr/>
        </p:nvGrpSpPr>
        <p:grpSpPr>
          <a:xfrm>
            <a:off x="497159" y="1705182"/>
            <a:ext cx="6274583" cy="4229135"/>
            <a:chOff x="497418" y="1534468"/>
            <a:chExt cx="6277852" cy="4231338"/>
          </a:xfrm>
        </p:grpSpPr>
        <p:grpSp>
          <p:nvGrpSpPr>
            <p:cNvPr id="13" name="Group 12">
              <a:extLst>
                <a:ext uri="{FF2B5EF4-FFF2-40B4-BE49-F238E27FC236}">
                  <a16:creationId xmlns:a16="http://schemas.microsoft.com/office/drawing/2014/main" id="{442BB569-BF52-1045-89E3-B72180498B4D}"/>
                </a:ext>
              </a:extLst>
            </p:cNvPr>
            <p:cNvGrpSpPr/>
            <p:nvPr/>
          </p:nvGrpSpPr>
          <p:grpSpPr>
            <a:xfrm>
              <a:off x="2011577" y="4535574"/>
              <a:ext cx="3130699" cy="1230232"/>
              <a:chOff x="2255795" y="4726073"/>
              <a:chExt cx="3130699" cy="1230232"/>
            </a:xfrm>
          </p:grpSpPr>
          <p:grpSp>
            <p:nvGrpSpPr>
              <p:cNvPr id="15" name="Group 14">
                <a:extLst>
                  <a:ext uri="{FF2B5EF4-FFF2-40B4-BE49-F238E27FC236}">
                    <a16:creationId xmlns:a16="http://schemas.microsoft.com/office/drawing/2014/main" id="{02E2DB40-B7C2-3BE7-B24C-A89BE5186E9B}"/>
                  </a:ext>
                </a:extLst>
              </p:cNvPr>
              <p:cNvGrpSpPr/>
              <p:nvPr/>
            </p:nvGrpSpPr>
            <p:grpSpPr>
              <a:xfrm>
                <a:off x="2255795" y="4726073"/>
                <a:ext cx="1462770" cy="1230232"/>
                <a:chOff x="6532516" y="1022551"/>
                <a:chExt cx="1777854" cy="1495228"/>
              </a:xfrm>
            </p:grpSpPr>
            <p:grpSp>
              <p:nvGrpSpPr>
                <p:cNvPr id="17" name="Group 16">
                  <a:extLst>
                    <a:ext uri="{FF2B5EF4-FFF2-40B4-BE49-F238E27FC236}">
                      <a16:creationId xmlns:a16="http://schemas.microsoft.com/office/drawing/2014/main" id="{359FEF7B-8D03-A00E-AB42-0C5CC6D85B4A}"/>
                    </a:ext>
                  </a:extLst>
                </p:cNvPr>
                <p:cNvGrpSpPr/>
                <p:nvPr/>
              </p:nvGrpSpPr>
              <p:grpSpPr>
                <a:xfrm>
                  <a:off x="7311061" y="1022551"/>
                  <a:ext cx="999309" cy="569719"/>
                  <a:chOff x="6647645" y="2146726"/>
                  <a:chExt cx="999309" cy="569719"/>
                </a:xfrm>
              </p:grpSpPr>
              <p:sp>
                <p:nvSpPr>
                  <p:cNvPr id="60" name="Rectangle: Rounded Corners 59">
                    <a:extLst>
                      <a:ext uri="{FF2B5EF4-FFF2-40B4-BE49-F238E27FC236}">
                        <a16:creationId xmlns:a16="http://schemas.microsoft.com/office/drawing/2014/main" id="{35CC5CD9-C593-3D38-EDC5-51D6B2D9434B}"/>
                      </a:ext>
                    </a:extLst>
                  </p:cNvPr>
                  <p:cNvSpPr/>
                  <p:nvPr/>
                </p:nvSpPr>
                <p:spPr bwMode="auto">
                  <a:xfrm>
                    <a:off x="6648499" y="2146726"/>
                    <a:ext cx="998455" cy="569719"/>
                  </a:xfrm>
                  <a:prstGeom prst="roundRect">
                    <a:avLst>
                      <a:gd name="adj" fmla="val 8384"/>
                    </a:avLst>
                  </a:prstGeom>
                  <a:gradFill>
                    <a:gsLst>
                      <a:gs pos="0">
                        <a:schemeClr val="bg1">
                          <a:alpha val="60000"/>
                        </a:schemeClr>
                      </a:gs>
                      <a:gs pos="100000">
                        <a:schemeClr val="bg1"/>
                      </a:gs>
                    </a:gsLst>
                    <a:lin ang="2700000" scaled="1"/>
                  </a:gradFill>
                  <a:ln>
                    <a:gradFill flip="none" rotWithShape="1">
                      <a:gsLst>
                        <a:gs pos="0">
                          <a:srgbClr val="A6E0FF">
                            <a:alpha val="28000"/>
                          </a:srgb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eaLnBrk="0" fontAlgn="base" hangingPunct="0">
                      <a:spcBef>
                        <a:spcPct val="0"/>
                      </a:spcBef>
                      <a:spcAft>
                        <a:spcPct val="0"/>
                      </a:spcAft>
                      <a:defRPr/>
                    </a:pPr>
                    <a:endParaRPr lang="en-US" sz="1999">
                      <a:gradFill>
                        <a:gsLst>
                          <a:gs pos="0">
                            <a:srgbClr val="FFFFFF"/>
                          </a:gs>
                          <a:gs pos="100000">
                            <a:srgbClr val="FFFFFF"/>
                          </a:gs>
                        </a:gsLst>
                        <a:lin ang="5400000" scaled="1"/>
                      </a:gradFill>
                      <a:latin typeface="72 Brand" panose="020B0504030603020204" pitchFamily="34" charset="0"/>
                    </a:endParaRPr>
                  </a:p>
                </p:txBody>
              </p:sp>
              <p:grpSp>
                <p:nvGrpSpPr>
                  <p:cNvPr id="61" name="Group 60">
                    <a:extLst>
                      <a:ext uri="{FF2B5EF4-FFF2-40B4-BE49-F238E27FC236}">
                        <a16:creationId xmlns:a16="http://schemas.microsoft.com/office/drawing/2014/main" id="{8E63B3C4-4F1B-DB7B-6BF7-16D606CA13A3}"/>
                      </a:ext>
                    </a:extLst>
                  </p:cNvPr>
                  <p:cNvGrpSpPr/>
                  <p:nvPr/>
                </p:nvGrpSpPr>
                <p:grpSpPr>
                  <a:xfrm>
                    <a:off x="6738016" y="2328270"/>
                    <a:ext cx="837050" cy="277112"/>
                    <a:chOff x="9292114" y="2827321"/>
                    <a:chExt cx="617858" cy="204547"/>
                  </a:xfrm>
                </p:grpSpPr>
                <p:sp>
                  <p:nvSpPr>
                    <p:cNvPr id="63" name="Freeform: Shape 62">
                      <a:extLst>
                        <a:ext uri="{FF2B5EF4-FFF2-40B4-BE49-F238E27FC236}">
                          <a16:creationId xmlns:a16="http://schemas.microsoft.com/office/drawing/2014/main" id="{25FC51F4-EEF2-D66B-A9C2-BDE04B819E1C}"/>
                        </a:ext>
                      </a:extLst>
                    </p:cNvPr>
                    <p:cNvSpPr/>
                    <p:nvPr/>
                  </p:nvSpPr>
                  <p:spPr>
                    <a:xfrm>
                      <a:off x="9292114" y="2827321"/>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pPr defTabSz="1088232">
                        <a:defRPr/>
                      </a:pPr>
                      <a:endParaRPr lang="en-US" sz="2099">
                        <a:solidFill>
                          <a:srgbClr val="000000"/>
                        </a:solidFill>
                      </a:endParaRPr>
                    </a:p>
                  </p:txBody>
                </p:sp>
                <p:sp>
                  <p:nvSpPr>
                    <p:cNvPr id="64" name="Freeform: Shape 63">
                      <a:extLst>
                        <a:ext uri="{FF2B5EF4-FFF2-40B4-BE49-F238E27FC236}">
                          <a16:creationId xmlns:a16="http://schemas.microsoft.com/office/drawing/2014/main" id="{3EBE9EFC-86C0-1DE1-23E1-ABB1F1C8F14F}"/>
                        </a:ext>
                      </a:extLst>
                    </p:cNvPr>
                    <p:cNvSpPr/>
                    <p:nvPr/>
                  </p:nvSpPr>
                  <p:spPr>
                    <a:xfrm>
                      <a:off x="9292114" y="2967240"/>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FFB300"/>
                    </a:solidFill>
                    <a:ln w="1853" cap="flat">
                      <a:noFill/>
                      <a:prstDash val="solid"/>
                      <a:miter/>
                    </a:ln>
                  </p:spPr>
                  <p:txBody>
                    <a:bodyPr rtlCol="0" anchor="ctr"/>
                    <a:lstStyle/>
                    <a:p>
                      <a:pPr defTabSz="1088232">
                        <a:defRPr/>
                      </a:pPr>
                      <a:endParaRPr lang="en-US" sz="2099">
                        <a:solidFill>
                          <a:srgbClr val="000000"/>
                        </a:solidFill>
                      </a:endParaRPr>
                    </a:p>
                  </p:txBody>
                </p:sp>
                <p:sp>
                  <p:nvSpPr>
                    <p:cNvPr id="65" name="Freeform: Shape 64">
                      <a:extLst>
                        <a:ext uri="{FF2B5EF4-FFF2-40B4-BE49-F238E27FC236}">
                          <a16:creationId xmlns:a16="http://schemas.microsoft.com/office/drawing/2014/main" id="{A08A6A15-4204-BA13-3152-66B96A356C57}"/>
                        </a:ext>
                      </a:extLst>
                    </p:cNvPr>
                    <p:cNvSpPr/>
                    <p:nvPr/>
                  </p:nvSpPr>
                  <p:spPr>
                    <a:xfrm>
                      <a:off x="9502360" y="2961166"/>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pPr defTabSz="1088232">
                        <a:defRPr/>
                      </a:pPr>
                      <a:endParaRPr lang="en-US" sz="2099">
                        <a:solidFill>
                          <a:srgbClr val="000000"/>
                        </a:solidFill>
                      </a:endParaRPr>
                    </a:p>
                  </p:txBody>
                </p:sp>
                <p:sp>
                  <p:nvSpPr>
                    <p:cNvPr id="66" name="Freeform: Shape 65">
                      <a:extLst>
                        <a:ext uri="{FF2B5EF4-FFF2-40B4-BE49-F238E27FC236}">
                          <a16:creationId xmlns:a16="http://schemas.microsoft.com/office/drawing/2014/main" id="{59A9D2E6-1705-A835-A118-ECCF31FB1BD3}"/>
                        </a:ext>
                      </a:extLst>
                    </p:cNvPr>
                    <p:cNvSpPr/>
                    <p:nvPr/>
                  </p:nvSpPr>
                  <p:spPr>
                    <a:xfrm>
                      <a:off x="9502360" y="2998473"/>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FFB300"/>
                    </a:solidFill>
                    <a:ln w="1853" cap="flat">
                      <a:noFill/>
                      <a:prstDash val="solid"/>
                      <a:miter/>
                    </a:ln>
                  </p:spPr>
                  <p:txBody>
                    <a:bodyPr rtlCol="0" anchor="ctr"/>
                    <a:lstStyle/>
                    <a:p>
                      <a:pPr defTabSz="1088232">
                        <a:defRPr/>
                      </a:pPr>
                      <a:endParaRPr lang="en-US" sz="2099">
                        <a:solidFill>
                          <a:srgbClr val="000000"/>
                        </a:solidFill>
                      </a:endParaRPr>
                    </a:p>
                  </p:txBody>
                </p:sp>
                <p:sp>
                  <p:nvSpPr>
                    <p:cNvPr id="67" name="Freeform: Shape 66">
                      <a:extLst>
                        <a:ext uri="{FF2B5EF4-FFF2-40B4-BE49-F238E27FC236}">
                          <a16:creationId xmlns:a16="http://schemas.microsoft.com/office/drawing/2014/main" id="{9FC6A57D-5660-4FD3-2181-27CA6BE48C37}"/>
                        </a:ext>
                      </a:extLst>
                    </p:cNvPr>
                    <p:cNvSpPr/>
                    <p:nvPr/>
                  </p:nvSpPr>
                  <p:spPr>
                    <a:xfrm>
                      <a:off x="9706872" y="2927432"/>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pPr defTabSz="1088232">
                        <a:defRPr/>
                      </a:pPr>
                      <a:endParaRPr lang="en-US" sz="2099">
                        <a:solidFill>
                          <a:srgbClr val="000000"/>
                        </a:solidFill>
                      </a:endParaRPr>
                    </a:p>
                  </p:txBody>
                </p:sp>
                <p:sp>
                  <p:nvSpPr>
                    <p:cNvPr id="68" name="Freeform: Shape 67">
                      <a:extLst>
                        <a:ext uri="{FF2B5EF4-FFF2-40B4-BE49-F238E27FC236}">
                          <a16:creationId xmlns:a16="http://schemas.microsoft.com/office/drawing/2014/main" id="{96B0A8B2-CBE2-0E87-5086-AB6EE7A65807}"/>
                        </a:ext>
                      </a:extLst>
                    </p:cNvPr>
                    <p:cNvSpPr/>
                    <p:nvPr/>
                  </p:nvSpPr>
                  <p:spPr>
                    <a:xfrm>
                      <a:off x="9706872" y="2987360"/>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FFB300"/>
                    </a:solidFill>
                    <a:ln w="1853" cap="flat">
                      <a:noFill/>
                      <a:prstDash val="solid"/>
                      <a:miter/>
                    </a:ln>
                  </p:spPr>
                  <p:txBody>
                    <a:bodyPr rtlCol="0" anchor="ctr"/>
                    <a:lstStyle/>
                    <a:p>
                      <a:pPr defTabSz="1088232">
                        <a:defRPr/>
                      </a:pPr>
                      <a:endParaRPr lang="en-US" sz="2099">
                        <a:solidFill>
                          <a:srgbClr val="000000"/>
                        </a:solidFill>
                      </a:endParaRPr>
                    </a:p>
                  </p:txBody>
                </p:sp>
                <p:sp>
                  <p:nvSpPr>
                    <p:cNvPr id="69" name="Freeform: Shape 68">
                      <a:extLst>
                        <a:ext uri="{FF2B5EF4-FFF2-40B4-BE49-F238E27FC236}">
                          <a16:creationId xmlns:a16="http://schemas.microsoft.com/office/drawing/2014/main" id="{86848FBD-2629-23FA-66F1-651A56E10367}"/>
                        </a:ext>
                      </a:extLst>
                    </p:cNvPr>
                    <p:cNvSpPr/>
                    <p:nvPr/>
                  </p:nvSpPr>
                  <p:spPr>
                    <a:xfrm>
                      <a:off x="9887709" y="2944995"/>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FFB300"/>
                    </a:solidFill>
                    <a:ln w="1853" cap="flat">
                      <a:noFill/>
                      <a:prstDash val="solid"/>
                      <a:miter/>
                    </a:ln>
                  </p:spPr>
                  <p:txBody>
                    <a:bodyPr rtlCol="0" anchor="ctr"/>
                    <a:lstStyle/>
                    <a:p>
                      <a:pPr defTabSz="1088232">
                        <a:defRPr/>
                      </a:pPr>
                      <a:endParaRPr lang="en-US" sz="2099">
                        <a:solidFill>
                          <a:srgbClr val="000000"/>
                        </a:solidFill>
                      </a:endParaRPr>
                    </a:p>
                  </p:txBody>
                </p:sp>
                <p:sp>
                  <p:nvSpPr>
                    <p:cNvPr id="70" name="Freeform: Shape 69">
                      <a:extLst>
                        <a:ext uri="{FF2B5EF4-FFF2-40B4-BE49-F238E27FC236}">
                          <a16:creationId xmlns:a16="http://schemas.microsoft.com/office/drawing/2014/main" id="{6587CDEA-DCDA-7922-2D68-A07987698E2E}"/>
                        </a:ext>
                      </a:extLst>
                    </p:cNvPr>
                    <p:cNvSpPr/>
                    <p:nvPr/>
                  </p:nvSpPr>
                  <p:spPr>
                    <a:xfrm>
                      <a:off x="9887709" y="3009605"/>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pPr defTabSz="1088232">
                        <a:defRPr/>
                      </a:pPr>
                      <a:endParaRPr lang="en-US" sz="2099">
                        <a:solidFill>
                          <a:srgbClr val="000000"/>
                        </a:solidFill>
                      </a:endParaRPr>
                    </a:p>
                  </p:txBody>
                </p:sp>
                <p:sp>
                  <p:nvSpPr>
                    <p:cNvPr id="71" name="Freeform: Shape 70">
                      <a:extLst>
                        <a:ext uri="{FF2B5EF4-FFF2-40B4-BE49-F238E27FC236}">
                          <a16:creationId xmlns:a16="http://schemas.microsoft.com/office/drawing/2014/main" id="{67A8FDE4-0A19-20D8-9508-174B87424C55}"/>
                        </a:ext>
                      </a:extLst>
                    </p:cNvPr>
                    <p:cNvSpPr/>
                    <p:nvPr/>
                  </p:nvSpPr>
                  <p:spPr>
                    <a:xfrm>
                      <a:off x="9303245" y="2838452"/>
                      <a:ext cx="595595" cy="182284"/>
                    </a:xfrm>
                    <a:custGeom>
                      <a:avLst/>
                      <a:gdLst>
                        <a:gd name="connsiteX0" fmla="*/ 0 w 595595"/>
                        <a:gd name="connsiteY0" fmla="*/ 0 h 182284"/>
                        <a:gd name="connsiteX1" fmla="*/ 210247 w 595595"/>
                        <a:gd name="connsiteY1" fmla="*/ 133846 h 182284"/>
                        <a:gd name="connsiteX2" fmla="*/ 414758 w 595595"/>
                        <a:gd name="connsiteY2" fmla="*/ 100112 h 182284"/>
                        <a:gd name="connsiteX3" fmla="*/ 595595 w 595595"/>
                        <a:gd name="connsiteY3" fmla="*/ 182285 h 182284"/>
                      </a:gdLst>
                      <a:ahLst/>
                      <a:cxnLst>
                        <a:cxn ang="0">
                          <a:pos x="connsiteX0" y="connsiteY0"/>
                        </a:cxn>
                        <a:cxn ang="0">
                          <a:pos x="connsiteX1" y="connsiteY1"/>
                        </a:cxn>
                        <a:cxn ang="0">
                          <a:pos x="connsiteX2" y="connsiteY2"/>
                        </a:cxn>
                        <a:cxn ang="0">
                          <a:pos x="connsiteX3" y="connsiteY3"/>
                        </a:cxn>
                      </a:cxnLst>
                      <a:rect l="l" t="t" r="r" b="b"/>
                      <a:pathLst>
                        <a:path w="595595" h="182284">
                          <a:moveTo>
                            <a:pt x="0" y="0"/>
                          </a:moveTo>
                          <a:lnTo>
                            <a:pt x="210247" y="133846"/>
                          </a:lnTo>
                          <a:lnTo>
                            <a:pt x="414758" y="100112"/>
                          </a:lnTo>
                          <a:lnTo>
                            <a:pt x="595595" y="182285"/>
                          </a:lnTo>
                        </a:path>
                      </a:pathLst>
                    </a:cu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defTabSz="1088232">
                        <a:defRPr/>
                      </a:pPr>
                      <a:endParaRPr lang="en-US" sz="2099">
                        <a:solidFill>
                          <a:srgbClr val="000000"/>
                        </a:solidFill>
                        <a:latin typeface="72 Brand"/>
                      </a:endParaRPr>
                    </a:p>
                  </p:txBody>
                </p:sp>
                <p:sp>
                  <p:nvSpPr>
                    <p:cNvPr id="72" name="Freeform: Shape 71">
                      <a:extLst>
                        <a:ext uri="{FF2B5EF4-FFF2-40B4-BE49-F238E27FC236}">
                          <a16:creationId xmlns:a16="http://schemas.microsoft.com/office/drawing/2014/main" id="{43C3D9BC-1BCA-1EFE-C571-58329E84C5EB}"/>
                        </a:ext>
                      </a:extLst>
                    </p:cNvPr>
                    <p:cNvSpPr/>
                    <p:nvPr/>
                  </p:nvSpPr>
                  <p:spPr>
                    <a:xfrm>
                      <a:off x="9322613" y="2978372"/>
                      <a:ext cx="170796" cy="26551"/>
                    </a:xfrm>
                    <a:custGeom>
                      <a:avLst/>
                      <a:gdLst>
                        <a:gd name="connsiteX0" fmla="*/ 0 w 170796"/>
                        <a:gd name="connsiteY0" fmla="*/ 0 h 26551"/>
                        <a:gd name="connsiteX1" fmla="*/ 170796 w 170796"/>
                        <a:gd name="connsiteY1" fmla="*/ 26551 h 26551"/>
                      </a:gdLst>
                      <a:ahLst/>
                      <a:cxnLst>
                        <a:cxn ang="0">
                          <a:pos x="connsiteX0" y="connsiteY0"/>
                        </a:cxn>
                        <a:cxn ang="0">
                          <a:pos x="connsiteX1" y="connsiteY1"/>
                        </a:cxn>
                      </a:cxnLst>
                      <a:rect l="l" t="t" r="r" b="b"/>
                      <a:pathLst>
                        <a:path w="170796" h="26551">
                          <a:moveTo>
                            <a:pt x="0" y="0"/>
                          </a:moveTo>
                          <a:lnTo>
                            <a:pt x="170796" y="26551"/>
                          </a:lnTo>
                        </a:path>
                      </a:pathLst>
                    </a:custGeom>
                    <a:ln w="9525" cap="rnd">
                      <a:solidFill>
                        <a:srgbClr val="FFB300"/>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defTabSz="1088232">
                        <a:defRPr/>
                      </a:pPr>
                      <a:endParaRPr lang="en-US" sz="2099">
                        <a:solidFill>
                          <a:srgbClr val="000000"/>
                        </a:solidFill>
                        <a:latin typeface="72 Brand"/>
                      </a:endParaRPr>
                    </a:p>
                  </p:txBody>
                </p:sp>
                <p:sp>
                  <p:nvSpPr>
                    <p:cNvPr id="73" name="Freeform: Shape 72">
                      <a:extLst>
                        <a:ext uri="{FF2B5EF4-FFF2-40B4-BE49-F238E27FC236}">
                          <a16:creationId xmlns:a16="http://schemas.microsoft.com/office/drawing/2014/main" id="{73839CD7-6322-6161-EA6B-A04ECC5EB8D8}"/>
                        </a:ext>
                      </a:extLst>
                    </p:cNvPr>
                    <p:cNvSpPr/>
                    <p:nvPr/>
                  </p:nvSpPr>
                  <p:spPr>
                    <a:xfrm>
                      <a:off x="9534308" y="3002065"/>
                      <a:ext cx="162898" cy="7540"/>
                    </a:xfrm>
                    <a:custGeom>
                      <a:avLst/>
                      <a:gdLst>
                        <a:gd name="connsiteX0" fmla="*/ 0 w 162898"/>
                        <a:gd name="connsiteY0" fmla="*/ 7540 h 7540"/>
                        <a:gd name="connsiteX1" fmla="*/ 162898 w 162898"/>
                        <a:gd name="connsiteY1" fmla="*/ 0 h 7540"/>
                      </a:gdLst>
                      <a:ahLst/>
                      <a:cxnLst>
                        <a:cxn ang="0">
                          <a:pos x="connsiteX0" y="connsiteY0"/>
                        </a:cxn>
                        <a:cxn ang="0">
                          <a:pos x="connsiteX1" y="connsiteY1"/>
                        </a:cxn>
                      </a:cxnLst>
                      <a:rect l="l" t="t" r="r" b="b"/>
                      <a:pathLst>
                        <a:path w="162898" h="7540">
                          <a:moveTo>
                            <a:pt x="0" y="7540"/>
                          </a:moveTo>
                          <a:lnTo>
                            <a:pt x="162898" y="0"/>
                          </a:lnTo>
                        </a:path>
                      </a:pathLst>
                    </a:custGeom>
                    <a:ln w="9525" cap="rnd">
                      <a:solidFill>
                        <a:srgbClr val="FFB300"/>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defTabSz="1088232">
                        <a:defRPr/>
                      </a:pPr>
                      <a:endParaRPr lang="en-US" sz="2099">
                        <a:solidFill>
                          <a:srgbClr val="000000"/>
                        </a:solidFill>
                        <a:latin typeface="72 Brand"/>
                      </a:endParaRPr>
                    </a:p>
                  </p:txBody>
                </p:sp>
                <p:sp>
                  <p:nvSpPr>
                    <p:cNvPr id="74" name="Freeform: Shape 73">
                      <a:extLst>
                        <a:ext uri="{FF2B5EF4-FFF2-40B4-BE49-F238E27FC236}">
                          <a16:creationId xmlns:a16="http://schemas.microsoft.com/office/drawing/2014/main" id="{7CDFD351-EF2B-42BC-3BBA-5BD878B4AD62}"/>
                        </a:ext>
                      </a:extLst>
                    </p:cNvPr>
                    <p:cNvSpPr/>
                    <p:nvPr/>
                  </p:nvSpPr>
                  <p:spPr>
                    <a:xfrm>
                      <a:off x="9738105" y="2961185"/>
                      <a:ext cx="140653" cy="34411"/>
                    </a:xfrm>
                    <a:custGeom>
                      <a:avLst/>
                      <a:gdLst>
                        <a:gd name="connsiteX0" fmla="*/ 0 w 140653"/>
                        <a:gd name="connsiteY0" fmla="*/ 34411 h 34411"/>
                        <a:gd name="connsiteX1" fmla="*/ 140653 w 140653"/>
                        <a:gd name="connsiteY1" fmla="*/ 0 h 34411"/>
                      </a:gdLst>
                      <a:ahLst/>
                      <a:cxnLst>
                        <a:cxn ang="0">
                          <a:pos x="connsiteX0" y="connsiteY0"/>
                        </a:cxn>
                        <a:cxn ang="0">
                          <a:pos x="connsiteX1" y="connsiteY1"/>
                        </a:cxn>
                      </a:cxnLst>
                      <a:rect l="l" t="t" r="r" b="b"/>
                      <a:pathLst>
                        <a:path w="140653" h="34411">
                          <a:moveTo>
                            <a:pt x="0" y="34411"/>
                          </a:moveTo>
                          <a:lnTo>
                            <a:pt x="140653" y="0"/>
                          </a:lnTo>
                        </a:path>
                      </a:pathLst>
                    </a:custGeom>
                    <a:ln w="9525" cap="rnd">
                      <a:solidFill>
                        <a:srgbClr val="FFB300"/>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defTabSz="1088232">
                        <a:defRPr/>
                      </a:pPr>
                      <a:endParaRPr lang="en-US" sz="2099">
                        <a:solidFill>
                          <a:srgbClr val="000000"/>
                        </a:solidFill>
                        <a:latin typeface="72 Brand"/>
                      </a:endParaRPr>
                    </a:p>
                  </p:txBody>
                </p:sp>
              </p:grpSp>
              <p:cxnSp>
                <p:nvCxnSpPr>
                  <p:cNvPr id="62" name="Straight Connector 61">
                    <a:extLst>
                      <a:ext uri="{FF2B5EF4-FFF2-40B4-BE49-F238E27FC236}">
                        <a16:creationId xmlns:a16="http://schemas.microsoft.com/office/drawing/2014/main" id="{654A3A7E-70E1-04F2-E872-2890FE04FB3D}"/>
                      </a:ext>
                    </a:extLst>
                  </p:cNvPr>
                  <p:cNvCxnSpPr>
                    <a:cxnSpLocks/>
                  </p:cNvCxnSpPr>
                  <p:nvPr/>
                </p:nvCxnSpPr>
                <p:spPr>
                  <a:xfrm>
                    <a:off x="6647645" y="2288830"/>
                    <a:ext cx="999309" cy="0"/>
                  </a:xfrm>
                  <a:prstGeom prst="line">
                    <a:avLst/>
                  </a:prstGeom>
                  <a:gradFill>
                    <a:gsLst>
                      <a:gs pos="0">
                        <a:schemeClr val="bg1">
                          <a:alpha val="60000"/>
                        </a:schemeClr>
                      </a:gs>
                      <a:gs pos="100000">
                        <a:schemeClr val="bg1"/>
                      </a:gs>
                    </a:gsLst>
                    <a:lin ang="2700000" scaled="1"/>
                  </a:gradFill>
                  <a:ln>
                    <a:gradFill flip="none" rotWithShape="1">
                      <a:gsLst>
                        <a:gs pos="0">
                          <a:srgbClr val="A6E0FF">
                            <a:alpha val="28000"/>
                          </a:srgb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8" name="Group 17">
                  <a:extLst>
                    <a:ext uri="{FF2B5EF4-FFF2-40B4-BE49-F238E27FC236}">
                      <a16:creationId xmlns:a16="http://schemas.microsoft.com/office/drawing/2014/main" id="{6A4825AF-0C4B-8070-53B5-69B7132D61F3}"/>
                    </a:ext>
                  </a:extLst>
                </p:cNvPr>
                <p:cNvGrpSpPr/>
                <p:nvPr/>
              </p:nvGrpSpPr>
              <p:grpSpPr>
                <a:xfrm>
                  <a:off x="7671651" y="1506317"/>
                  <a:ext cx="638719" cy="858996"/>
                  <a:chOff x="6900862" y="2767037"/>
                  <a:chExt cx="665129" cy="749258"/>
                </a:xfrm>
              </p:grpSpPr>
              <p:sp>
                <p:nvSpPr>
                  <p:cNvPr id="48" name="Rectangle: Rounded Corners 47">
                    <a:extLst>
                      <a:ext uri="{FF2B5EF4-FFF2-40B4-BE49-F238E27FC236}">
                        <a16:creationId xmlns:a16="http://schemas.microsoft.com/office/drawing/2014/main" id="{CF66935F-988C-3A5E-C816-22AC0731220D}"/>
                      </a:ext>
                    </a:extLst>
                  </p:cNvPr>
                  <p:cNvSpPr/>
                  <p:nvPr/>
                </p:nvSpPr>
                <p:spPr bwMode="auto">
                  <a:xfrm>
                    <a:off x="6900862" y="2909189"/>
                    <a:ext cx="665129" cy="607106"/>
                  </a:xfrm>
                  <a:prstGeom prst="roundRect">
                    <a:avLst>
                      <a:gd name="adj" fmla="val 8384"/>
                    </a:avLst>
                  </a:prstGeom>
                  <a:gradFill>
                    <a:gsLst>
                      <a:gs pos="0">
                        <a:schemeClr val="bg1">
                          <a:alpha val="60000"/>
                        </a:schemeClr>
                      </a:gs>
                      <a:gs pos="100000">
                        <a:schemeClr val="bg1"/>
                      </a:gs>
                    </a:gsLst>
                    <a:lin ang="2700000" scaled="1"/>
                  </a:gradFill>
                  <a:ln>
                    <a:gradFill flip="none" rotWithShape="1">
                      <a:gsLst>
                        <a:gs pos="0">
                          <a:srgbClr val="A6E0FF">
                            <a:alpha val="28000"/>
                          </a:srgb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eaLnBrk="0" fontAlgn="base" hangingPunct="0">
                      <a:spcBef>
                        <a:spcPct val="0"/>
                      </a:spcBef>
                      <a:spcAft>
                        <a:spcPct val="0"/>
                      </a:spcAft>
                      <a:defRPr/>
                    </a:pPr>
                    <a:endParaRPr lang="en-US" sz="1999">
                      <a:gradFill>
                        <a:gsLst>
                          <a:gs pos="0">
                            <a:srgbClr val="FFFFFF"/>
                          </a:gs>
                          <a:gs pos="100000">
                            <a:srgbClr val="FFFFFF"/>
                          </a:gs>
                        </a:gsLst>
                        <a:lin ang="5400000" scaled="1"/>
                      </a:gradFill>
                      <a:latin typeface="72 Brand" panose="020B0504030603020204" pitchFamily="34" charset="0"/>
                    </a:endParaRPr>
                  </a:p>
                </p:txBody>
              </p:sp>
              <p:sp>
                <p:nvSpPr>
                  <p:cNvPr id="49" name="Rectangle: Rounded Corners 48">
                    <a:extLst>
                      <a:ext uri="{FF2B5EF4-FFF2-40B4-BE49-F238E27FC236}">
                        <a16:creationId xmlns:a16="http://schemas.microsoft.com/office/drawing/2014/main" id="{FA6D72C8-06B3-DFA0-4323-6D0D98475707}"/>
                      </a:ext>
                    </a:extLst>
                  </p:cNvPr>
                  <p:cNvSpPr/>
                  <p:nvPr/>
                </p:nvSpPr>
                <p:spPr bwMode="auto">
                  <a:xfrm>
                    <a:off x="6976162" y="2982312"/>
                    <a:ext cx="280134" cy="218272"/>
                  </a:xfrm>
                  <a:prstGeom prst="roundRect">
                    <a:avLst>
                      <a:gd name="adj" fmla="val 8384"/>
                    </a:avLst>
                  </a:prstGeom>
                  <a:gradFill>
                    <a:gsLst>
                      <a:gs pos="0">
                        <a:schemeClr val="bg1">
                          <a:alpha val="60000"/>
                        </a:schemeClr>
                      </a:gs>
                      <a:gs pos="100000">
                        <a:schemeClr val="bg1"/>
                      </a:gs>
                    </a:gsLst>
                    <a:lin ang="27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eaLnBrk="0" fontAlgn="base" hangingPunct="0">
                      <a:spcBef>
                        <a:spcPct val="0"/>
                      </a:spcBef>
                      <a:spcAft>
                        <a:spcPct val="0"/>
                      </a:spcAft>
                      <a:defRPr/>
                    </a:pPr>
                    <a:endParaRPr lang="en-US" sz="1999">
                      <a:gradFill>
                        <a:gsLst>
                          <a:gs pos="0">
                            <a:srgbClr val="FFFFFF"/>
                          </a:gs>
                          <a:gs pos="100000">
                            <a:srgbClr val="FFFFFF"/>
                          </a:gs>
                        </a:gsLst>
                        <a:lin ang="5400000" scaled="1"/>
                      </a:gradFill>
                      <a:latin typeface="72 Brand" panose="020B0504030603020204" pitchFamily="34" charset="0"/>
                    </a:endParaRPr>
                  </a:p>
                </p:txBody>
              </p:sp>
              <p:grpSp>
                <p:nvGrpSpPr>
                  <p:cNvPr id="50" name="Group 49">
                    <a:extLst>
                      <a:ext uri="{FF2B5EF4-FFF2-40B4-BE49-F238E27FC236}">
                        <a16:creationId xmlns:a16="http://schemas.microsoft.com/office/drawing/2014/main" id="{BB6A6F54-C546-8FA9-C8A5-143E02EC604E}"/>
                      </a:ext>
                    </a:extLst>
                  </p:cNvPr>
                  <p:cNvGrpSpPr/>
                  <p:nvPr/>
                </p:nvGrpSpPr>
                <p:grpSpPr>
                  <a:xfrm>
                    <a:off x="7331919" y="2767037"/>
                    <a:ext cx="169626" cy="357968"/>
                    <a:chOff x="9790317" y="3096962"/>
                    <a:chExt cx="137109" cy="264864"/>
                  </a:xfrm>
                </p:grpSpPr>
                <p:grpSp>
                  <p:nvGrpSpPr>
                    <p:cNvPr id="52" name="Group 51">
                      <a:extLst>
                        <a:ext uri="{FF2B5EF4-FFF2-40B4-BE49-F238E27FC236}">
                          <a16:creationId xmlns:a16="http://schemas.microsoft.com/office/drawing/2014/main" id="{5382EBE1-84E6-4DF9-D13B-70CA8F6A6F73}"/>
                        </a:ext>
                      </a:extLst>
                    </p:cNvPr>
                    <p:cNvGrpSpPr/>
                    <p:nvPr/>
                  </p:nvGrpSpPr>
                  <p:grpSpPr>
                    <a:xfrm>
                      <a:off x="9790317" y="3096962"/>
                      <a:ext cx="137109" cy="118014"/>
                      <a:chOff x="9790322" y="3271197"/>
                      <a:chExt cx="325913" cy="118014"/>
                    </a:xfrm>
                  </p:grpSpPr>
                  <p:cxnSp>
                    <p:nvCxnSpPr>
                      <p:cNvPr id="56" name="Straight Connector 55">
                        <a:extLst>
                          <a:ext uri="{FF2B5EF4-FFF2-40B4-BE49-F238E27FC236}">
                            <a16:creationId xmlns:a16="http://schemas.microsoft.com/office/drawing/2014/main" id="{1A77EF6F-55AE-944A-3CC1-7C7ECB956482}"/>
                          </a:ext>
                        </a:extLst>
                      </p:cNvPr>
                      <p:cNvCxnSpPr>
                        <a:cxnSpLocks/>
                      </p:cNvCxnSpPr>
                      <p:nvPr/>
                    </p:nvCxnSpPr>
                    <p:spPr>
                      <a:xfrm>
                        <a:off x="9790322" y="3271197"/>
                        <a:ext cx="284412" cy="0"/>
                      </a:xfrm>
                      <a:prstGeom prst="line">
                        <a:avLst/>
                      </a:prstGeom>
                      <a:ln w="25400"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5A7E18D-06BD-0079-B381-153CDC150798}"/>
                          </a:ext>
                        </a:extLst>
                      </p:cNvPr>
                      <p:cNvCxnSpPr>
                        <a:cxnSpLocks/>
                      </p:cNvCxnSpPr>
                      <p:nvPr/>
                    </p:nvCxnSpPr>
                    <p:spPr>
                      <a:xfrm>
                        <a:off x="9790322" y="3314604"/>
                        <a:ext cx="193522" cy="0"/>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D8CEFB6-7848-9F68-B31A-5E86D0083139}"/>
                          </a:ext>
                        </a:extLst>
                      </p:cNvPr>
                      <p:cNvCxnSpPr>
                        <a:cxnSpLocks/>
                      </p:cNvCxnSpPr>
                      <p:nvPr/>
                    </p:nvCxnSpPr>
                    <p:spPr>
                      <a:xfrm>
                        <a:off x="9790322" y="3357559"/>
                        <a:ext cx="325913" cy="0"/>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4BB3D14-C0F9-EC95-C84B-1E86FDF94715}"/>
                          </a:ext>
                        </a:extLst>
                      </p:cNvPr>
                      <p:cNvCxnSpPr>
                        <a:cxnSpLocks/>
                      </p:cNvCxnSpPr>
                      <p:nvPr/>
                    </p:nvCxnSpPr>
                    <p:spPr>
                      <a:xfrm>
                        <a:off x="9790322" y="3389211"/>
                        <a:ext cx="269323" cy="0"/>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7CBBF196-0775-8DAA-EB3D-AC3FD5F40B81}"/>
                        </a:ext>
                      </a:extLst>
                    </p:cNvPr>
                    <p:cNvGrpSpPr/>
                    <p:nvPr/>
                  </p:nvGrpSpPr>
                  <p:grpSpPr>
                    <a:xfrm>
                      <a:off x="9790322" y="3318419"/>
                      <a:ext cx="119650" cy="43407"/>
                      <a:chOff x="9790322" y="3271197"/>
                      <a:chExt cx="284412" cy="43407"/>
                    </a:xfrm>
                  </p:grpSpPr>
                  <p:cxnSp>
                    <p:nvCxnSpPr>
                      <p:cNvPr id="54" name="Straight Connector 53">
                        <a:extLst>
                          <a:ext uri="{FF2B5EF4-FFF2-40B4-BE49-F238E27FC236}">
                            <a16:creationId xmlns:a16="http://schemas.microsoft.com/office/drawing/2014/main" id="{6C6E8D97-58FD-70EC-7970-0FE84A1730FF}"/>
                          </a:ext>
                        </a:extLst>
                      </p:cNvPr>
                      <p:cNvCxnSpPr>
                        <a:cxnSpLocks/>
                      </p:cNvCxnSpPr>
                      <p:nvPr/>
                    </p:nvCxnSpPr>
                    <p:spPr>
                      <a:xfrm>
                        <a:off x="9790322" y="3271197"/>
                        <a:ext cx="284412" cy="0"/>
                      </a:xfrm>
                      <a:prstGeom prst="line">
                        <a:avLst/>
                      </a:prstGeom>
                      <a:ln w="25400"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BA12D80-083E-078C-883A-14723F3BFE7E}"/>
                          </a:ext>
                        </a:extLst>
                      </p:cNvPr>
                      <p:cNvCxnSpPr>
                        <a:cxnSpLocks/>
                      </p:cNvCxnSpPr>
                      <p:nvPr/>
                    </p:nvCxnSpPr>
                    <p:spPr>
                      <a:xfrm>
                        <a:off x="9790322" y="3314604"/>
                        <a:ext cx="193522" cy="0"/>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51" name="Rectangle: Rounded Corners 50">
                    <a:extLst>
                      <a:ext uri="{FF2B5EF4-FFF2-40B4-BE49-F238E27FC236}">
                        <a16:creationId xmlns:a16="http://schemas.microsoft.com/office/drawing/2014/main" id="{2A7B8203-A272-F77F-1A93-BF269C06E7E6}"/>
                      </a:ext>
                    </a:extLst>
                  </p:cNvPr>
                  <p:cNvSpPr/>
                  <p:nvPr/>
                </p:nvSpPr>
                <p:spPr bwMode="auto">
                  <a:xfrm>
                    <a:off x="6976162" y="3244020"/>
                    <a:ext cx="280134" cy="218272"/>
                  </a:xfrm>
                  <a:prstGeom prst="roundRect">
                    <a:avLst>
                      <a:gd name="adj" fmla="val 8384"/>
                    </a:avLst>
                  </a:prstGeom>
                  <a:gradFill>
                    <a:gsLst>
                      <a:gs pos="0">
                        <a:schemeClr val="bg1">
                          <a:alpha val="60000"/>
                        </a:schemeClr>
                      </a:gs>
                      <a:gs pos="100000">
                        <a:schemeClr val="bg1"/>
                      </a:gs>
                    </a:gsLst>
                    <a:lin ang="27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eaLnBrk="0" fontAlgn="base" hangingPunct="0">
                      <a:spcBef>
                        <a:spcPct val="0"/>
                      </a:spcBef>
                      <a:spcAft>
                        <a:spcPct val="0"/>
                      </a:spcAft>
                      <a:defRPr/>
                    </a:pPr>
                    <a:endParaRPr lang="en-US" sz="1999">
                      <a:gradFill>
                        <a:gsLst>
                          <a:gs pos="0">
                            <a:srgbClr val="FFFFFF"/>
                          </a:gs>
                          <a:gs pos="100000">
                            <a:srgbClr val="FFFFFF"/>
                          </a:gs>
                        </a:gsLst>
                        <a:lin ang="5400000" scaled="1"/>
                      </a:gradFill>
                      <a:latin typeface="72 Brand" panose="020B0504030603020204" pitchFamily="34" charset="0"/>
                    </a:endParaRPr>
                  </a:p>
                </p:txBody>
              </p:sp>
            </p:grpSp>
            <p:grpSp>
              <p:nvGrpSpPr>
                <p:cNvPr id="19" name="Group 18">
                  <a:extLst>
                    <a:ext uri="{FF2B5EF4-FFF2-40B4-BE49-F238E27FC236}">
                      <a16:creationId xmlns:a16="http://schemas.microsoft.com/office/drawing/2014/main" id="{4BCB143B-A67D-299E-D860-EDD0B23353A2}"/>
                    </a:ext>
                  </a:extLst>
                </p:cNvPr>
                <p:cNvGrpSpPr/>
                <p:nvPr/>
              </p:nvGrpSpPr>
              <p:grpSpPr>
                <a:xfrm>
                  <a:off x="7232273" y="2266153"/>
                  <a:ext cx="329805" cy="251626"/>
                  <a:chOff x="7282104" y="2247499"/>
                  <a:chExt cx="213166" cy="162636"/>
                </a:xfrm>
              </p:grpSpPr>
              <p:sp>
                <p:nvSpPr>
                  <p:cNvPr id="44" name="Rectangle: Rounded Corners 43">
                    <a:extLst>
                      <a:ext uri="{FF2B5EF4-FFF2-40B4-BE49-F238E27FC236}">
                        <a16:creationId xmlns:a16="http://schemas.microsoft.com/office/drawing/2014/main" id="{82615673-75E8-9B4E-9F98-4B64C5055D64}"/>
                      </a:ext>
                    </a:extLst>
                  </p:cNvPr>
                  <p:cNvSpPr/>
                  <p:nvPr/>
                </p:nvSpPr>
                <p:spPr bwMode="auto">
                  <a:xfrm>
                    <a:off x="7282104" y="2247499"/>
                    <a:ext cx="60467" cy="60467"/>
                  </a:xfrm>
                  <a:prstGeom prst="roundRect">
                    <a:avLst/>
                  </a:prstGeom>
                  <a:solidFill>
                    <a:srgbClr val="F31D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defRPr/>
                    </a:pPr>
                    <a:endParaRPr lang="en-US" sz="1999">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45" name="Rectangle: Rounded Corners 44">
                    <a:extLst>
                      <a:ext uri="{FF2B5EF4-FFF2-40B4-BE49-F238E27FC236}">
                        <a16:creationId xmlns:a16="http://schemas.microsoft.com/office/drawing/2014/main" id="{D312C970-7AB6-D890-44EC-F32F7B25F47A}"/>
                      </a:ext>
                    </a:extLst>
                  </p:cNvPr>
                  <p:cNvSpPr/>
                  <p:nvPr/>
                </p:nvSpPr>
                <p:spPr bwMode="auto">
                  <a:xfrm>
                    <a:off x="7282104" y="2349668"/>
                    <a:ext cx="60467" cy="60467"/>
                  </a:xfrm>
                  <a:prstGeom prst="roundRect">
                    <a:avLst/>
                  </a:prstGeom>
                  <a:solidFill>
                    <a:srgbClr val="78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defRPr/>
                    </a:pPr>
                    <a:endParaRPr lang="en-US" sz="1999">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cxnSp>
                <p:nvCxnSpPr>
                  <p:cNvPr id="46" name="Straight Connector 45">
                    <a:extLst>
                      <a:ext uri="{FF2B5EF4-FFF2-40B4-BE49-F238E27FC236}">
                        <a16:creationId xmlns:a16="http://schemas.microsoft.com/office/drawing/2014/main" id="{4B52A18B-B456-F6B2-BD6A-DA4021C18147}"/>
                      </a:ext>
                    </a:extLst>
                  </p:cNvPr>
                  <p:cNvCxnSpPr>
                    <a:cxnSpLocks/>
                  </p:cNvCxnSpPr>
                  <p:nvPr/>
                </p:nvCxnSpPr>
                <p:spPr>
                  <a:xfrm>
                    <a:off x="7383760" y="2277733"/>
                    <a:ext cx="111510" cy="0"/>
                  </a:xfrm>
                  <a:prstGeom prst="line">
                    <a:avLst/>
                  </a:prstGeom>
                  <a:ln w="25400" cap="rnd">
                    <a:solidFill>
                      <a:srgbClr val="BCE6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7B8E387-4537-7426-AD29-82EF137FF556}"/>
                      </a:ext>
                    </a:extLst>
                  </p:cNvPr>
                  <p:cNvCxnSpPr>
                    <a:cxnSpLocks/>
                  </p:cNvCxnSpPr>
                  <p:nvPr/>
                </p:nvCxnSpPr>
                <p:spPr>
                  <a:xfrm>
                    <a:off x="7383760" y="2379901"/>
                    <a:ext cx="71493" cy="0"/>
                  </a:xfrm>
                  <a:prstGeom prst="line">
                    <a:avLst/>
                  </a:prstGeom>
                  <a:ln w="25400" cap="rnd">
                    <a:solidFill>
                      <a:srgbClr val="BCE6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18C23BE0-5974-F6F8-3B73-2D845E7F9744}"/>
                    </a:ext>
                  </a:extLst>
                </p:cNvPr>
                <p:cNvGrpSpPr/>
                <p:nvPr/>
              </p:nvGrpSpPr>
              <p:grpSpPr>
                <a:xfrm>
                  <a:off x="6532516" y="1434998"/>
                  <a:ext cx="658123" cy="1006511"/>
                  <a:chOff x="5771253" y="2625848"/>
                  <a:chExt cx="658123" cy="1006511"/>
                </a:xfrm>
              </p:grpSpPr>
              <p:sp>
                <p:nvSpPr>
                  <p:cNvPr id="27" name="Rectangle: Rounded Corners 26">
                    <a:extLst>
                      <a:ext uri="{FF2B5EF4-FFF2-40B4-BE49-F238E27FC236}">
                        <a16:creationId xmlns:a16="http://schemas.microsoft.com/office/drawing/2014/main" id="{31049AFC-973F-17B9-7013-C7BD52B2A965}"/>
                      </a:ext>
                    </a:extLst>
                  </p:cNvPr>
                  <p:cNvSpPr/>
                  <p:nvPr/>
                </p:nvSpPr>
                <p:spPr bwMode="auto">
                  <a:xfrm>
                    <a:off x="5771253" y="2625848"/>
                    <a:ext cx="657964" cy="1006511"/>
                  </a:xfrm>
                  <a:prstGeom prst="roundRect">
                    <a:avLst>
                      <a:gd name="adj" fmla="val 7251"/>
                    </a:avLst>
                  </a:prstGeom>
                  <a:gradFill>
                    <a:gsLst>
                      <a:gs pos="0">
                        <a:schemeClr val="bg1">
                          <a:alpha val="60000"/>
                        </a:schemeClr>
                      </a:gs>
                      <a:gs pos="100000">
                        <a:schemeClr val="bg1"/>
                      </a:gs>
                    </a:gsLst>
                    <a:lin ang="2700000" scaled="1"/>
                  </a:gradFill>
                  <a:ln>
                    <a:gradFill flip="none" rotWithShape="1">
                      <a:gsLst>
                        <a:gs pos="0">
                          <a:srgbClr val="A6E0FF">
                            <a:alpha val="28000"/>
                          </a:srgb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eaLnBrk="0" fontAlgn="base" hangingPunct="0">
                      <a:spcBef>
                        <a:spcPct val="0"/>
                      </a:spcBef>
                      <a:spcAft>
                        <a:spcPct val="0"/>
                      </a:spcAft>
                      <a:defRPr/>
                    </a:pPr>
                    <a:endParaRPr lang="en-US" sz="1999">
                      <a:gradFill>
                        <a:gsLst>
                          <a:gs pos="0">
                            <a:srgbClr val="FFFFFF"/>
                          </a:gs>
                          <a:gs pos="100000">
                            <a:srgbClr val="FFFFFF"/>
                          </a:gs>
                        </a:gsLst>
                        <a:lin ang="5400000" scaled="1"/>
                      </a:gradFill>
                      <a:latin typeface="72 Brand" panose="020B0504030603020204" pitchFamily="34" charset="0"/>
                    </a:endParaRPr>
                  </a:p>
                </p:txBody>
              </p:sp>
              <p:grpSp>
                <p:nvGrpSpPr>
                  <p:cNvPr id="28" name="Group 27">
                    <a:extLst>
                      <a:ext uri="{FF2B5EF4-FFF2-40B4-BE49-F238E27FC236}">
                        <a16:creationId xmlns:a16="http://schemas.microsoft.com/office/drawing/2014/main" id="{E83CDFC8-2227-E7BD-D788-26F1C12CE3B8}"/>
                      </a:ext>
                    </a:extLst>
                  </p:cNvPr>
                  <p:cNvGrpSpPr/>
                  <p:nvPr/>
                </p:nvGrpSpPr>
                <p:grpSpPr>
                  <a:xfrm>
                    <a:off x="5864706" y="2966107"/>
                    <a:ext cx="471059" cy="40588"/>
                    <a:chOff x="5393117" y="4115302"/>
                    <a:chExt cx="917196" cy="78578"/>
                  </a:xfrm>
                </p:grpSpPr>
                <p:sp>
                  <p:nvSpPr>
                    <p:cNvPr id="42" name="Rectangle: Rounded Corners 41">
                      <a:extLst>
                        <a:ext uri="{FF2B5EF4-FFF2-40B4-BE49-F238E27FC236}">
                          <a16:creationId xmlns:a16="http://schemas.microsoft.com/office/drawing/2014/main" id="{FE611480-AFB7-8309-DE45-36E7248F46B1}"/>
                        </a:ext>
                      </a:extLst>
                    </p:cNvPr>
                    <p:cNvSpPr/>
                    <p:nvPr/>
                  </p:nvSpPr>
                  <p:spPr bwMode="auto">
                    <a:xfrm>
                      <a:off x="5393117" y="4115302"/>
                      <a:ext cx="917196" cy="78578"/>
                    </a:xfrm>
                    <a:prstGeom prst="roundRect">
                      <a:avLst>
                        <a:gd name="adj" fmla="val 50000"/>
                      </a:avLst>
                    </a:prstGeom>
                    <a:solidFill>
                      <a:srgbClr val="BC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defRPr/>
                      </a:pPr>
                      <a:endParaRPr lang="en-US" sz="1999">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43" name="Rectangle: Rounded Corners 42">
                      <a:extLst>
                        <a:ext uri="{FF2B5EF4-FFF2-40B4-BE49-F238E27FC236}">
                          <a16:creationId xmlns:a16="http://schemas.microsoft.com/office/drawing/2014/main" id="{79108B89-6BB6-8B40-7FC7-F86FF040D2FA}"/>
                        </a:ext>
                      </a:extLst>
                    </p:cNvPr>
                    <p:cNvSpPr/>
                    <p:nvPr/>
                  </p:nvSpPr>
                  <p:spPr bwMode="auto">
                    <a:xfrm>
                      <a:off x="5393117" y="4115302"/>
                      <a:ext cx="500477" cy="78578"/>
                    </a:xfrm>
                    <a:prstGeom prst="roundRect">
                      <a:avLst>
                        <a:gd name="adj" fmla="val 50000"/>
                      </a:avLst>
                    </a:prstGeom>
                    <a:solidFill>
                      <a:srgbClr val="FFB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defRPr/>
                      </a:pPr>
                      <a:endParaRPr lang="en-US" sz="1999">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grpSp>
              <p:grpSp>
                <p:nvGrpSpPr>
                  <p:cNvPr id="29" name="Group 28">
                    <a:extLst>
                      <a:ext uri="{FF2B5EF4-FFF2-40B4-BE49-F238E27FC236}">
                        <a16:creationId xmlns:a16="http://schemas.microsoft.com/office/drawing/2014/main" id="{1E29621C-C49F-87FE-587E-A9D7BB600FD8}"/>
                      </a:ext>
                    </a:extLst>
                  </p:cNvPr>
                  <p:cNvGrpSpPr/>
                  <p:nvPr/>
                </p:nvGrpSpPr>
                <p:grpSpPr>
                  <a:xfrm>
                    <a:off x="5864706" y="3210758"/>
                    <a:ext cx="471059" cy="40588"/>
                    <a:chOff x="5393117" y="4115302"/>
                    <a:chExt cx="917196" cy="78578"/>
                  </a:xfrm>
                </p:grpSpPr>
                <p:sp>
                  <p:nvSpPr>
                    <p:cNvPr id="40" name="Rectangle: Rounded Corners 39">
                      <a:extLst>
                        <a:ext uri="{FF2B5EF4-FFF2-40B4-BE49-F238E27FC236}">
                          <a16:creationId xmlns:a16="http://schemas.microsoft.com/office/drawing/2014/main" id="{9EFA2CF8-CA3E-874C-3530-2B2BD9093746}"/>
                        </a:ext>
                      </a:extLst>
                    </p:cNvPr>
                    <p:cNvSpPr/>
                    <p:nvPr/>
                  </p:nvSpPr>
                  <p:spPr bwMode="auto">
                    <a:xfrm>
                      <a:off x="5393117" y="4115302"/>
                      <a:ext cx="917196" cy="78578"/>
                    </a:xfrm>
                    <a:prstGeom prst="roundRect">
                      <a:avLst>
                        <a:gd name="adj" fmla="val 50000"/>
                      </a:avLst>
                    </a:prstGeom>
                    <a:solidFill>
                      <a:srgbClr val="BC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defRPr/>
                      </a:pPr>
                      <a:endParaRPr lang="en-US" sz="1999">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41" name="Rectangle: Rounded Corners 40">
                      <a:extLst>
                        <a:ext uri="{FF2B5EF4-FFF2-40B4-BE49-F238E27FC236}">
                          <a16:creationId xmlns:a16="http://schemas.microsoft.com/office/drawing/2014/main" id="{0F06F68D-E955-CC20-9F9C-75B1C7420A93}"/>
                        </a:ext>
                      </a:extLst>
                    </p:cNvPr>
                    <p:cNvSpPr/>
                    <p:nvPr/>
                  </p:nvSpPr>
                  <p:spPr bwMode="auto">
                    <a:xfrm>
                      <a:off x="5393117" y="4115302"/>
                      <a:ext cx="500477" cy="78578"/>
                    </a:xfrm>
                    <a:prstGeom prst="roundRect">
                      <a:avLst>
                        <a:gd name="adj" fmla="val 50000"/>
                      </a:avLst>
                    </a:prstGeom>
                    <a:solidFill>
                      <a:srgbClr val="FFB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defRPr/>
                      </a:pPr>
                      <a:endParaRPr lang="en-US" sz="1999">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grpSp>
              <p:grpSp>
                <p:nvGrpSpPr>
                  <p:cNvPr id="30" name="Group 29">
                    <a:extLst>
                      <a:ext uri="{FF2B5EF4-FFF2-40B4-BE49-F238E27FC236}">
                        <a16:creationId xmlns:a16="http://schemas.microsoft.com/office/drawing/2014/main" id="{D35C0972-7281-1D16-9E97-4120BA74C2CA}"/>
                      </a:ext>
                    </a:extLst>
                  </p:cNvPr>
                  <p:cNvGrpSpPr/>
                  <p:nvPr/>
                </p:nvGrpSpPr>
                <p:grpSpPr>
                  <a:xfrm>
                    <a:off x="5864706" y="3475796"/>
                    <a:ext cx="471059" cy="40588"/>
                    <a:chOff x="5393117" y="4115302"/>
                    <a:chExt cx="917196" cy="78578"/>
                  </a:xfrm>
                </p:grpSpPr>
                <p:sp>
                  <p:nvSpPr>
                    <p:cNvPr id="38" name="Rectangle: Rounded Corners 37">
                      <a:extLst>
                        <a:ext uri="{FF2B5EF4-FFF2-40B4-BE49-F238E27FC236}">
                          <a16:creationId xmlns:a16="http://schemas.microsoft.com/office/drawing/2014/main" id="{B9393D12-8F4A-619E-C67E-C555EB3FD90D}"/>
                        </a:ext>
                      </a:extLst>
                    </p:cNvPr>
                    <p:cNvSpPr/>
                    <p:nvPr/>
                  </p:nvSpPr>
                  <p:spPr bwMode="auto">
                    <a:xfrm>
                      <a:off x="5393117" y="4115302"/>
                      <a:ext cx="917196" cy="78578"/>
                    </a:xfrm>
                    <a:prstGeom prst="roundRect">
                      <a:avLst>
                        <a:gd name="adj" fmla="val 50000"/>
                      </a:avLst>
                    </a:prstGeom>
                    <a:solidFill>
                      <a:srgbClr val="BCE6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defRPr/>
                      </a:pPr>
                      <a:endParaRPr lang="en-US" sz="1999">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sp>
                  <p:nvSpPr>
                    <p:cNvPr id="39" name="Rectangle: Rounded Corners 38">
                      <a:extLst>
                        <a:ext uri="{FF2B5EF4-FFF2-40B4-BE49-F238E27FC236}">
                          <a16:creationId xmlns:a16="http://schemas.microsoft.com/office/drawing/2014/main" id="{2FE69E05-55B1-2D65-EFAE-1344B4F1A6FA}"/>
                        </a:ext>
                      </a:extLst>
                    </p:cNvPr>
                    <p:cNvSpPr/>
                    <p:nvPr/>
                  </p:nvSpPr>
                  <p:spPr bwMode="auto">
                    <a:xfrm>
                      <a:off x="5393117" y="4115302"/>
                      <a:ext cx="500477" cy="78578"/>
                    </a:xfrm>
                    <a:prstGeom prst="roundRect">
                      <a:avLst>
                        <a:gd name="adj" fmla="val 50000"/>
                      </a:avLst>
                    </a:prstGeom>
                    <a:solidFill>
                      <a:srgbClr val="FFB3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defRPr/>
                      </a:pPr>
                      <a:endParaRPr lang="en-US" sz="1999">
                        <a:gradFill>
                          <a:gsLst>
                            <a:gs pos="0">
                              <a:srgbClr val="FFFFFF"/>
                            </a:gs>
                            <a:gs pos="100000">
                              <a:srgbClr val="FFFFFF"/>
                            </a:gs>
                          </a:gsLst>
                          <a:lin ang="5400000" scaled="1"/>
                        </a:gradFill>
                        <a:latin typeface="72 Brand" panose="020B0504030603020204" pitchFamily="34" charset="0"/>
                        <a:ea typeface="Segoe UI" pitchFamily="34" charset="0"/>
                        <a:cs typeface="72" panose="020B0503030000000003" pitchFamily="34" charset="0"/>
                      </a:endParaRPr>
                    </a:p>
                  </p:txBody>
                </p:sp>
              </p:grpSp>
              <p:cxnSp>
                <p:nvCxnSpPr>
                  <p:cNvPr id="31" name="Straight Connector 30">
                    <a:extLst>
                      <a:ext uri="{FF2B5EF4-FFF2-40B4-BE49-F238E27FC236}">
                        <a16:creationId xmlns:a16="http://schemas.microsoft.com/office/drawing/2014/main" id="{756C4832-7CED-B66B-A6F5-017872ECAEE2}"/>
                      </a:ext>
                    </a:extLst>
                  </p:cNvPr>
                  <p:cNvCxnSpPr>
                    <a:cxnSpLocks/>
                  </p:cNvCxnSpPr>
                  <p:nvPr/>
                </p:nvCxnSpPr>
                <p:spPr>
                  <a:xfrm>
                    <a:off x="5864706" y="2858938"/>
                    <a:ext cx="271714" cy="0"/>
                  </a:xfrm>
                  <a:prstGeom prst="line">
                    <a:avLst/>
                  </a:prstGeom>
                  <a:ln w="25400"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58463A7-18C6-4F7B-E397-350640A9172A}"/>
                      </a:ext>
                    </a:extLst>
                  </p:cNvPr>
                  <p:cNvCxnSpPr>
                    <a:cxnSpLocks/>
                  </p:cNvCxnSpPr>
                  <p:nvPr/>
                </p:nvCxnSpPr>
                <p:spPr>
                  <a:xfrm>
                    <a:off x="5864706" y="2917743"/>
                    <a:ext cx="184882" cy="0"/>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B41BBAF-2162-4312-6DDA-7074C17ABF06}"/>
                      </a:ext>
                    </a:extLst>
                  </p:cNvPr>
                  <p:cNvCxnSpPr>
                    <a:cxnSpLocks/>
                  </p:cNvCxnSpPr>
                  <p:nvPr/>
                </p:nvCxnSpPr>
                <p:spPr>
                  <a:xfrm>
                    <a:off x="5864706" y="3103294"/>
                    <a:ext cx="271714" cy="0"/>
                  </a:xfrm>
                  <a:prstGeom prst="line">
                    <a:avLst/>
                  </a:prstGeom>
                  <a:ln w="25400"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7A440CD-C185-3870-2B8B-746D7B5A038A}"/>
                      </a:ext>
                    </a:extLst>
                  </p:cNvPr>
                  <p:cNvCxnSpPr>
                    <a:cxnSpLocks/>
                  </p:cNvCxnSpPr>
                  <p:nvPr/>
                </p:nvCxnSpPr>
                <p:spPr>
                  <a:xfrm>
                    <a:off x="5864706" y="3162099"/>
                    <a:ext cx="184882" cy="0"/>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4E66291-5CC0-2D24-9EAC-E0B3EA576D2B}"/>
                      </a:ext>
                    </a:extLst>
                  </p:cNvPr>
                  <p:cNvCxnSpPr>
                    <a:cxnSpLocks/>
                  </p:cNvCxnSpPr>
                  <p:nvPr/>
                </p:nvCxnSpPr>
                <p:spPr>
                  <a:xfrm>
                    <a:off x="5864706" y="3359129"/>
                    <a:ext cx="271714" cy="0"/>
                  </a:xfrm>
                  <a:prstGeom prst="line">
                    <a:avLst/>
                  </a:prstGeom>
                  <a:ln w="25400"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E5454C6-EC12-1997-A9C9-28038AA424A9}"/>
                      </a:ext>
                    </a:extLst>
                  </p:cNvPr>
                  <p:cNvCxnSpPr>
                    <a:cxnSpLocks/>
                  </p:cNvCxnSpPr>
                  <p:nvPr/>
                </p:nvCxnSpPr>
                <p:spPr>
                  <a:xfrm>
                    <a:off x="5864706" y="3417934"/>
                    <a:ext cx="184882" cy="0"/>
                  </a:xfrm>
                  <a:prstGeom prst="line">
                    <a:avLst/>
                  </a:pr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Rectangle: Top Corners Rounded 36">
                    <a:extLst>
                      <a:ext uri="{FF2B5EF4-FFF2-40B4-BE49-F238E27FC236}">
                        <a16:creationId xmlns:a16="http://schemas.microsoft.com/office/drawing/2014/main" id="{9D147B9C-FA71-810E-6FCA-3001ACE967EC}"/>
                      </a:ext>
                    </a:extLst>
                  </p:cNvPr>
                  <p:cNvSpPr/>
                  <p:nvPr/>
                </p:nvSpPr>
                <p:spPr bwMode="auto">
                  <a:xfrm>
                    <a:off x="5775538" y="2628206"/>
                    <a:ext cx="653838" cy="134044"/>
                  </a:xfrm>
                  <a:prstGeom prst="round2SameRect">
                    <a:avLst>
                      <a:gd name="adj1" fmla="val 28667"/>
                      <a:gd name="adj2" fmla="val 0"/>
                    </a:avLst>
                  </a:prstGeom>
                  <a:gradFill>
                    <a:gsLst>
                      <a:gs pos="0">
                        <a:schemeClr val="bg1"/>
                      </a:gs>
                      <a:gs pos="100000">
                        <a:schemeClr val="bg1"/>
                      </a:gs>
                    </a:gsLst>
                    <a:lin ang="2700000" scaled="1"/>
                  </a:gradFill>
                  <a:ln>
                    <a:gradFill flip="none" rotWithShape="1">
                      <a:gsLst>
                        <a:gs pos="0">
                          <a:schemeClr val="accent1">
                            <a:lumMod val="5000"/>
                            <a:lumOff val="95000"/>
                          </a:scheme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a:defRPr/>
                    </a:pPr>
                    <a:endParaRPr lang="en-US" sz="1999">
                      <a:gradFill>
                        <a:gsLst>
                          <a:gs pos="0">
                            <a:srgbClr val="FFFFFF"/>
                          </a:gs>
                          <a:gs pos="100000">
                            <a:srgbClr val="FFFFFF"/>
                          </a:gs>
                        </a:gsLst>
                        <a:lin ang="5400000" scaled="1"/>
                      </a:gradFill>
                      <a:latin typeface="72 Brand" panose="020B0504030603020204" pitchFamily="34" charset="0"/>
                    </a:endParaRPr>
                  </a:p>
                </p:txBody>
              </p:sp>
            </p:grpSp>
            <p:grpSp>
              <p:nvGrpSpPr>
                <p:cNvPr id="21" name="Group 20">
                  <a:extLst>
                    <a:ext uri="{FF2B5EF4-FFF2-40B4-BE49-F238E27FC236}">
                      <a16:creationId xmlns:a16="http://schemas.microsoft.com/office/drawing/2014/main" id="{156EE322-0492-DC56-D958-D5870AE3F201}"/>
                    </a:ext>
                  </a:extLst>
                </p:cNvPr>
                <p:cNvGrpSpPr/>
                <p:nvPr/>
              </p:nvGrpSpPr>
              <p:grpSpPr>
                <a:xfrm>
                  <a:off x="7162063" y="1361850"/>
                  <a:ext cx="736940" cy="736938"/>
                  <a:chOff x="4647941" y="4078281"/>
                  <a:chExt cx="1263910" cy="1263906"/>
                </a:xfrm>
              </p:grpSpPr>
              <p:sp>
                <p:nvSpPr>
                  <p:cNvPr id="22" name="Arc 21">
                    <a:extLst>
                      <a:ext uri="{FF2B5EF4-FFF2-40B4-BE49-F238E27FC236}">
                        <a16:creationId xmlns:a16="http://schemas.microsoft.com/office/drawing/2014/main" id="{04C13A62-7C59-AAEB-C164-1B529E2BD7AE}"/>
                      </a:ext>
                    </a:extLst>
                  </p:cNvPr>
                  <p:cNvSpPr/>
                  <p:nvPr/>
                </p:nvSpPr>
                <p:spPr>
                  <a:xfrm>
                    <a:off x="4647941" y="4078281"/>
                    <a:ext cx="1263910" cy="1263906"/>
                  </a:xfrm>
                  <a:prstGeom prst="arc">
                    <a:avLst>
                      <a:gd name="adj1" fmla="val 16200000"/>
                      <a:gd name="adj2" fmla="val 20041536"/>
                    </a:avLst>
                  </a:prstGeom>
                  <a:ln w="82550">
                    <a:solidFill>
                      <a:srgbClr val="1B90FF"/>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88232">
                      <a:defRPr/>
                    </a:pPr>
                    <a:endParaRPr lang="en-US" sz="2099">
                      <a:solidFill>
                        <a:srgbClr val="000000"/>
                      </a:solidFill>
                      <a:latin typeface="72 Brand"/>
                    </a:endParaRPr>
                  </a:p>
                </p:txBody>
              </p:sp>
              <p:sp>
                <p:nvSpPr>
                  <p:cNvPr id="23" name="Arc 22">
                    <a:extLst>
                      <a:ext uri="{FF2B5EF4-FFF2-40B4-BE49-F238E27FC236}">
                        <a16:creationId xmlns:a16="http://schemas.microsoft.com/office/drawing/2014/main" id="{74CA702E-9E00-DC54-6690-DABCED30DAD0}"/>
                      </a:ext>
                    </a:extLst>
                  </p:cNvPr>
                  <p:cNvSpPr/>
                  <p:nvPr/>
                </p:nvSpPr>
                <p:spPr>
                  <a:xfrm>
                    <a:off x="4647941" y="4078281"/>
                    <a:ext cx="1263910" cy="1263906"/>
                  </a:xfrm>
                  <a:prstGeom prst="arc">
                    <a:avLst>
                      <a:gd name="adj1" fmla="val 19975404"/>
                      <a:gd name="adj2" fmla="val 7092677"/>
                    </a:avLst>
                  </a:prstGeom>
                  <a:ln w="82550">
                    <a:solidFill>
                      <a:srgbClr val="00CEAC"/>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88232">
                      <a:defRPr/>
                    </a:pPr>
                    <a:endParaRPr lang="en-US" sz="2099">
                      <a:solidFill>
                        <a:srgbClr val="000000"/>
                      </a:solidFill>
                      <a:latin typeface="72 Brand"/>
                    </a:endParaRPr>
                  </a:p>
                </p:txBody>
              </p:sp>
              <p:sp>
                <p:nvSpPr>
                  <p:cNvPr id="24" name="Arc 23">
                    <a:extLst>
                      <a:ext uri="{FF2B5EF4-FFF2-40B4-BE49-F238E27FC236}">
                        <a16:creationId xmlns:a16="http://schemas.microsoft.com/office/drawing/2014/main" id="{5469611E-E953-EFFD-7BB9-356FED4E5D2B}"/>
                      </a:ext>
                    </a:extLst>
                  </p:cNvPr>
                  <p:cNvSpPr/>
                  <p:nvPr/>
                </p:nvSpPr>
                <p:spPr>
                  <a:xfrm>
                    <a:off x="4647941" y="4078281"/>
                    <a:ext cx="1263910" cy="1263906"/>
                  </a:xfrm>
                  <a:prstGeom prst="arc">
                    <a:avLst>
                      <a:gd name="adj1" fmla="val 7096144"/>
                      <a:gd name="adj2" fmla="val 11058170"/>
                    </a:avLst>
                  </a:prstGeom>
                  <a:ln w="82550">
                    <a:solidFill>
                      <a:srgbClr val="FFB300"/>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88232">
                      <a:defRPr/>
                    </a:pPr>
                    <a:endParaRPr lang="en-US" sz="2099">
                      <a:solidFill>
                        <a:srgbClr val="000000"/>
                      </a:solidFill>
                      <a:latin typeface="72 Brand"/>
                    </a:endParaRPr>
                  </a:p>
                </p:txBody>
              </p:sp>
              <p:sp>
                <p:nvSpPr>
                  <p:cNvPr id="25" name="Arc 24">
                    <a:extLst>
                      <a:ext uri="{FF2B5EF4-FFF2-40B4-BE49-F238E27FC236}">
                        <a16:creationId xmlns:a16="http://schemas.microsoft.com/office/drawing/2014/main" id="{C90E51DC-8566-1A1F-A09B-65E0EE44A16C}"/>
                      </a:ext>
                    </a:extLst>
                  </p:cNvPr>
                  <p:cNvSpPr/>
                  <p:nvPr/>
                </p:nvSpPr>
                <p:spPr>
                  <a:xfrm>
                    <a:off x="4647941" y="4078281"/>
                    <a:ext cx="1263910" cy="1263906"/>
                  </a:xfrm>
                  <a:prstGeom prst="arc">
                    <a:avLst>
                      <a:gd name="adj1" fmla="val 11069233"/>
                      <a:gd name="adj2" fmla="val 14190588"/>
                    </a:avLst>
                  </a:prstGeom>
                  <a:ln w="82550">
                    <a:solidFill>
                      <a:srgbClr val="7858FF"/>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88232">
                      <a:defRPr/>
                    </a:pPr>
                    <a:endParaRPr lang="en-US" sz="2099">
                      <a:solidFill>
                        <a:srgbClr val="000000"/>
                      </a:solidFill>
                      <a:latin typeface="72 Brand"/>
                    </a:endParaRPr>
                  </a:p>
                </p:txBody>
              </p:sp>
              <p:sp>
                <p:nvSpPr>
                  <p:cNvPr id="26" name="Arc 25">
                    <a:extLst>
                      <a:ext uri="{FF2B5EF4-FFF2-40B4-BE49-F238E27FC236}">
                        <a16:creationId xmlns:a16="http://schemas.microsoft.com/office/drawing/2014/main" id="{837972BB-F08E-6405-1DAA-2170AA70FAB3}"/>
                      </a:ext>
                    </a:extLst>
                  </p:cNvPr>
                  <p:cNvSpPr/>
                  <p:nvPr/>
                </p:nvSpPr>
                <p:spPr>
                  <a:xfrm>
                    <a:off x="4647941" y="4078281"/>
                    <a:ext cx="1263910" cy="1263906"/>
                  </a:xfrm>
                  <a:prstGeom prst="arc">
                    <a:avLst>
                      <a:gd name="adj1" fmla="val 14148211"/>
                      <a:gd name="adj2" fmla="val 16267558"/>
                    </a:avLst>
                  </a:prstGeom>
                  <a:ln w="82550">
                    <a:solidFill>
                      <a:srgbClr val="F31DED"/>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88232">
                      <a:defRPr/>
                    </a:pPr>
                    <a:endParaRPr lang="en-US" sz="2099">
                      <a:solidFill>
                        <a:srgbClr val="000000"/>
                      </a:solidFill>
                      <a:latin typeface="72 Brand"/>
                    </a:endParaRPr>
                  </a:p>
                </p:txBody>
              </p:sp>
            </p:grpSp>
          </p:grpSp>
          <p:sp>
            <p:nvSpPr>
              <p:cNvPr id="16" name="TextBox 15">
                <a:extLst>
                  <a:ext uri="{FF2B5EF4-FFF2-40B4-BE49-F238E27FC236}">
                    <a16:creationId xmlns:a16="http://schemas.microsoft.com/office/drawing/2014/main" id="{DD2B67F5-A18A-E263-853B-621FA000878C}"/>
                  </a:ext>
                </a:extLst>
              </p:cNvPr>
              <p:cNvSpPr txBox="1"/>
              <p:nvPr/>
            </p:nvSpPr>
            <p:spPr>
              <a:xfrm>
                <a:off x="3996690" y="5064197"/>
                <a:ext cx="1389804" cy="553998"/>
              </a:xfrm>
              <a:prstGeom prst="rect">
                <a:avLst/>
              </a:prstGeom>
              <a:noFill/>
            </p:spPr>
            <p:txBody>
              <a:bodyPr wrap="none" lIns="0" tIns="0" rIns="0" bIns="0" rtlCol="0">
                <a:spAutoFit/>
              </a:bodyPr>
              <a:lstStyle/>
              <a:p>
                <a:pPr defTabSz="1088232" fontAlgn="base">
                  <a:spcBef>
                    <a:spcPct val="50000"/>
                  </a:spcBef>
                  <a:spcAft>
                    <a:spcPct val="0"/>
                  </a:spcAft>
                  <a:buClr>
                    <a:srgbClr val="000000"/>
                  </a:buClr>
                  <a:buSzPct val="100000"/>
                  <a:defRPr/>
                </a:pPr>
                <a:r>
                  <a:rPr lang="en-US" sz="1799" kern="0">
                    <a:gradFill>
                      <a:gsLst>
                        <a:gs pos="0">
                          <a:srgbClr val="002A86"/>
                        </a:gs>
                        <a:gs pos="100000">
                          <a:srgbClr val="002A86"/>
                        </a:gs>
                      </a:gsLst>
                      <a:lin ang="5400000" scaled="1"/>
                    </a:gradFill>
                    <a:latin typeface="72 Brand Medium"/>
                    <a:ea typeface="72 Brand" pitchFamily="34" charset="-128"/>
                    <a:cs typeface="72 Brand" pitchFamily="34" charset="-128"/>
                  </a:rPr>
                  <a:t>Authoritative</a:t>
                </a:r>
                <a:br>
                  <a:rPr lang="en-US" sz="1799" kern="0">
                    <a:gradFill>
                      <a:gsLst>
                        <a:gs pos="0">
                          <a:srgbClr val="002A86"/>
                        </a:gs>
                        <a:gs pos="100000">
                          <a:srgbClr val="002A86"/>
                        </a:gs>
                      </a:gsLst>
                      <a:lin ang="5400000" scaled="1"/>
                    </a:gradFill>
                    <a:latin typeface="72 Brand Medium"/>
                    <a:ea typeface="72 Brand" pitchFamily="34" charset="-128"/>
                    <a:cs typeface="72 Brand" pitchFamily="34" charset="-128"/>
                  </a:rPr>
                </a:br>
                <a:r>
                  <a:rPr lang="en-US" sz="1799" kern="0">
                    <a:gradFill>
                      <a:gsLst>
                        <a:gs pos="0">
                          <a:srgbClr val="002A86"/>
                        </a:gs>
                        <a:gs pos="100000">
                          <a:srgbClr val="002A86"/>
                        </a:gs>
                      </a:gsLst>
                      <a:lin ang="5400000" scaled="1"/>
                    </a:gradFill>
                    <a:latin typeface="72 Brand Medium"/>
                    <a:ea typeface="72 Brand" pitchFamily="34" charset="-128"/>
                    <a:cs typeface="72 Brand" pitchFamily="34" charset="-128"/>
                  </a:rPr>
                  <a:t>data</a:t>
                </a:r>
              </a:p>
            </p:txBody>
          </p:sp>
        </p:grpSp>
        <p:cxnSp>
          <p:nvCxnSpPr>
            <p:cNvPr id="75" name="Straight Connector 74">
              <a:extLst>
                <a:ext uri="{FF2B5EF4-FFF2-40B4-BE49-F238E27FC236}">
                  <a16:creationId xmlns:a16="http://schemas.microsoft.com/office/drawing/2014/main" id="{9FE0807F-771F-3345-1E2D-B35BE45C9176}"/>
                </a:ext>
              </a:extLst>
            </p:cNvPr>
            <p:cNvCxnSpPr>
              <a:cxnSpLocks/>
            </p:cNvCxnSpPr>
            <p:nvPr/>
          </p:nvCxnSpPr>
          <p:spPr>
            <a:xfrm>
              <a:off x="3636344" y="4358641"/>
              <a:ext cx="0" cy="247650"/>
            </a:xfrm>
            <a:prstGeom prst="line">
              <a:avLst/>
            </a:prstGeom>
            <a:noFill/>
            <a:ln>
              <a:gradFill>
                <a:gsLst>
                  <a:gs pos="0">
                    <a:srgbClr val="4DB1FF"/>
                  </a:gs>
                  <a:gs pos="100000">
                    <a:srgbClr val="A6E0FF"/>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77" name="Rectangle: Rounded Corners 76">
              <a:extLst>
                <a:ext uri="{FF2B5EF4-FFF2-40B4-BE49-F238E27FC236}">
                  <a16:creationId xmlns:a16="http://schemas.microsoft.com/office/drawing/2014/main" id="{8CCAD130-6679-BAB6-6691-335B14F2CB6A}"/>
                </a:ext>
              </a:extLst>
            </p:cNvPr>
            <p:cNvSpPr/>
            <p:nvPr/>
          </p:nvSpPr>
          <p:spPr bwMode="gray">
            <a:xfrm>
              <a:off x="497418" y="2592831"/>
              <a:ext cx="6277852" cy="1666749"/>
            </a:xfrm>
            <a:prstGeom prst="roundRect">
              <a:avLst>
                <a:gd name="adj" fmla="val 4347"/>
              </a:avLst>
            </a:prstGeom>
            <a:noFill/>
            <a:ln w="12700">
              <a:gradFill>
                <a:gsLst>
                  <a:gs pos="0">
                    <a:srgbClr val="D3B6FF"/>
                  </a:gs>
                  <a:gs pos="100000">
                    <a:srgbClr val="B894FF"/>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defRPr/>
              </a:pPr>
              <a:endParaRPr lang="en-US" sz="1199">
                <a:gradFill>
                  <a:gsLst>
                    <a:gs pos="0">
                      <a:srgbClr val="FFFFFF"/>
                    </a:gs>
                    <a:gs pos="100000">
                      <a:srgbClr val="FFFFFF"/>
                    </a:gs>
                  </a:gsLst>
                  <a:lin ang="5400000" scaled="1"/>
                </a:gradFill>
                <a:latin typeface="72 Brand" panose="020B0504030603020204" pitchFamily="34" charset="0"/>
                <a:cs typeface="72" panose="020B0503030000000003" pitchFamily="34" charset="0"/>
              </a:endParaRPr>
            </a:p>
          </p:txBody>
        </p:sp>
        <p:sp>
          <p:nvSpPr>
            <p:cNvPr id="78" name="Rectangle: Rounded Corners 77">
              <a:extLst>
                <a:ext uri="{FF2B5EF4-FFF2-40B4-BE49-F238E27FC236}">
                  <a16:creationId xmlns:a16="http://schemas.microsoft.com/office/drawing/2014/main" id="{558CE91E-B321-A966-B849-665B30390B78}"/>
                </a:ext>
              </a:extLst>
            </p:cNvPr>
            <p:cNvSpPr/>
            <p:nvPr/>
          </p:nvSpPr>
          <p:spPr bwMode="gray">
            <a:xfrm>
              <a:off x="687633" y="2806518"/>
              <a:ext cx="5897422" cy="544773"/>
            </a:xfrm>
            <a:prstGeom prst="roundRect">
              <a:avLst>
                <a:gd name="adj" fmla="val 9657"/>
              </a:avLst>
            </a:prstGeom>
            <a:gradFill flip="none" rotWithShape="1">
              <a:gsLst>
                <a:gs pos="100000">
                  <a:srgbClr val="89D1FF">
                    <a:alpha val="70000"/>
                  </a:srgbClr>
                </a:gs>
                <a:gs pos="0">
                  <a:srgbClr val="A6E0FF">
                    <a:alpha val="70000"/>
                  </a:srgbClr>
                </a:gs>
              </a:gsLst>
              <a:lin ang="2700000" scaled="1"/>
              <a:tileRect/>
            </a:gradFill>
            <a:ln w="12700">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ctr" anchorCtr="0" forceAA="0" compatLnSpc="1">
              <a:prstTxWarp prst="textNoShape">
                <a:avLst/>
              </a:prstTxWarp>
              <a:noAutofit/>
            </a:bodyPr>
            <a:lstStyle/>
            <a:p>
              <a:pPr algn="ctr" defTabSz="932006" fontAlgn="base">
                <a:spcBef>
                  <a:spcPct val="0"/>
                </a:spcBef>
                <a:spcAft>
                  <a:spcPct val="0"/>
                </a:spcAft>
                <a:defRPr/>
              </a:pPr>
              <a:r>
                <a:rPr lang="en-US" sz="1199">
                  <a:gradFill>
                    <a:gsLst>
                      <a:gs pos="0">
                        <a:srgbClr val="002A86"/>
                      </a:gs>
                      <a:gs pos="100000">
                        <a:srgbClr val="002A86"/>
                      </a:gs>
                    </a:gsLst>
                    <a:lin ang="5400000" scaled="1"/>
                  </a:gradFill>
                  <a:latin typeface="72 Brand Medium"/>
                  <a:cs typeface="72" panose="020B0503030000000003" pitchFamily="34" charset="0"/>
                </a:rPr>
                <a:t>Insight Apps</a:t>
              </a:r>
            </a:p>
          </p:txBody>
        </p:sp>
        <p:sp>
          <p:nvSpPr>
            <p:cNvPr id="80" name="Rectangle: Rounded Corners 79">
              <a:extLst>
                <a:ext uri="{FF2B5EF4-FFF2-40B4-BE49-F238E27FC236}">
                  <a16:creationId xmlns:a16="http://schemas.microsoft.com/office/drawing/2014/main" id="{38FBEC6E-795A-E740-83CA-B48E225456BE}"/>
                </a:ext>
              </a:extLst>
            </p:cNvPr>
            <p:cNvSpPr/>
            <p:nvPr/>
          </p:nvSpPr>
          <p:spPr bwMode="gray">
            <a:xfrm>
              <a:off x="713352" y="3480866"/>
              <a:ext cx="2847402" cy="544773"/>
            </a:xfrm>
            <a:prstGeom prst="roundRect">
              <a:avLst>
                <a:gd name="adj" fmla="val 9657"/>
              </a:avLst>
            </a:prstGeom>
            <a:gradFill flip="none" rotWithShape="1">
              <a:gsLst>
                <a:gs pos="100000">
                  <a:srgbClr val="EBF8FF"/>
                </a:gs>
                <a:gs pos="0">
                  <a:schemeClr val="bg1"/>
                </a:gs>
              </a:gsLst>
              <a:lin ang="2700000" scaled="1"/>
              <a:tileRect/>
            </a:gradFill>
            <a:ln w="12700">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ctr" anchorCtr="0" forceAA="0" compatLnSpc="1">
              <a:prstTxWarp prst="textNoShape">
                <a:avLst/>
              </a:prstTxWarp>
              <a:noAutofit/>
            </a:bodyPr>
            <a:lstStyle/>
            <a:p>
              <a:pPr algn="ctr" defTabSz="932006" fontAlgn="base">
                <a:spcBef>
                  <a:spcPct val="0"/>
                </a:spcBef>
                <a:spcAft>
                  <a:spcPct val="0"/>
                </a:spcAft>
                <a:defRPr/>
              </a:pPr>
              <a:r>
                <a:rPr lang="en-US" sz="1199">
                  <a:gradFill>
                    <a:gsLst>
                      <a:gs pos="0">
                        <a:srgbClr val="002A86"/>
                      </a:gs>
                      <a:gs pos="100000">
                        <a:srgbClr val="002A86"/>
                      </a:gs>
                    </a:gsLst>
                    <a:lin ang="5400000" scaled="1"/>
                  </a:gradFill>
                  <a:latin typeface="72 Brand Medium"/>
                  <a:cs typeface="72" panose="020B0503030000000003" pitchFamily="34" charset="0"/>
                </a:rPr>
                <a:t>Insight App A</a:t>
              </a:r>
            </a:p>
          </p:txBody>
        </p:sp>
        <p:sp>
          <p:nvSpPr>
            <p:cNvPr id="81" name="Rectangle: Rounded Corners 80">
              <a:extLst>
                <a:ext uri="{FF2B5EF4-FFF2-40B4-BE49-F238E27FC236}">
                  <a16:creationId xmlns:a16="http://schemas.microsoft.com/office/drawing/2014/main" id="{74E0BD96-8E4F-074C-8CB2-A81AF7C08DC2}"/>
                </a:ext>
              </a:extLst>
            </p:cNvPr>
            <p:cNvSpPr/>
            <p:nvPr/>
          </p:nvSpPr>
          <p:spPr bwMode="gray">
            <a:xfrm>
              <a:off x="3762216" y="3480866"/>
              <a:ext cx="2848558" cy="544773"/>
            </a:xfrm>
            <a:prstGeom prst="roundRect">
              <a:avLst>
                <a:gd name="adj" fmla="val 9657"/>
              </a:avLst>
            </a:prstGeom>
            <a:gradFill flip="none" rotWithShape="1">
              <a:gsLst>
                <a:gs pos="100000">
                  <a:srgbClr val="EBF8FF"/>
                </a:gs>
                <a:gs pos="0">
                  <a:schemeClr val="bg1"/>
                </a:gs>
              </a:gsLst>
              <a:lin ang="2700000" scaled="1"/>
              <a:tileRect/>
            </a:gradFill>
            <a:ln w="12700">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ctr" anchorCtr="0" forceAA="0" compatLnSpc="1">
              <a:prstTxWarp prst="textNoShape">
                <a:avLst/>
              </a:prstTxWarp>
              <a:noAutofit/>
            </a:bodyPr>
            <a:lstStyle/>
            <a:p>
              <a:pPr algn="ctr" defTabSz="932006" fontAlgn="base">
                <a:spcBef>
                  <a:spcPct val="0"/>
                </a:spcBef>
                <a:spcAft>
                  <a:spcPct val="0"/>
                </a:spcAft>
                <a:defRPr/>
              </a:pPr>
              <a:r>
                <a:rPr lang="en-US" sz="1199">
                  <a:gradFill>
                    <a:gsLst>
                      <a:gs pos="0">
                        <a:srgbClr val="002A86"/>
                      </a:gs>
                      <a:gs pos="100000">
                        <a:srgbClr val="002A86"/>
                      </a:gs>
                    </a:gsLst>
                    <a:lin ang="5400000" scaled="1"/>
                  </a:gradFill>
                  <a:latin typeface="72 Brand Medium"/>
                  <a:cs typeface="72" panose="020B0503030000000003" pitchFamily="34" charset="0"/>
                </a:rPr>
                <a:t>Insight App B</a:t>
              </a:r>
            </a:p>
          </p:txBody>
        </p:sp>
        <p:sp>
          <p:nvSpPr>
            <p:cNvPr id="83" name="Rectangle: Rounded Corners 82">
              <a:extLst>
                <a:ext uri="{FF2B5EF4-FFF2-40B4-BE49-F238E27FC236}">
                  <a16:creationId xmlns:a16="http://schemas.microsoft.com/office/drawing/2014/main" id="{61CD4565-D036-91A8-7906-F61694C591B4}"/>
                </a:ext>
              </a:extLst>
            </p:cNvPr>
            <p:cNvSpPr/>
            <p:nvPr/>
          </p:nvSpPr>
          <p:spPr bwMode="auto">
            <a:xfrm>
              <a:off x="2847118" y="4112595"/>
              <a:ext cx="1578452" cy="304640"/>
            </a:xfrm>
            <a:prstGeom prst="roundRect">
              <a:avLst>
                <a:gd name="adj" fmla="val 50000"/>
              </a:avLst>
            </a:prstGeom>
            <a:gradFill flip="none" rotWithShape="1">
              <a:gsLst>
                <a:gs pos="0">
                  <a:schemeClr val="bg1"/>
                </a:gs>
                <a:gs pos="100000">
                  <a:srgbClr val="EBF8FF"/>
                </a:gs>
              </a:gsLst>
              <a:lin ang="2700000" scaled="1"/>
              <a:tileRect/>
            </a:gradFill>
            <a:ln w="12700">
              <a:noFill/>
              <a:headEnd type="none" w="med" len="med"/>
              <a:tailEnd type="none" w="med" len="med"/>
            </a:ln>
            <a:effectLst>
              <a:outerShdw blurRad="508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690" tIns="146152" rIns="182690" bIns="146152" numCol="1" spcCol="0" rtlCol="0" fromWordArt="0" anchor="ctr" anchorCtr="0" forceAA="0" compatLnSpc="1">
              <a:prstTxWarp prst="textNoShape">
                <a:avLst/>
              </a:prstTxWarp>
              <a:noAutofit/>
            </a:bodyPr>
            <a:lstStyle/>
            <a:p>
              <a:pPr algn="ctr" defTabSz="931540" fontAlgn="base">
                <a:spcBef>
                  <a:spcPct val="0"/>
                </a:spcBef>
                <a:spcAft>
                  <a:spcPct val="0"/>
                </a:spcAft>
                <a:defRPr/>
              </a:pPr>
              <a:r>
                <a:rPr lang="en-US" sz="1199">
                  <a:gradFill>
                    <a:gsLst>
                      <a:gs pos="0">
                        <a:srgbClr val="5D36FF"/>
                      </a:gs>
                      <a:gs pos="100000">
                        <a:srgbClr val="5D36FF"/>
                      </a:gs>
                    </a:gsLst>
                    <a:lin ang="5400000" scaled="1"/>
                  </a:gradFill>
                  <a:latin typeface="72 Brand Medium" panose="020B0604030603020204" pitchFamily="34" charset="0"/>
                  <a:cs typeface="72" panose="020B0503030000000003" pitchFamily="34" charset="0"/>
                </a:rPr>
                <a:t>Infused with AI</a:t>
              </a:r>
            </a:p>
          </p:txBody>
        </p:sp>
        <p:grpSp>
          <p:nvGrpSpPr>
            <p:cNvPr id="92" name="Group 91">
              <a:extLst>
                <a:ext uri="{FF2B5EF4-FFF2-40B4-BE49-F238E27FC236}">
                  <a16:creationId xmlns:a16="http://schemas.microsoft.com/office/drawing/2014/main" id="{1DA58541-C07C-3D64-1CE8-CCF9FB39436B}"/>
                </a:ext>
              </a:extLst>
            </p:cNvPr>
            <p:cNvGrpSpPr/>
            <p:nvPr/>
          </p:nvGrpSpPr>
          <p:grpSpPr>
            <a:xfrm>
              <a:off x="2166109" y="1534468"/>
              <a:ext cx="2940471" cy="1186055"/>
              <a:chOff x="2459382" y="1360295"/>
              <a:chExt cx="2940471" cy="1186055"/>
            </a:xfrm>
          </p:grpSpPr>
          <p:sp>
            <p:nvSpPr>
              <p:cNvPr id="84" name="Rectangle: Rounded Corners 83">
                <a:extLst>
                  <a:ext uri="{FF2B5EF4-FFF2-40B4-BE49-F238E27FC236}">
                    <a16:creationId xmlns:a16="http://schemas.microsoft.com/office/drawing/2014/main" id="{A6E73313-BAE1-8E93-C765-C9BE6C281215}"/>
                  </a:ext>
                </a:extLst>
              </p:cNvPr>
              <p:cNvSpPr/>
              <p:nvPr/>
            </p:nvSpPr>
            <p:spPr bwMode="gray">
              <a:xfrm>
                <a:off x="2459382" y="1360295"/>
                <a:ext cx="573508" cy="576002"/>
              </a:xfrm>
              <a:prstGeom prst="roundRect">
                <a:avLst>
                  <a:gd name="adj" fmla="val 8412"/>
                </a:avLst>
              </a:prstGeom>
              <a:gradFill flip="none" rotWithShape="1">
                <a:gsLst>
                  <a:gs pos="100000">
                    <a:srgbClr val="EBF8FF"/>
                  </a:gs>
                  <a:gs pos="0">
                    <a:schemeClr val="bg1"/>
                  </a:gs>
                </a:gsLst>
                <a:lin ang="2700000" scaled="1"/>
                <a:tileRect/>
              </a:gradFill>
              <a:ln w="12700">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ctr" anchorCtr="0" forceAA="0" compatLnSpc="1">
                <a:prstTxWarp prst="textNoShape">
                  <a:avLst/>
                </a:prstTxWarp>
                <a:noAutofit/>
              </a:bodyPr>
              <a:lstStyle/>
              <a:p>
                <a:pPr algn="ctr" defTabSz="932006" fontAlgn="base">
                  <a:spcBef>
                    <a:spcPct val="0"/>
                  </a:spcBef>
                  <a:spcAft>
                    <a:spcPct val="0"/>
                  </a:spcAft>
                  <a:defRPr/>
                </a:pPr>
                <a:endParaRPr lang="en-US" sz="1199">
                  <a:gradFill>
                    <a:gsLst>
                      <a:gs pos="0">
                        <a:srgbClr val="002A86"/>
                      </a:gs>
                      <a:gs pos="100000">
                        <a:srgbClr val="002A86"/>
                      </a:gs>
                    </a:gsLst>
                    <a:lin ang="5400000" scaled="1"/>
                  </a:gradFill>
                  <a:latin typeface="72 Brand Medium"/>
                  <a:cs typeface="72" panose="020B0503030000000003" pitchFamily="34" charset="0"/>
                </a:endParaRPr>
              </a:p>
            </p:txBody>
          </p:sp>
          <p:sp>
            <p:nvSpPr>
              <p:cNvPr id="85" name="Rectangle: Rounded Corners 84">
                <a:extLst>
                  <a:ext uri="{FF2B5EF4-FFF2-40B4-BE49-F238E27FC236}">
                    <a16:creationId xmlns:a16="http://schemas.microsoft.com/office/drawing/2014/main" id="{E63AC96F-663E-3020-AAAA-8C059F2EED56}"/>
                  </a:ext>
                </a:extLst>
              </p:cNvPr>
              <p:cNvSpPr/>
              <p:nvPr/>
            </p:nvSpPr>
            <p:spPr bwMode="gray">
              <a:xfrm>
                <a:off x="4826345" y="1360295"/>
                <a:ext cx="573508" cy="576002"/>
              </a:xfrm>
              <a:prstGeom prst="roundRect">
                <a:avLst>
                  <a:gd name="adj" fmla="val 8412"/>
                </a:avLst>
              </a:prstGeom>
              <a:gradFill flip="none" rotWithShape="1">
                <a:gsLst>
                  <a:gs pos="100000">
                    <a:srgbClr val="EBF8FF"/>
                  </a:gs>
                  <a:gs pos="0">
                    <a:schemeClr val="bg1"/>
                  </a:gs>
                </a:gsLst>
                <a:lin ang="2700000" scaled="1"/>
                <a:tileRect/>
              </a:gradFill>
              <a:ln w="12700">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ctr" anchorCtr="0" forceAA="0" compatLnSpc="1">
                <a:prstTxWarp prst="textNoShape">
                  <a:avLst/>
                </a:prstTxWarp>
                <a:noAutofit/>
              </a:bodyPr>
              <a:lstStyle/>
              <a:p>
                <a:pPr algn="ctr" defTabSz="932006" fontAlgn="base">
                  <a:spcBef>
                    <a:spcPct val="0"/>
                  </a:spcBef>
                  <a:spcAft>
                    <a:spcPct val="0"/>
                  </a:spcAft>
                  <a:defRPr/>
                </a:pPr>
                <a:endParaRPr lang="en-US" sz="1199">
                  <a:gradFill>
                    <a:gsLst>
                      <a:gs pos="0">
                        <a:srgbClr val="002A86"/>
                      </a:gs>
                      <a:gs pos="100000">
                        <a:srgbClr val="002A86"/>
                      </a:gs>
                    </a:gsLst>
                    <a:lin ang="5400000" scaled="1"/>
                  </a:gradFill>
                  <a:latin typeface="72 Brand Medium"/>
                  <a:cs typeface="72" panose="020B0503030000000003" pitchFamily="34" charset="0"/>
                </a:endParaRPr>
              </a:p>
            </p:txBody>
          </p:sp>
          <p:sp>
            <p:nvSpPr>
              <p:cNvPr id="86" name="TextBox 85">
                <a:extLst>
                  <a:ext uri="{FF2B5EF4-FFF2-40B4-BE49-F238E27FC236}">
                    <a16:creationId xmlns:a16="http://schemas.microsoft.com/office/drawing/2014/main" id="{A4ECBFF7-0C92-24F6-E584-CE7F9F5CC31D}"/>
                  </a:ext>
                </a:extLst>
              </p:cNvPr>
              <p:cNvSpPr txBox="1"/>
              <p:nvPr/>
            </p:nvSpPr>
            <p:spPr>
              <a:xfrm>
                <a:off x="4847802" y="2071747"/>
                <a:ext cx="530594" cy="184666"/>
              </a:xfrm>
              <a:prstGeom prst="rect">
                <a:avLst/>
              </a:prstGeom>
              <a:noFill/>
            </p:spPr>
            <p:txBody>
              <a:bodyPr wrap="none" lIns="0" tIns="0" rIns="0" bIns="0" rtlCol="0" anchor="ctr">
                <a:spAutoFit/>
              </a:bodyPr>
              <a:lstStyle/>
              <a:p>
                <a:pPr algn="ctr" defTabSz="1088232" fontAlgn="base">
                  <a:spcBef>
                    <a:spcPct val="50000"/>
                  </a:spcBef>
                  <a:spcAft>
                    <a:spcPct val="0"/>
                  </a:spcAft>
                  <a:buClr>
                    <a:srgbClr val="000000"/>
                  </a:buClr>
                  <a:buSzPct val="100000"/>
                  <a:defRPr/>
                </a:pPr>
                <a:r>
                  <a:rPr lang="en-US" sz="1199" kern="0">
                    <a:gradFill>
                      <a:gsLst>
                        <a:gs pos="0">
                          <a:srgbClr val="002A86"/>
                        </a:gs>
                        <a:gs pos="100000">
                          <a:srgbClr val="002A86"/>
                        </a:gs>
                      </a:gsLst>
                      <a:lin ang="5400000" scaled="1"/>
                    </a:gradFill>
                    <a:latin typeface="72 Brand Medium"/>
                    <a:ea typeface="72 Brand" pitchFamily="34" charset="-128"/>
                    <a:cs typeface="72 Brand" pitchFamily="34" charset="-128"/>
                  </a:rPr>
                  <a:t>Actions</a:t>
                </a:r>
              </a:p>
            </p:txBody>
          </p:sp>
          <p:sp>
            <p:nvSpPr>
              <p:cNvPr id="87" name="TextBox 86">
                <a:extLst>
                  <a:ext uri="{FF2B5EF4-FFF2-40B4-BE49-F238E27FC236}">
                    <a16:creationId xmlns:a16="http://schemas.microsoft.com/office/drawing/2014/main" id="{F42C842B-D638-2837-7B8C-0356406F9764}"/>
                  </a:ext>
                </a:extLst>
              </p:cNvPr>
              <p:cNvSpPr txBox="1"/>
              <p:nvPr/>
            </p:nvSpPr>
            <p:spPr>
              <a:xfrm>
                <a:off x="2473626" y="2071747"/>
                <a:ext cx="545021" cy="184666"/>
              </a:xfrm>
              <a:prstGeom prst="rect">
                <a:avLst/>
              </a:prstGeom>
              <a:noFill/>
            </p:spPr>
            <p:txBody>
              <a:bodyPr wrap="none" lIns="0" tIns="0" rIns="0" bIns="0" rtlCol="0" anchor="ctr">
                <a:spAutoFit/>
              </a:bodyPr>
              <a:lstStyle/>
              <a:p>
                <a:pPr algn="ctr" defTabSz="1088232" fontAlgn="base">
                  <a:spcBef>
                    <a:spcPct val="50000"/>
                  </a:spcBef>
                  <a:spcAft>
                    <a:spcPct val="0"/>
                  </a:spcAft>
                  <a:buClr>
                    <a:srgbClr val="000000"/>
                  </a:buClr>
                  <a:buSzPct val="100000"/>
                  <a:defRPr/>
                </a:pPr>
                <a:r>
                  <a:rPr lang="en-US" sz="1199" kern="0">
                    <a:gradFill>
                      <a:gsLst>
                        <a:gs pos="0">
                          <a:srgbClr val="002A86"/>
                        </a:gs>
                        <a:gs pos="100000">
                          <a:srgbClr val="002A86"/>
                        </a:gs>
                      </a:gsLst>
                      <a:lin ang="5400000" scaled="1"/>
                    </a:gradFill>
                    <a:latin typeface="72 Brand Medium"/>
                    <a:ea typeface="72 Brand" pitchFamily="34" charset="-128"/>
                    <a:cs typeface="72 Brand" pitchFamily="34" charset="-128"/>
                  </a:rPr>
                  <a:t>Insights</a:t>
                </a:r>
              </a:p>
            </p:txBody>
          </p:sp>
          <p:pic>
            <p:nvPicPr>
              <p:cNvPr id="88" name="Graphic 87">
                <a:extLst>
                  <a:ext uri="{FF2B5EF4-FFF2-40B4-BE49-F238E27FC236}">
                    <a16:creationId xmlns:a16="http://schemas.microsoft.com/office/drawing/2014/main" id="{6565992B-5C0D-E2E5-4894-833F53C308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48475" y="1483672"/>
                <a:ext cx="329248" cy="329248"/>
              </a:xfrm>
              <a:prstGeom prst="rect">
                <a:avLst/>
              </a:prstGeom>
            </p:spPr>
          </p:pic>
          <p:pic>
            <p:nvPicPr>
              <p:cNvPr id="89" name="Graphic 88">
                <a:extLst>
                  <a:ext uri="{FF2B5EF4-FFF2-40B4-BE49-F238E27FC236}">
                    <a16:creationId xmlns:a16="http://schemas.microsoft.com/office/drawing/2014/main" id="{598FA77D-34E9-E586-9E0F-7B091E20309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92942" y="1495102"/>
                <a:ext cx="306388" cy="306388"/>
              </a:xfrm>
              <a:prstGeom prst="rect">
                <a:avLst/>
              </a:prstGeom>
            </p:spPr>
          </p:pic>
          <p:cxnSp>
            <p:nvCxnSpPr>
              <p:cNvPr id="90" name="Straight Connector 89">
                <a:extLst>
                  <a:ext uri="{FF2B5EF4-FFF2-40B4-BE49-F238E27FC236}">
                    <a16:creationId xmlns:a16="http://schemas.microsoft.com/office/drawing/2014/main" id="{369A5A23-EB57-1D16-26CA-00EFF7F391B3}"/>
                  </a:ext>
                </a:extLst>
              </p:cNvPr>
              <p:cNvCxnSpPr>
                <a:cxnSpLocks/>
              </p:cNvCxnSpPr>
              <p:nvPr/>
            </p:nvCxnSpPr>
            <p:spPr>
              <a:xfrm>
                <a:off x="2746136" y="2298700"/>
                <a:ext cx="0" cy="247650"/>
              </a:xfrm>
              <a:prstGeom prst="line">
                <a:avLst/>
              </a:prstGeom>
              <a:noFill/>
              <a:ln>
                <a:gradFill>
                  <a:gsLst>
                    <a:gs pos="0">
                      <a:srgbClr val="4DB1FF"/>
                    </a:gs>
                    <a:gs pos="100000">
                      <a:srgbClr val="A6E0FF"/>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1" name="Straight Connector 90">
                <a:extLst>
                  <a:ext uri="{FF2B5EF4-FFF2-40B4-BE49-F238E27FC236}">
                    <a16:creationId xmlns:a16="http://schemas.microsoft.com/office/drawing/2014/main" id="{E14E1A6A-8F36-ED75-9EF5-E35D389591F4}"/>
                  </a:ext>
                </a:extLst>
              </p:cNvPr>
              <p:cNvCxnSpPr>
                <a:cxnSpLocks/>
              </p:cNvCxnSpPr>
              <p:nvPr/>
            </p:nvCxnSpPr>
            <p:spPr>
              <a:xfrm>
                <a:off x="5113099" y="2298700"/>
                <a:ext cx="0" cy="247650"/>
              </a:xfrm>
              <a:prstGeom prst="line">
                <a:avLst/>
              </a:prstGeom>
              <a:noFill/>
              <a:ln>
                <a:gradFill>
                  <a:gsLst>
                    <a:gs pos="0">
                      <a:srgbClr val="4DB1FF"/>
                    </a:gs>
                    <a:gs pos="100000">
                      <a:srgbClr val="A6E0FF"/>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sp>
        <p:nvSpPr>
          <p:cNvPr id="93" name="Rectangle 92">
            <a:extLst>
              <a:ext uri="{FF2B5EF4-FFF2-40B4-BE49-F238E27FC236}">
                <a16:creationId xmlns:a16="http://schemas.microsoft.com/office/drawing/2014/main" id="{5C16FE52-2EA1-FFD1-812A-E8887E568C60}"/>
              </a:ext>
            </a:extLst>
          </p:cNvPr>
          <p:cNvSpPr/>
          <p:nvPr/>
        </p:nvSpPr>
        <p:spPr bwMode="gray">
          <a:xfrm>
            <a:off x="7285923" y="1703424"/>
            <a:ext cx="4398465" cy="4632363"/>
          </a:xfrm>
          <a:prstGeom prst="rect">
            <a:avLst/>
          </a:prstGeom>
          <a:noFill/>
          <a:ln w="25400" algn="ctr">
            <a:noFill/>
            <a:miter lim="800000"/>
            <a:headEnd/>
            <a:tailEnd/>
          </a:ln>
        </p:spPr>
        <p:txBody>
          <a:bodyPr lIns="89953" tIns="89953" rIns="89953" bIns="89953" rtlCol="0" anchor="t"/>
          <a:lstStyle/>
          <a:p>
            <a:pPr defTabSz="1087687">
              <a:spcAft>
                <a:spcPts val="1199"/>
              </a:spcAft>
              <a:buClr>
                <a:srgbClr val="0070F2"/>
              </a:buClr>
              <a:buSzPct val="80000"/>
              <a:defRPr/>
            </a:pPr>
            <a:r>
              <a:rPr lang="en-US" sz="1599" b="1">
                <a:latin typeface="+mj-lt"/>
              </a:rPr>
              <a:t>Insight apps </a:t>
            </a:r>
            <a:r>
              <a:rPr lang="en-US" sz="1599">
                <a:gradFill>
                  <a:gsLst>
                    <a:gs pos="100000">
                      <a:srgbClr val="000000"/>
                    </a:gs>
                    <a:gs pos="0">
                      <a:srgbClr val="000000"/>
                    </a:gs>
                  </a:gsLst>
                  <a:lin ang="2700000" scaled="1"/>
                </a:gradFill>
                <a:latin typeface="72 Brand"/>
              </a:rPr>
              <a:t>are SaaS components of </a:t>
            </a:r>
            <a:br>
              <a:rPr lang="en-US" sz="1599">
                <a:gradFill>
                  <a:gsLst>
                    <a:gs pos="100000">
                      <a:srgbClr val="000000"/>
                    </a:gs>
                    <a:gs pos="0">
                      <a:srgbClr val="000000"/>
                    </a:gs>
                  </a:gsLst>
                  <a:lin ang="2700000" scaled="1"/>
                </a:gradFill>
                <a:latin typeface="72 Brand"/>
              </a:rPr>
            </a:br>
            <a:r>
              <a:rPr lang="en-US" sz="1599">
                <a:gradFill>
                  <a:gsLst>
                    <a:gs pos="100000">
                      <a:srgbClr val="000000"/>
                    </a:gs>
                    <a:gs pos="0">
                      <a:srgbClr val="000000"/>
                    </a:gs>
                  </a:gsLst>
                  <a:lin ang="2700000" scaled="1"/>
                </a:gradFill>
                <a:latin typeface="72 Brand"/>
              </a:rPr>
              <a:t>SAP Business Data Cloud which expose the intelligent insights of their data to business users. The insight apps consume the underlying data based on SAP data products from SAP business applications. </a:t>
            </a:r>
            <a:endParaRPr lang="en-US" sz="1399">
              <a:gradFill>
                <a:gsLst>
                  <a:gs pos="100000">
                    <a:srgbClr val="000000"/>
                  </a:gs>
                  <a:gs pos="0">
                    <a:srgbClr val="000000"/>
                  </a:gs>
                </a:gsLst>
                <a:lin ang="2700000" scaled="1"/>
              </a:gradFill>
              <a:latin typeface="72 Brand"/>
            </a:endParaRPr>
          </a:p>
          <a:p>
            <a:pPr marL="171364" lvl="1" indent="-171364" defTabSz="1087143" fontAlgn="base">
              <a:lnSpc>
                <a:spcPct val="107000"/>
              </a:lnSpc>
              <a:spcAft>
                <a:spcPct val="0"/>
              </a:spcAft>
              <a:buClr>
                <a:srgbClr val="89D1FF"/>
              </a:buClr>
              <a:buFont typeface="Arial" panose="020B0604020202020204" pitchFamily="34" charset="0"/>
              <a:buChar char="•"/>
              <a:defRPr/>
            </a:pPr>
            <a:r>
              <a:rPr lang="en-US" sz="1399">
                <a:gradFill>
                  <a:gsLst>
                    <a:gs pos="100000">
                      <a:srgbClr val="000000"/>
                    </a:gs>
                    <a:gs pos="0">
                      <a:srgbClr val="000000"/>
                    </a:gs>
                  </a:gsLst>
                  <a:lin ang="2700000" scaled="1"/>
                </a:gradFill>
                <a:latin typeface="+mn-lt"/>
                <a:cs typeface="Times New Roman" panose="02020603050405020304" pitchFamily="18" charset="0"/>
              </a:rPr>
              <a:t>Utilize ready-to-run insights with out-of-the-box analytical models, dashboards and workflows for a variety of industry- and function-specific use cases</a:t>
            </a:r>
          </a:p>
          <a:p>
            <a:pPr marL="171364" lvl="1" indent="-171364" defTabSz="1087143" fontAlgn="base">
              <a:lnSpc>
                <a:spcPct val="107000"/>
              </a:lnSpc>
              <a:spcBef>
                <a:spcPts val="450"/>
              </a:spcBef>
              <a:spcAft>
                <a:spcPct val="0"/>
              </a:spcAft>
              <a:buClr>
                <a:srgbClr val="89D1FF"/>
              </a:buClr>
              <a:buFont typeface="Arial" panose="020B0604020202020204" pitchFamily="34" charset="0"/>
              <a:buChar char="•"/>
              <a:defRPr/>
            </a:pPr>
            <a:r>
              <a:rPr lang="en-US" sz="1399">
                <a:gradFill>
                  <a:gsLst>
                    <a:gs pos="100000">
                      <a:srgbClr val="000000"/>
                    </a:gs>
                    <a:gs pos="0">
                      <a:srgbClr val="000000"/>
                    </a:gs>
                  </a:gsLst>
                  <a:lin ang="2700000" scaled="1"/>
                </a:gradFill>
                <a:latin typeface="+mn-lt"/>
                <a:cs typeface="Times New Roman" panose="02020603050405020304" pitchFamily="18" charset="0"/>
              </a:rPr>
              <a:t>Infused with SAP Business AI to help make timely decisions and respond to critical business signals as they happen</a:t>
            </a:r>
          </a:p>
          <a:p>
            <a:pPr marL="171364" lvl="1" indent="-171364" defTabSz="1087143" fontAlgn="base">
              <a:lnSpc>
                <a:spcPct val="107000"/>
              </a:lnSpc>
              <a:spcBef>
                <a:spcPts val="450"/>
              </a:spcBef>
              <a:spcAft>
                <a:spcPct val="0"/>
              </a:spcAft>
              <a:buClr>
                <a:srgbClr val="89D1FF"/>
              </a:buClr>
              <a:buFont typeface="Arial" panose="020B0604020202020204" pitchFamily="34" charset="0"/>
              <a:buChar char="•"/>
              <a:defRPr/>
            </a:pPr>
            <a:r>
              <a:rPr lang="en-US" sz="1399">
                <a:gradFill>
                  <a:gsLst>
                    <a:gs pos="100000">
                      <a:srgbClr val="000000"/>
                    </a:gs>
                    <a:gs pos="0">
                      <a:srgbClr val="000000"/>
                    </a:gs>
                  </a:gsLst>
                  <a:lin ang="2700000" scaled="1"/>
                </a:gradFill>
                <a:latin typeface="+mn-lt"/>
                <a:cs typeface="Times New Roman" panose="02020603050405020304" pitchFamily="18" charset="0"/>
              </a:rPr>
              <a:t>Curated and managed by SAP, automatically connected to your data, ensuring accuracy and accelerating time to insights</a:t>
            </a:r>
          </a:p>
        </p:txBody>
      </p:sp>
      <p:sp>
        <p:nvSpPr>
          <p:cNvPr id="2" name="Oval 1">
            <a:extLst>
              <a:ext uri="{FF2B5EF4-FFF2-40B4-BE49-F238E27FC236}">
                <a16:creationId xmlns:a16="http://schemas.microsoft.com/office/drawing/2014/main" id="{7D5D9CE8-A2B3-6E22-40F0-B74418B70ADE}"/>
              </a:ext>
              <a:ext uri="{C183D7F6-B498-43B3-948B-1728B52AA6E4}">
                <adec:decorative xmlns:adec="http://schemas.microsoft.com/office/drawing/2017/decorative" val="1"/>
              </a:ext>
            </a:extLst>
          </p:cNvPr>
          <p:cNvSpPr/>
          <p:nvPr/>
        </p:nvSpPr>
        <p:spPr bwMode="gray">
          <a:xfrm>
            <a:off x="10807846" y="550199"/>
            <a:ext cx="740337" cy="740336"/>
          </a:xfrm>
          <a:prstGeom prst="ellipse">
            <a:avLst/>
          </a:prstGeom>
          <a:noFill/>
          <a:ln w="12700" algn="ctr">
            <a:gradFill>
              <a:gsLst>
                <a:gs pos="0">
                  <a:srgbClr val="89D1FF"/>
                </a:gs>
                <a:gs pos="100000">
                  <a:srgbClr val="1B90FF"/>
                </a:gs>
              </a:gsLst>
              <a:lin ang="5400000" scaled="1"/>
            </a:grad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
        <p:nvSpPr>
          <p:cNvPr id="3" name="Rectangle: Rounded Corners 1922">
            <a:extLst>
              <a:ext uri="{FF2B5EF4-FFF2-40B4-BE49-F238E27FC236}">
                <a16:creationId xmlns:a16="http://schemas.microsoft.com/office/drawing/2014/main" id="{B46DDABE-6891-C8A9-B3A4-582CD1BC482A}"/>
              </a:ext>
            </a:extLst>
          </p:cNvPr>
          <p:cNvSpPr/>
          <p:nvPr/>
        </p:nvSpPr>
        <p:spPr bwMode="gray">
          <a:xfrm>
            <a:off x="10666040" y="501842"/>
            <a:ext cx="1023949" cy="234614"/>
          </a:xfrm>
          <a:prstGeom prst="roundRect">
            <a:avLst>
              <a:gd name="adj" fmla="val 14916"/>
            </a:avLst>
          </a:prstGeom>
          <a:solidFill>
            <a:srgbClr val="7858FF"/>
          </a:solidFill>
          <a:ln w="15238" cap="flat">
            <a:noFill/>
            <a:prstDash val="solid"/>
            <a:miter/>
          </a:ln>
        </p:spPr>
        <p:txBody>
          <a:bodyPr rtlCol="0" anchor="ctr"/>
          <a:lstStyle/>
          <a:p>
            <a:pPr algn="ctr" defTabSz="1088122"/>
            <a:r>
              <a:rPr lang="en-US" sz="1100">
                <a:gradFill>
                  <a:gsLst>
                    <a:gs pos="0">
                      <a:schemeClr val="bg1"/>
                    </a:gs>
                    <a:gs pos="100000">
                      <a:schemeClr val="bg1"/>
                    </a:gs>
                  </a:gsLst>
                  <a:lin ang="0" scaled="0"/>
                </a:gradFill>
                <a:latin typeface="+mj-lt"/>
              </a:rPr>
              <a:t>AI</a:t>
            </a:r>
          </a:p>
        </p:txBody>
      </p:sp>
      <p:sp>
        <p:nvSpPr>
          <p:cNvPr id="5" name="Rectangle: Rounded Corners 1926">
            <a:extLst>
              <a:ext uri="{FF2B5EF4-FFF2-40B4-BE49-F238E27FC236}">
                <a16:creationId xmlns:a16="http://schemas.microsoft.com/office/drawing/2014/main" id="{227DC032-9589-C9B9-1F00-FC75861D2993}"/>
              </a:ext>
            </a:extLst>
          </p:cNvPr>
          <p:cNvSpPr/>
          <p:nvPr/>
        </p:nvSpPr>
        <p:spPr bwMode="gray">
          <a:xfrm>
            <a:off x="10666040" y="1104278"/>
            <a:ext cx="1023949" cy="234614"/>
          </a:xfrm>
          <a:prstGeom prst="roundRect">
            <a:avLst>
              <a:gd name="adj" fmla="val 16401"/>
            </a:avLst>
          </a:prstGeom>
          <a:gradFill flip="none" rotWithShape="1">
            <a:gsLst>
              <a:gs pos="0">
                <a:srgbClr val="A6E0FF"/>
              </a:gs>
              <a:gs pos="100000">
                <a:srgbClr val="89D1FF"/>
              </a:gs>
            </a:gsLst>
            <a:lin ang="2700000" scaled="1"/>
            <a:tileRect/>
          </a:gradFill>
          <a:ln w="15238" cap="flat">
            <a:noFill/>
            <a:prstDash val="solid"/>
            <a:miter/>
          </a:ln>
        </p:spPr>
        <p:txBody>
          <a:bodyPr lIns="91440" tIns="91440" rIns="91440" bIns="91440" rtlCol="0" anchor="ctr"/>
          <a:lstStyle/>
          <a:p>
            <a:pPr algn="ctr" defTabSz="913943" fontAlgn="base">
              <a:spcAft>
                <a:spcPts val="600"/>
              </a:spcAft>
              <a:buClr>
                <a:srgbClr val="F0AB00"/>
              </a:buClr>
              <a:buSzPct val="80000"/>
            </a:pPr>
            <a:r>
              <a:rPr lang="en-US" sz="1100" kern="0">
                <a:latin typeface="+mj-lt"/>
              </a:rPr>
              <a:t>Applications</a:t>
            </a:r>
          </a:p>
        </p:txBody>
      </p:sp>
      <p:sp>
        <p:nvSpPr>
          <p:cNvPr id="6" name="Rectangle 1925">
            <a:extLst>
              <a:ext uri="{FF2B5EF4-FFF2-40B4-BE49-F238E27FC236}">
                <a16:creationId xmlns:a16="http://schemas.microsoft.com/office/drawing/2014/main" id="{E84546BF-322C-103A-E62E-80E7D7311E83}"/>
              </a:ext>
              <a:ext uri="{C183D7F6-B498-43B3-948B-1728B52AA6E4}">
                <adec:decorative xmlns:adec="http://schemas.microsoft.com/office/drawing/2017/decorative" val="1"/>
              </a:ext>
            </a:extLst>
          </p:cNvPr>
          <p:cNvSpPr/>
          <p:nvPr/>
        </p:nvSpPr>
        <p:spPr bwMode="gray">
          <a:xfrm>
            <a:off x="10628148" y="444958"/>
            <a:ext cx="1055852" cy="316934"/>
          </a:xfrm>
          <a:prstGeom prst="rect">
            <a:avLst/>
          </a:prstGeom>
          <a:solidFill>
            <a:schemeClr val="bg1">
              <a:alpha val="80000"/>
            </a:schemeClr>
          </a:solidFill>
          <a:ln w="25400" algn="ctr">
            <a:no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
        <p:nvSpPr>
          <p:cNvPr id="7" name="Rectangle: Rounded Corners 1924">
            <a:extLst>
              <a:ext uri="{FF2B5EF4-FFF2-40B4-BE49-F238E27FC236}">
                <a16:creationId xmlns:a16="http://schemas.microsoft.com/office/drawing/2014/main" id="{8F0597F2-2756-4603-C8A6-8CEA2EAE43F7}"/>
              </a:ext>
            </a:extLst>
          </p:cNvPr>
          <p:cNvSpPr/>
          <p:nvPr/>
        </p:nvSpPr>
        <p:spPr bwMode="gray">
          <a:xfrm>
            <a:off x="10666040" y="803060"/>
            <a:ext cx="1023949" cy="234614"/>
          </a:xfrm>
          <a:prstGeom prst="roundRect">
            <a:avLst>
              <a:gd name="adj" fmla="val 17081"/>
            </a:avLst>
          </a:prstGeom>
          <a:solidFill>
            <a:srgbClr val="0070F2"/>
          </a:solidFill>
          <a:ln w="15238" cap="flat">
            <a:noFill/>
            <a:prstDash val="solid"/>
            <a:miter/>
          </a:ln>
        </p:spPr>
        <p:txBody>
          <a:bodyPr rtlCol="0" anchor="ctr"/>
          <a:lstStyle/>
          <a:p>
            <a:pPr algn="ctr" defTabSz="1088122"/>
            <a:r>
              <a:rPr lang="en-US" sz="1100">
                <a:gradFill>
                  <a:gsLst>
                    <a:gs pos="0">
                      <a:schemeClr val="bg1"/>
                    </a:gs>
                    <a:gs pos="100000">
                      <a:schemeClr val="bg1"/>
                    </a:gs>
                  </a:gsLst>
                  <a:lin ang="0" scaled="0"/>
                </a:gradFill>
                <a:latin typeface="+mj-lt"/>
              </a:rPr>
              <a:t>Data</a:t>
            </a:r>
          </a:p>
        </p:txBody>
      </p:sp>
      <p:sp>
        <p:nvSpPr>
          <p:cNvPr id="8" name="Rectangle 4">
            <a:extLst>
              <a:ext uri="{FF2B5EF4-FFF2-40B4-BE49-F238E27FC236}">
                <a16:creationId xmlns:a16="http://schemas.microsoft.com/office/drawing/2014/main" id="{1BE0D781-329C-A13F-4FC0-E4EA34E3412A}"/>
              </a:ext>
              <a:ext uri="{C183D7F6-B498-43B3-948B-1728B52AA6E4}">
                <adec:decorative xmlns:adec="http://schemas.microsoft.com/office/drawing/2017/decorative" val="1"/>
              </a:ext>
            </a:extLst>
          </p:cNvPr>
          <p:cNvSpPr/>
          <p:nvPr/>
        </p:nvSpPr>
        <p:spPr bwMode="gray">
          <a:xfrm>
            <a:off x="10659690" y="1040631"/>
            <a:ext cx="1038552" cy="308564"/>
          </a:xfrm>
          <a:prstGeom prst="rect">
            <a:avLst/>
          </a:prstGeom>
          <a:solidFill>
            <a:schemeClr val="bg1">
              <a:alpha val="80000"/>
            </a:schemeClr>
          </a:solidFill>
          <a:ln w="25400" algn="ctr">
            <a:no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Tree>
    <p:extLst>
      <p:ext uri="{BB962C8B-B14F-4D97-AF65-F5344CB8AC3E}">
        <p14:creationId xmlns:p14="http://schemas.microsoft.com/office/powerpoint/2010/main" val="12131655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D150DD-3289-38FE-3C05-8A2C9C616304}"/>
            </a:ext>
          </a:extLst>
        </p:cNvPr>
        <p:cNvGrpSpPr/>
        <p:nvPr/>
      </p:nvGrpSpPr>
      <p:grpSpPr>
        <a:xfrm>
          <a:off x="0" y="0"/>
          <a:ext cx="0" cy="0"/>
          <a:chOff x="0" y="0"/>
          <a:chExt cx="0" cy="0"/>
        </a:xfrm>
      </p:grpSpPr>
      <p:grpSp>
        <p:nvGrpSpPr>
          <p:cNvPr id="41" name="Group 40">
            <a:extLst>
              <a:ext uri="{FF2B5EF4-FFF2-40B4-BE49-F238E27FC236}">
                <a16:creationId xmlns:a16="http://schemas.microsoft.com/office/drawing/2014/main" id="{1D3E83D3-0D09-9ACE-CFB2-E29F1966BB1F}"/>
              </a:ext>
            </a:extLst>
          </p:cNvPr>
          <p:cNvGrpSpPr/>
          <p:nvPr/>
        </p:nvGrpSpPr>
        <p:grpSpPr>
          <a:xfrm>
            <a:off x="2266657" y="2816280"/>
            <a:ext cx="6524215" cy="2024169"/>
            <a:chOff x="1907726" y="2928399"/>
            <a:chExt cx="6527614" cy="2025224"/>
          </a:xfrm>
        </p:grpSpPr>
        <p:grpSp>
          <p:nvGrpSpPr>
            <p:cNvPr id="39" name="Group 38">
              <a:extLst>
                <a:ext uri="{FF2B5EF4-FFF2-40B4-BE49-F238E27FC236}">
                  <a16:creationId xmlns:a16="http://schemas.microsoft.com/office/drawing/2014/main" id="{967CB464-62F7-1DA2-32E2-E07D896A03D1}"/>
                </a:ext>
              </a:extLst>
            </p:cNvPr>
            <p:cNvGrpSpPr/>
            <p:nvPr/>
          </p:nvGrpSpPr>
          <p:grpSpPr>
            <a:xfrm>
              <a:off x="1907726" y="4101627"/>
              <a:ext cx="6527614" cy="851996"/>
              <a:chOff x="1907726" y="4101627"/>
              <a:chExt cx="6527614" cy="851996"/>
            </a:xfrm>
          </p:grpSpPr>
          <p:sp>
            <p:nvSpPr>
              <p:cNvPr id="37" name="Freeform: Shape 36">
                <a:extLst>
                  <a:ext uri="{FF2B5EF4-FFF2-40B4-BE49-F238E27FC236}">
                    <a16:creationId xmlns:a16="http://schemas.microsoft.com/office/drawing/2014/main" id="{70A8A4A4-F72D-9258-28F2-1B87AFD035A8}"/>
                  </a:ext>
                </a:extLst>
              </p:cNvPr>
              <p:cNvSpPr/>
              <p:nvPr/>
            </p:nvSpPr>
            <p:spPr bwMode="gray">
              <a:xfrm flipV="1">
                <a:off x="1907726" y="4101627"/>
                <a:ext cx="2115377" cy="851996"/>
              </a:xfrm>
              <a:custGeom>
                <a:avLst/>
                <a:gdLst>
                  <a:gd name="connsiteX0" fmla="*/ 0 w 1257300"/>
                  <a:gd name="connsiteY0" fmla="*/ 60492 h 736416"/>
                  <a:gd name="connsiteX1" fmla="*/ 542925 w 1257300"/>
                  <a:gd name="connsiteY1" fmla="*/ 60492 h 736416"/>
                  <a:gd name="connsiteX2" fmla="*/ 657225 w 1257300"/>
                  <a:gd name="connsiteY2" fmla="*/ 689142 h 736416"/>
                  <a:gd name="connsiteX3" fmla="*/ 1257300 w 1257300"/>
                  <a:gd name="connsiteY3" fmla="*/ 698667 h 736416"/>
                  <a:gd name="connsiteX0" fmla="*/ 0 w 1257300"/>
                  <a:gd name="connsiteY0" fmla="*/ 40229 h 716153"/>
                  <a:gd name="connsiteX1" fmla="*/ 552450 w 1257300"/>
                  <a:gd name="connsiteY1" fmla="*/ 78329 h 716153"/>
                  <a:gd name="connsiteX2" fmla="*/ 657225 w 1257300"/>
                  <a:gd name="connsiteY2" fmla="*/ 668879 h 716153"/>
                  <a:gd name="connsiteX3" fmla="*/ 1257300 w 1257300"/>
                  <a:gd name="connsiteY3" fmla="*/ 678404 h 716153"/>
                  <a:gd name="connsiteX0" fmla="*/ 0 w 1257300"/>
                  <a:gd name="connsiteY0" fmla="*/ 30306 h 706230"/>
                  <a:gd name="connsiteX1" fmla="*/ 457200 w 1257300"/>
                  <a:gd name="connsiteY1" fmla="*/ 94600 h 706230"/>
                  <a:gd name="connsiteX2" fmla="*/ 657225 w 1257300"/>
                  <a:gd name="connsiteY2" fmla="*/ 658956 h 706230"/>
                  <a:gd name="connsiteX3" fmla="*/ 1257300 w 1257300"/>
                  <a:gd name="connsiteY3" fmla="*/ 668481 h 706230"/>
                  <a:gd name="connsiteX0" fmla="*/ 0 w 1257300"/>
                  <a:gd name="connsiteY0" fmla="*/ 27981 h 669855"/>
                  <a:gd name="connsiteX1" fmla="*/ 457200 w 1257300"/>
                  <a:gd name="connsiteY1" fmla="*/ 92275 h 669855"/>
                  <a:gd name="connsiteX2" fmla="*/ 642937 w 1257300"/>
                  <a:gd name="connsiteY2" fmla="*/ 601863 h 669855"/>
                  <a:gd name="connsiteX3" fmla="*/ 1257300 w 1257300"/>
                  <a:gd name="connsiteY3" fmla="*/ 666156 h 669855"/>
                  <a:gd name="connsiteX0" fmla="*/ 0 w 1257300"/>
                  <a:gd name="connsiteY0" fmla="*/ 22901 h 688587"/>
                  <a:gd name="connsiteX1" fmla="*/ 457200 w 1257300"/>
                  <a:gd name="connsiteY1" fmla="*/ 111007 h 688587"/>
                  <a:gd name="connsiteX2" fmla="*/ 642937 w 1257300"/>
                  <a:gd name="connsiteY2" fmla="*/ 620595 h 688587"/>
                  <a:gd name="connsiteX3" fmla="*/ 1257300 w 1257300"/>
                  <a:gd name="connsiteY3" fmla="*/ 684888 h 688587"/>
                  <a:gd name="connsiteX0" fmla="*/ 0 w 1257300"/>
                  <a:gd name="connsiteY0" fmla="*/ 0 h 665686"/>
                  <a:gd name="connsiteX1" fmla="*/ 457200 w 1257300"/>
                  <a:gd name="connsiteY1" fmla="*/ 88106 h 665686"/>
                  <a:gd name="connsiteX2" fmla="*/ 642937 w 1257300"/>
                  <a:gd name="connsiteY2" fmla="*/ 597694 h 665686"/>
                  <a:gd name="connsiteX3" fmla="*/ 1257300 w 1257300"/>
                  <a:gd name="connsiteY3" fmla="*/ 661987 h 665686"/>
                  <a:gd name="connsiteX0" fmla="*/ 0 w 1257300"/>
                  <a:gd name="connsiteY0" fmla="*/ 3264 h 668950"/>
                  <a:gd name="connsiteX1" fmla="*/ 457200 w 1257300"/>
                  <a:gd name="connsiteY1" fmla="*/ 91370 h 668950"/>
                  <a:gd name="connsiteX2" fmla="*/ 642937 w 1257300"/>
                  <a:gd name="connsiteY2" fmla="*/ 600958 h 668950"/>
                  <a:gd name="connsiteX3" fmla="*/ 1257300 w 1257300"/>
                  <a:gd name="connsiteY3" fmla="*/ 665251 h 668950"/>
                </a:gdLst>
                <a:ahLst/>
                <a:cxnLst>
                  <a:cxn ang="0">
                    <a:pos x="connsiteX0" y="connsiteY0"/>
                  </a:cxn>
                  <a:cxn ang="0">
                    <a:pos x="connsiteX1" y="connsiteY1"/>
                  </a:cxn>
                  <a:cxn ang="0">
                    <a:pos x="connsiteX2" y="connsiteY2"/>
                  </a:cxn>
                  <a:cxn ang="0">
                    <a:pos x="connsiteX3" y="connsiteY3"/>
                  </a:cxn>
                </a:cxnLst>
                <a:rect l="l" t="t" r="r" b="b"/>
                <a:pathLst>
                  <a:path w="1257300" h="668950">
                    <a:moveTo>
                      <a:pt x="0" y="3264"/>
                    </a:moveTo>
                    <a:cubicBezTo>
                      <a:pt x="233362" y="-3880"/>
                      <a:pt x="350044" y="-8246"/>
                      <a:pt x="457200" y="91370"/>
                    </a:cubicBezTo>
                    <a:cubicBezTo>
                      <a:pt x="564356" y="190986"/>
                      <a:pt x="523875" y="494596"/>
                      <a:pt x="642937" y="600958"/>
                    </a:cubicBezTo>
                    <a:cubicBezTo>
                      <a:pt x="761999" y="707320"/>
                      <a:pt x="1173163" y="654139"/>
                      <a:pt x="1257300" y="665251"/>
                    </a:cubicBezTo>
                  </a:path>
                </a:pathLst>
              </a:custGeom>
              <a:noFill/>
              <a:ln w="241300" cap="flat" cmpd="sng" algn="ctr">
                <a:gradFill flip="none" rotWithShape="1">
                  <a:gsLst>
                    <a:gs pos="0">
                      <a:schemeClr val="tx2"/>
                    </a:gs>
                    <a:gs pos="0">
                      <a:srgbClr val="002A86"/>
                    </a:gs>
                    <a:gs pos="89000">
                      <a:srgbClr val="0070F2"/>
                    </a:gs>
                  </a:gsLst>
                  <a:lin ang="0" scaled="1"/>
                  <a:tileRect/>
                </a:gradFill>
                <a:prstDash val="solid"/>
                <a:headEnd type="none" w="med" len="med"/>
                <a:tailEnd type="none" w="med" len="med"/>
              </a:ln>
              <a:effectLst/>
            </p:spPr>
            <p:txBody>
              <a:bodyPr rtlCol="0" anchor="ctr"/>
              <a:lstStyle/>
              <a:p>
                <a:pPr algn="ctr" defTabSz="1087905"/>
                <a:endParaRPr lang="en-US" sz="2098">
                  <a:solidFill>
                    <a:srgbClr val="000000"/>
                  </a:solidFill>
                  <a:latin typeface="72 Brand"/>
                </a:endParaRPr>
              </a:p>
            </p:txBody>
          </p:sp>
          <p:cxnSp>
            <p:nvCxnSpPr>
              <p:cNvPr id="38" name="Straight Connector 37">
                <a:extLst>
                  <a:ext uri="{FF2B5EF4-FFF2-40B4-BE49-F238E27FC236}">
                    <a16:creationId xmlns:a16="http://schemas.microsoft.com/office/drawing/2014/main" id="{C4D30B51-50F1-7212-962C-54DF2B8247EC}"/>
                  </a:ext>
                </a:extLst>
              </p:cNvPr>
              <p:cNvCxnSpPr>
                <a:cxnSpLocks/>
              </p:cNvCxnSpPr>
              <p:nvPr/>
            </p:nvCxnSpPr>
            <p:spPr>
              <a:xfrm flipH="1">
                <a:off x="4005588" y="4107960"/>
                <a:ext cx="4429752" cy="0"/>
              </a:xfrm>
              <a:prstGeom prst="line">
                <a:avLst/>
              </a:prstGeom>
              <a:noFill/>
              <a:ln w="241300" cap="flat" cmpd="sng" algn="ctr">
                <a:gradFill flip="none" rotWithShape="1">
                  <a:gsLst>
                    <a:gs pos="0">
                      <a:schemeClr val="tx2"/>
                    </a:gs>
                    <a:gs pos="0">
                      <a:schemeClr val="bg2">
                        <a:lumMod val="40000"/>
                        <a:lumOff val="60000"/>
                      </a:schemeClr>
                    </a:gs>
                    <a:gs pos="89000">
                      <a:srgbClr val="0070F2"/>
                    </a:gs>
                  </a:gsLst>
                  <a:lin ang="0" scaled="1"/>
                  <a:tileRect/>
                </a:gradFill>
                <a:prstDash val="solid"/>
                <a:headEnd type="none" w="med" len="med"/>
                <a:tailEnd type="none" w="med" len="med"/>
              </a:ln>
              <a:effectLst/>
            </p:spPr>
          </p:cxnSp>
        </p:grpSp>
        <p:grpSp>
          <p:nvGrpSpPr>
            <p:cNvPr id="40" name="Group 39">
              <a:extLst>
                <a:ext uri="{FF2B5EF4-FFF2-40B4-BE49-F238E27FC236}">
                  <a16:creationId xmlns:a16="http://schemas.microsoft.com/office/drawing/2014/main" id="{D4326B8B-8462-F4DC-B4FA-E1E02CDD5AC1}"/>
                </a:ext>
              </a:extLst>
            </p:cNvPr>
            <p:cNvGrpSpPr/>
            <p:nvPr/>
          </p:nvGrpSpPr>
          <p:grpSpPr>
            <a:xfrm>
              <a:off x="1911640" y="2928399"/>
              <a:ext cx="6523700" cy="851996"/>
              <a:chOff x="1911640" y="2747163"/>
              <a:chExt cx="6523700" cy="851996"/>
            </a:xfrm>
          </p:grpSpPr>
          <p:cxnSp>
            <p:nvCxnSpPr>
              <p:cNvPr id="30" name="Straight Connector 29">
                <a:extLst>
                  <a:ext uri="{FF2B5EF4-FFF2-40B4-BE49-F238E27FC236}">
                    <a16:creationId xmlns:a16="http://schemas.microsoft.com/office/drawing/2014/main" id="{43066BF8-45CB-1F11-DF38-795E162D70C7}"/>
                  </a:ext>
                </a:extLst>
              </p:cNvPr>
              <p:cNvCxnSpPr>
                <a:cxnSpLocks/>
              </p:cNvCxnSpPr>
              <p:nvPr/>
            </p:nvCxnSpPr>
            <p:spPr>
              <a:xfrm flipH="1">
                <a:off x="3926008" y="3593892"/>
                <a:ext cx="4509332" cy="0"/>
              </a:xfrm>
              <a:prstGeom prst="line">
                <a:avLst/>
              </a:prstGeom>
              <a:noFill/>
              <a:ln w="241300" cap="flat" cmpd="sng" algn="ctr">
                <a:gradFill flip="none" rotWithShape="1">
                  <a:gsLst>
                    <a:gs pos="0">
                      <a:schemeClr val="tx2"/>
                    </a:gs>
                    <a:gs pos="0">
                      <a:srgbClr val="D1EFFF"/>
                    </a:gs>
                    <a:gs pos="89000">
                      <a:schemeClr val="bg2"/>
                    </a:gs>
                  </a:gsLst>
                  <a:lin ang="0" scaled="1"/>
                  <a:tileRect/>
                </a:gradFill>
                <a:prstDash val="solid"/>
                <a:headEnd type="none" w="med" len="med"/>
                <a:tailEnd type="none" w="med" len="med"/>
              </a:ln>
              <a:effectLst/>
            </p:spPr>
          </p:cxnSp>
          <p:sp>
            <p:nvSpPr>
              <p:cNvPr id="32" name="Freeform: Shape 31">
                <a:extLst>
                  <a:ext uri="{FF2B5EF4-FFF2-40B4-BE49-F238E27FC236}">
                    <a16:creationId xmlns:a16="http://schemas.microsoft.com/office/drawing/2014/main" id="{CB2EED22-6D64-9AC8-3C40-86A28A422830}"/>
                  </a:ext>
                </a:extLst>
              </p:cNvPr>
              <p:cNvSpPr/>
              <p:nvPr/>
            </p:nvSpPr>
            <p:spPr bwMode="gray">
              <a:xfrm>
                <a:off x="1911640" y="2747163"/>
                <a:ext cx="2115377" cy="851996"/>
              </a:xfrm>
              <a:custGeom>
                <a:avLst/>
                <a:gdLst>
                  <a:gd name="connsiteX0" fmla="*/ 0 w 1257300"/>
                  <a:gd name="connsiteY0" fmla="*/ 60492 h 736416"/>
                  <a:gd name="connsiteX1" fmla="*/ 542925 w 1257300"/>
                  <a:gd name="connsiteY1" fmla="*/ 60492 h 736416"/>
                  <a:gd name="connsiteX2" fmla="*/ 657225 w 1257300"/>
                  <a:gd name="connsiteY2" fmla="*/ 689142 h 736416"/>
                  <a:gd name="connsiteX3" fmla="*/ 1257300 w 1257300"/>
                  <a:gd name="connsiteY3" fmla="*/ 698667 h 736416"/>
                  <a:gd name="connsiteX0" fmla="*/ 0 w 1257300"/>
                  <a:gd name="connsiteY0" fmla="*/ 40229 h 716153"/>
                  <a:gd name="connsiteX1" fmla="*/ 552450 w 1257300"/>
                  <a:gd name="connsiteY1" fmla="*/ 78329 h 716153"/>
                  <a:gd name="connsiteX2" fmla="*/ 657225 w 1257300"/>
                  <a:gd name="connsiteY2" fmla="*/ 668879 h 716153"/>
                  <a:gd name="connsiteX3" fmla="*/ 1257300 w 1257300"/>
                  <a:gd name="connsiteY3" fmla="*/ 678404 h 716153"/>
                  <a:gd name="connsiteX0" fmla="*/ 0 w 1257300"/>
                  <a:gd name="connsiteY0" fmla="*/ 30306 h 706230"/>
                  <a:gd name="connsiteX1" fmla="*/ 457200 w 1257300"/>
                  <a:gd name="connsiteY1" fmla="*/ 94600 h 706230"/>
                  <a:gd name="connsiteX2" fmla="*/ 657225 w 1257300"/>
                  <a:gd name="connsiteY2" fmla="*/ 658956 h 706230"/>
                  <a:gd name="connsiteX3" fmla="*/ 1257300 w 1257300"/>
                  <a:gd name="connsiteY3" fmla="*/ 668481 h 706230"/>
                  <a:gd name="connsiteX0" fmla="*/ 0 w 1257300"/>
                  <a:gd name="connsiteY0" fmla="*/ 27981 h 669855"/>
                  <a:gd name="connsiteX1" fmla="*/ 457200 w 1257300"/>
                  <a:gd name="connsiteY1" fmla="*/ 92275 h 669855"/>
                  <a:gd name="connsiteX2" fmla="*/ 642937 w 1257300"/>
                  <a:gd name="connsiteY2" fmla="*/ 601863 h 669855"/>
                  <a:gd name="connsiteX3" fmla="*/ 1257300 w 1257300"/>
                  <a:gd name="connsiteY3" fmla="*/ 666156 h 669855"/>
                  <a:gd name="connsiteX0" fmla="*/ 0 w 1257300"/>
                  <a:gd name="connsiteY0" fmla="*/ 22901 h 688587"/>
                  <a:gd name="connsiteX1" fmla="*/ 457200 w 1257300"/>
                  <a:gd name="connsiteY1" fmla="*/ 111007 h 688587"/>
                  <a:gd name="connsiteX2" fmla="*/ 642937 w 1257300"/>
                  <a:gd name="connsiteY2" fmla="*/ 620595 h 688587"/>
                  <a:gd name="connsiteX3" fmla="*/ 1257300 w 1257300"/>
                  <a:gd name="connsiteY3" fmla="*/ 684888 h 688587"/>
                  <a:gd name="connsiteX0" fmla="*/ 0 w 1257300"/>
                  <a:gd name="connsiteY0" fmla="*/ 0 h 665686"/>
                  <a:gd name="connsiteX1" fmla="*/ 457200 w 1257300"/>
                  <a:gd name="connsiteY1" fmla="*/ 88106 h 665686"/>
                  <a:gd name="connsiteX2" fmla="*/ 642937 w 1257300"/>
                  <a:gd name="connsiteY2" fmla="*/ 597694 h 665686"/>
                  <a:gd name="connsiteX3" fmla="*/ 1257300 w 1257300"/>
                  <a:gd name="connsiteY3" fmla="*/ 661987 h 665686"/>
                  <a:gd name="connsiteX0" fmla="*/ 0 w 1257300"/>
                  <a:gd name="connsiteY0" fmla="*/ 3264 h 668950"/>
                  <a:gd name="connsiteX1" fmla="*/ 457200 w 1257300"/>
                  <a:gd name="connsiteY1" fmla="*/ 91370 h 668950"/>
                  <a:gd name="connsiteX2" fmla="*/ 642937 w 1257300"/>
                  <a:gd name="connsiteY2" fmla="*/ 600958 h 668950"/>
                  <a:gd name="connsiteX3" fmla="*/ 1257300 w 1257300"/>
                  <a:gd name="connsiteY3" fmla="*/ 665251 h 668950"/>
                </a:gdLst>
                <a:ahLst/>
                <a:cxnLst>
                  <a:cxn ang="0">
                    <a:pos x="connsiteX0" y="connsiteY0"/>
                  </a:cxn>
                  <a:cxn ang="0">
                    <a:pos x="connsiteX1" y="connsiteY1"/>
                  </a:cxn>
                  <a:cxn ang="0">
                    <a:pos x="connsiteX2" y="connsiteY2"/>
                  </a:cxn>
                  <a:cxn ang="0">
                    <a:pos x="connsiteX3" y="connsiteY3"/>
                  </a:cxn>
                </a:cxnLst>
                <a:rect l="l" t="t" r="r" b="b"/>
                <a:pathLst>
                  <a:path w="1257300" h="668950">
                    <a:moveTo>
                      <a:pt x="0" y="3264"/>
                    </a:moveTo>
                    <a:cubicBezTo>
                      <a:pt x="233362" y="-3880"/>
                      <a:pt x="350044" y="-8246"/>
                      <a:pt x="457200" y="91370"/>
                    </a:cubicBezTo>
                    <a:cubicBezTo>
                      <a:pt x="564356" y="190986"/>
                      <a:pt x="523875" y="494596"/>
                      <a:pt x="642937" y="600958"/>
                    </a:cubicBezTo>
                    <a:cubicBezTo>
                      <a:pt x="761999" y="707320"/>
                      <a:pt x="1173163" y="654139"/>
                      <a:pt x="1257300" y="665251"/>
                    </a:cubicBezTo>
                  </a:path>
                </a:pathLst>
              </a:custGeom>
              <a:noFill/>
              <a:ln w="241300" cap="flat" cmpd="sng" algn="ctr">
                <a:gradFill flip="none" rotWithShape="1">
                  <a:gsLst>
                    <a:gs pos="0">
                      <a:schemeClr val="tx2"/>
                    </a:gs>
                    <a:gs pos="0">
                      <a:schemeClr val="tx2"/>
                    </a:gs>
                    <a:gs pos="89000">
                      <a:schemeClr val="bg2"/>
                    </a:gs>
                  </a:gsLst>
                  <a:lin ang="0" scaled="1"/>
                  <a:tileRect/>
                </a:gradFill>
                <a:prstDash val="solid"/>
                <a:headEnd type="none" w="med" len="med"/>
                <a:tailEnd type="none" w="med" len="med"/>
              </a:ln>
              <a:effectLst/>
            </p:spPr>
            <p:txBody>
              <a:bodyPr rtlCol="0" anchor="ctr"/>
              <a:lstStyle/>
              <a:p>
                <a:pPr algn="ctr" defTabSz="1087905"/>
                <a:endParaRPr lang="en-US" sz="2098">
                  <a:solidFill>
                    <a:srgbClr val="000000"/>
                  </a:solidFill>
                  <a:latin typeface="72 Brand"/>
                </a:endParaRPr>
              </a:p>
            </p:txBody>
          </p:sp>
        </p:grpSp>
      </p:grpSp>
      <p:sp>
        <p:nvSpPr>
          <p:cNvPr id="28" name="Rectangle: Rounded Corners 6">
            <a:extLst>
              <a:ext uri="{FF2B5EF4-FFF2-40B4-BE49-F238E27FC236}">
                <a16:creationId xmlns:a16="http://schemas.microsoft.com/office/drawing/2014/main" id="{27F45725-8E69-5FAF-7A84-85F7F294A949}"/>
              </a:ext>
            </a:extLst>
          </p:cNvPr>
          <p:cNvSpPr>
            <a:spLocks/>
          </p:cNvSpPr>
          <p:nvPr/>
        </p:nvSpPr>
        <p:spPr bwMode="auto">
          <a:xfrm>
            <a:off x="4137881" y="5191988"/>
            <a:ext cx="3382238" cy="816774"/>
          </a:xfrm>
          <a:prstGeom prst="roundRect">
            <a:avLst>
              <a:gd name="adj" fmla="val 1782"/>
            </a:avLst>
          </a:prstGeom>
          <a:gradFill flip="none" rotWithShape="1">
            <a:gsLst>
              <a:gs pos="100000">
                <a:srgbClr val="EBF8FF"/>
              </a:gs>
              <a:gs pos="0">
                <a:schemeClr val="bg1"/>
              </a:gs>
            </a:gsLst>
            <a:lin ang="2700000" scaled="1"/>
            <a:tileRect/>
          </a:gradFill>
          <a:ln w="12700">
            <a:solidFill>
              <a:srgbClr val="0070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ctr" anchorCtr="0" forceAA="0" compatLnSpc="1">
            <a:prstTxWarp prst="textNoShape">
              <a:avLst/>
            </a:prstTxWarp>
            <a:noAutofit/>
          </a:bodyPr>
          <a:lstStyle/>
          <a:p>
            <a:pPr algn="ctr" defTabSz="932006" fontAlgn="base">
              <a:spcBef>
                <a:spcPts val="400"/>
              </a:spcBef>
              <a:spcAft>
                <a:spcPts val="300"/>
              </a:spcAft>
            </a:pPr>
            <a:r>
              <a:rPr lang="en-US" sz="1199" b="1">
                <a:gradFill>
                  <a:gsLst>
                    <a:gs pos="0">
                      <a:srgbClr val="002A86"/>
                    </a:gs>
                    <a:gs pos="100000">
                      <a:srgbClr val="002A86"/>
                    </a:gs>
                  </a:gsLst>
                  <a:lin ang="5400000" scaled="1"/>
                </a:gradFill>
                <a:cs typeface="72" panose="020B0503030000000003" pitchFamily="34" charset="0"/>
              </a:rPr>
              <a:t>Custom managed data products </a:t>
            </a:r>
            <a:br>
              <a:rPr lang="en-US" sz="1199">
                <a:gradFill>
                  <a:gsLst>
                    <a:gs pos="0">
                      <a:srgbClr val="002A86"/>
                    </a:gs>
                    <a:gs pos="100000">
                      <a:srgbClr val="002A86"/>
                    </a:gs>
                  </a:gsLst>
                  <a:lin ang="5400000" scaled="1"/>
                </a:gradFill>
                <a:cs typeface="72" panose="020B0503030000000003" pitchFamily="34" charset="0"/>
              </a:rPr>
            </a:br>
            <a:r>
              <a:rPr lang="en-US" sz="1199">
                <a:gradFill>
                  <a:gsLst>
                    <a:gs pos="0">
                      <a:srgbClr val="002A86"/>
                    </a:gs>
                    <a:gs pos="100000">
                      <a:srgbClr val="002A86"/>
                    </a:gs>
                  </a:gsLst>
                  <a:lin ang="5400000" scaled="1"/>
                </a:gradFill>
                <a:cs typeface="72" panose="020B0503030000000003" pitchFamily="34" charset="0"/>
              </a:rPr>
              <a:t>for integration and extension of</a:t>
            </a:r>
            <a:br>
              <a:rPr lang="en-US" sz="1199">
                <a:gradFill>
                  <a:gsLst>
                    <a:gs pos="0">
                      <a:srgbClr val="002A86"/>
                    </a:gs>
                    <a:gs pos="100000">
                      <a:srgbClr val="002A86"/>
                    </a:gs>
                  </a:gsLst>
                  <a:lin ang="5400000" scaled="1"/>
                </a:gradFill>
                <a:cs typeface="72" panose="020B0503030000000003" pitchFamily="34" charset="0"/>
              </a:rPr>
            </a:br>
            <a:r>
              <a:rPr lang="en-US" sz="1199">
                <a:gradFill>
                  <a:gsLst>
                    <a:gs pos="0">
                      <a:srgbClr val="002A86"/>
                    </a:gs>
                    <a:gs pos="100000">
                      <a:srgbClr val="002A86"/>
                    </a:gs>
                  </a:gsLst>
                  <a:lin ang="5400000" scaled="1"/>
                </a:gradFill>
                <a:cs typeface="72" panose="020B0503030000000003" pitchFamily="34" charset="0"/>
              </a:rPr>
              <a:t>insight apps &amp; data packages</a:t>
            </a:r>
          </a:p>
        </p:txBody>
      </p:sp>
      <p:sp>
        <p:nvSpPr>
          <p:cNvPr id="3" name="Title 2">
            <a:extLst>
              <a:ext uri="{FF2B5EF4-FFF2-40B4-BE49-F238E27FC236}">
                <a16:creationId xmlns:a16="http://schemas.microsoft.com/office/drawing/2014/main" id="{B066DB20-CA24-9C7F-4B09-0B82889F429E}"/>
              </a:ext>
            </a:extLst>
          </p:cNvPr>
          <p:cNvSpPr>
            <a:spLocks noGrp="1"/>
          </p:cNvSpPr>
          <p:nvPr>
            <p:ph type="title"/>
          </p:nvPr>
        </p:nvSpPr>
        <p:spPr>
          <a:xfrm>
            <a:off x="549739" y="516722"/>
            <a:ext cx="11180651" cy="737766"/>
          </a:xfrm>
        </p:spPr>
        <p:txBody>
          <a:bodyPr/>
          <a:lstStyle/>
          <a:p>
            <a:r>
              <a:rPr lang="en-US" b="1" dirty="0">
                <a:latin typeface="+mj-lt"/>
              </a:rPr>
              <a:t>Insight apps and data products leverage SAP’s deep knowledge </a:t>
            </a:r>
            <a:br>
              <a:rPr lang="en-US" b="1" dirty="0">
                <a:latin typeface="+mj-lt"/>
              </a:rPr>
            </a:br>
            <a:r>
              <a:rPr lang="en-US" b="1" dirty="0">
                <a:latin typeface="+mj-lt"/>
              </a:rPr>
              <a:t>of application data and metadata</a:t>
            </a:r>
          </a:p>
        </p:txBody>
      </p:sp>
      <p:sp>
        <p:nvSpPr>
          <p:cNvPr id="123" name="Rectangle: Rounded Corners 6">
            <a:extLst>
              <a:ext uri="{FF2B5EF4-FFF2-40B4-BE49-F238E27FC236}">
                <a16:creationId xmlns:a16="http://schemas.microsoft.com/office/drawing/2014/main" id="{8F662E92-84DF-B70A-3404-CEC8AD52F015}"/>
              </a:ext>
            </a:extLst>
          </p:cNvPr>
          <p:cNvSpPr>
            <a:spLocks noChangeAspect="1"/>
          </p:cNvSpPr>
          <p:nvPr/>
        </p:nvSpPr>
        <p:spPr bwMode="auto">
          <a:xfrm>
            <a:off x="4138576" y="1647782"/>
            <a:ext cx="3380849" cy="816960"/>
          </a:xfrm>
          <a:prstGeom prst="roundRect">
            <a:avLst>
              <a:gd name="adj" fmla="val 1782"/>
            </a:avLst>
          </a:prstGeom>
          <a:gradFill flip="none" rotWithShape="1">
            <a:gsLst>
              <a:gs pos="100000">
                <a:srgbClr val="EBF8FF"/>
              </a:gs>
              <a:gs pos="0">
                <a:schemeClr val="bg1"/>
              </a:gs>
            </a:gsLst>
            <a:lin ang="2700000" scaled="1"/>
            <a:tileRect/>
          </a:gradFill>
          <a:ln w="12700">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ctr" anchorCtr="0" forceAA="0" compatLnSpc="1">
            <a:prstTxWarp prst="textNoShape">
              <a:avLst/>
            </a:prstTxWarp>
            <a:noAutofit/>
          </a:bodyPr>
          <a:lstStyle/>
          <a:p>
            <a:pPr algn="ctr" defTabSz="932006" fontAlgn="base">
              <a:spcBef>
                <a:spcPts val="400"/>
              </a:spcBef>
              <a:spcAft>
                <a:spcPts val="300"/>
              </a:spcAft>
            </a:pPr>
            <a:r>
              <a:rPr lang="en-US" sz="1199">
                <a:gradFill>
                  <a:gsLst>
                    <a:gs pos="0">
                      <a:srgbClr val="002A86"/>
                    </a:gs>
                    <a:gs pos="100000">
                      <a:srgbClr val="002A86"/>
                    </a:gs>
                  </a:gsLst>
                  <a:lin ang="5400000" scaled="1"/>
                </a:gradFill>
                <a:cs typeface="72" panose="020B0503030000000003" pitchFamily="34" charset="0"/>
              </a:rPr>
              <a:t>Out-of-the-box </a:t>
            </a:r>
            <a:r>
              <a:rPr lang="en-US" sz="1199" b="1">
                <a:gradFill>
                  <a:gsLst>
                    <a:gs pos="0">
                      <a:srgbClr val="002A86"/>
                    </a:gs>
                    <a:gs pos="100000">
                      <a:srgbClr val="002A86"/>
                    </a:gs>
                  </a:gsLst>
                  <a:lin ang="5400000" scaled="1"/>
                </a:gradFill>
                <a:cs typeface="72" panose="020B0503030000000003" pitchFamily="34" charset="0"/>
              </a:rPr>
              <a:t>SAP managed data products </a:t>
            </a:r>
            <a:br>
              <a:rPr lang="en-US" sz="1199" b="1">
                <a:gradFill>
                  <a:gsLst>
                    <a:gs pos="0">
                      <a:srgbClr val="002A86"/>
                    </a:gs>
                    <a:gs pos="100000">
                      <a:srgbClr val="002A86"/>
                    </a:gs>
                  </a:gsLst>
                  <a:lin ang="5400000" scaled="1"/>
                </a:gradFill>
                <a:cs typeface="72" panose="020B0503030000000003" pitchFamily="34" charset="0"/>
              </a:rPr>
            </a:br>
            <a:r>
              <a:rPr lang="en-US" sz="1199">
                <a:gradFill>
                  <a:gsLst>
                    <a:gs pos="0">
                      <a:srgbClr val="002A86"/>
                    </a:gs>
                    <a:gs pos="100000">
                      <a:srgbClr val="002A86"/>
                    </a:gs>
                  </a:gsLst>
                  <a:lin ang="5400000" scaled="1"/>
                </a:gradFill>
                <a:cs typeface="72" panose="020B0503030000000003" pitchFamily="34" charset="0"/>
              </a:rPr>
              <a:t>delivered as part of </a:t>
            </a:r>
            <a:br>
              <a:rPr lang="en-US" sz="1199">
                <a:gradFill>
                  <a:gsLst>
                    <a:gs pos="0">
                      <a:srgbClr val="002A86"/>
                    </a:gs>
                    <a:gs pos="100000">
                      <a:srgbClr val="002A86"/>
                    </a:gs>
                  </a:gsLst>
                  <a:lin ang="5400000" scaled="1"/>
                </a:gradFill>
                <a:cs typeface="72" panose="020B0503030000000003" pitchFamily="34" charset="0"/>
              </a:rPr>
            </a:br>
            <a:r>
              <a:rPr lang="en-US" sz="1199">
                <a:gradFill>
                  <a:gsLst>
                    <a:gs pos="0">
                      <a:srgbClr val="002A86"/>
                    </a:gs>
                    <a:gs pos="100000">
                      <a:srgbClr val="002A86"/>
                    </a:gs>
                  </a:gsLst>
                  <a:lin ang="5400000" scaled="1"/>
                </a:gradFill>
                <a:cs typeface="72" panose="020B0503030000000003" pitchFamily="34" charset="0"/>
              </a:rPr>
              <a:t>insight apps &amp; data packages</a:t>
            </a:r>
          </a:p>
        </p:txBody>
      </p:sp>
      <p:pic>
        <p:nvPicPr>
          <p:cNvPr id="19" name="Picture 12" descr="GitHub - delta-io/delta-sharing: An open protocol for secure data sharing">
            <a:extLst>
              <a:ext uri="{FF2B5EF4-FFF2-40B4-BE49-F238E27FC236}">
                <a16:creationId xmlns:a16="http://schemas.microsoft.com/office/drawing/2014/main" id="{3E1D6F9D-E86F-979E-26E9-1EEC0A7805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4190" y="3206850"/>
            <a:ext cx="358568" cy="303729"/>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EDFB67C4-4980-1F32-1AF7-CC9E9C1BB404}"/>
              </a:ext>
            </a:extLst>
          </p:cNvPr>
          <p:cNvGrpSpPr>
            <a:grpSpLocks noChangeAspect="1"/>
          </p:cNvGrpSpPr>
          <p:nvPr/>
        </p:nvGrpSpPr>
        <p:grpSpPr>
          <a:xfrm>
            <a:off x="3898999" y="2541699"/>
            <a:ext cx="3860003" cy="2573334"/>
            <a:chOff x="2654667" y="2053258"/>
            <a:chExt cx="5068340" cy="3378891"/>
          </a:xfrm>
        </p:grpSpPr>
        <p:graphicFrame>
          <p:nvGraphicFramePr>
            <p:cNvPr id="253" name="Chart 252">
              <a:extLst>
                <a:ext uri="{FF2B5EF4-FFF2-40B4-BE49-F238E27FC236}">
                  <a16:creationId xmlns:a16="http://schemas.microsoft.com/office/drawing/2014/main" id="{1A07B696-A639-A965-6E8F-B23DEEA7B6B7}"/>
                </a:ext>
              </a:extLst>
            </p:cNvPr>
            <p:cNvGraphicFramePr/>
            <p:nvPr/>
          </p:nvGraphicFramePr>
          <p:xfrm>
            <a:off x="2654667" y="2053258"/>
            <a:ext cx="5068340" cy="3378891"/>
          </p:xfrm>
          <a:graphic>
            <a:graphicData uri="http://schemas.openxmlformats.org/drawingml/2006/chart">
              <c:chart xmlns:c="http://schemas.openxmlformats.org/drawingml/2006/chart" xmlns:r="http://schemas.openxmlformats.org/officeDocument/2006/relationships" r:id="rId4"/>
            </a:graphicData>
          </a:graphic>
        </p:graphicFrame>
        <p:sp>
          <p:nvSpPr>
            <p:cNvPr id="254" name="Oval 253">
              <a:extLst>
                <a:ext uri="{FF2B5EF4-FFF2-40B4-BE49-F238E27FC236}">
                  <a16:creationId xmlns:a16="http://schemas.microsoft.com/office/drawing/2014/main" id="{70EA1BB4-DCF0-D6B5-DF13-5BBAB69CD242}"/>
                </a:ext>
              </a:extLst>
            </p:cNvPr>
            <p:cNvSpPr>
              <a:spLocks noChangeAspect="1"/>
            </p:cNvSpPr>
            <p:nvPr/>
          </p:nvSpPr>
          <p:spPr bwMode="gray">
            <a:xfrm>
              <a:off x="3982939" y="2537745"/>
              <a:ext cx="2409490" cy="2409486"/>
            </a:xfrm>
            <a:prstGeom prst="ellipse">
              <a:avLst/>
            </a:prstGeom>
            <a:solidFill>
              <a:schemeClr val="bg1">
                <a:alpha val="75000"/>
              </a:schemeClr>
            </a:solidFill>
            <a:ln w="25400" algn="ctr">
              <a:noFill/>
              <a:miter lim="800000"/>
              <a:headEnd/>
              <a:tailEnd/>
            </a:ln>
          </p:spPr>
          <p:txBody>
            <a:bodyPr wrap="none" lIns="182785" tIns="1462278" rIns="182785" bIns="146228" rtlCol="0" anchor="ctr"/>
            <a:lstStyle/>
            <a:p>
              <a:pPr algn="ctr" defTabSz="913943" fontAlgn="base">
                <a:spcAft>
                  <a:spcPct val="0"/>
                </a:spcAft>
                <a:buClr>
                  <a:srgbClr val="F0AB00"/>
                </a:buClr>
                <a:buSzPct val="80000"/>
              </a:pPr>
              <a:r>
                <a:rPr lang="en-US" sz="1399" kern="0">
                  <a:gradFill>
                    <a:gsLst>
                      <a:gs pos="100000">
                        <a:srgbClr val="002A86"/>
                      </a:gs>
                      <a:gs pos="0">
                        <a:srgbClr val="002A86"/>
                      </a:gs>
                    </a:gsLst>
                    <a:lin ang="5400000" scaled="0"/>
                  </a:gradFill>
                  <a:latin typeface="+mj-lt"/>
                  <a:ea typeface="72 Brand" pitchFamily="34" charset="-128"/>
                  <a:cs typeface="72 Brand" pitchFamily="34" charset="-128"/>
                </a:rPr>
                <a:t>Data Products</a:t>
              </a:r>
            </a:p>
            <a:p>
              <a:pPr algn="ctr" defTabSz="913943" fontAlgn="base">
                <a:spcAft>
                  <a:spcPct val="0"/>
                </a:spcAft>
                <a:buClr>
                  <a:srgbClr val="F0AB00"/>
                </a:buClr>
                <a:buSzPct val="80000"/>
              </a:pPr>
              <a:endParaRPr lang="en-US" sz="999" kern="0">
                <a:gradFill>
                  <a:gsLst>
                    <a:gs pos="100000">
                      <a:srgbClr val="002A86"/>
                    </a:gs>
                    <a:gs pos="0">
                      <a:srgbClr val="002A86"/>
                    </a:gs>
                  </a:gsLst>
                  <a:lin ang="5400000" scaled="0"/>
                </a:gradFill>
                <a:latin typeface="+mj-lt"/>
                <a:ea typeface="72 Brand" pitchFamily="34" charset="-128"/>
                <a:cs typeface="72 Brand" pitchFamily="34" charset="-128"/>
              </a:endParaRPr>
            </a:p>
            <a:p>
              <a:pPr algn="ctr" defTabSz="913943" fontAlgn="base">
                <a:spcAft>
                  <a:spcPct val="0"/>
                </a:spcAft>
                <a:buClr>
                  <a:srgbClr val="F0AB00"/>
                </a:buClr>
                <a:buSzPct val="80000"/>
              </a:pPr>
              <a:endParaRPr lang="en-US" sz="999" kern="0">
                <a:gradFill>
                  <a:gsLst>
                    <a:gs pos="100000">
                      <a:srgbClr val="002A86"/>
                    </a:gs>
                    <a:gs pos="0">
                      <a:srgbClr val="002A86"/>
                    </a:gs>
                  </a:gsLst>
                  <a:lin ang="5400000" scaled="0"/>
                </a:gradFill>
                <a:latin typeface="+mj-lt"/>
                <a:ea typeface="72 Brand" pitchFamily="34" charset="-128"/>
                <a:cs typeface="72 Brand" pitchFamily="34" charset="-128"/>
              </a:endParaRPr>
            </a:p>
          </p:txBody>
        </p:sp>
        <p:grpSp>
          <p:nvGrpSpPr>
            <p:cNvPr id="260" name="Group 259">
              <a:extLst>
                <a:ext uri="{FF2B5EF4-FFF2-40B4-BE49-F238E27FC236}">
                  <a16:creationId xmlns:a16="http://schemas.microsoft.com/office/drawing/2014/main" id="{5619D896-153D-F6C3-E095-3D68A58DFD1F}"/>
                </a:ext>
              </a:extLst>
            </p:cNvPr>
            <p:cNvGrpSpPr/>
            <p:nvPr/>
          </p:nvGrpSpPr>
          <p:grpSpPr>
            <a:xfrm>
              <a:off x="4801760" y="2956414"/>
              <a:ext cx="1463129" cy="997837"/>
              <a:chOff x="7848609" y="2877671"/>
              <a:chExt cx="1391374" cy="948904"/>
            </a:xfrm>
          </p:grpSpPr>
          <p:sp>
            <p:nvSpPr>
              <p:cNvPr id="261" name="Rectangle: Rounded Corners 40">
                <a:extLst>
                  <a:ext uri="{FF2B5EF4-FFF2-40B4-BE49-F238E27FC236}">
                    <a16:creationId xmlns:a16="http://schemas.microsoft.com/office/drawing/2014/main" id="{E41C3D1B-CF10-92FC-B695-D82AE6479B67}"/>
                  </a:ext>
                </a:extLst>
              </p:cNvPr>
              <p:cNvSpPr/>
              <p:nvPr/>
            </p:nvSpPr>
            <p:spPr bwMode="auto">
              <a:xfrm>
                <a:off x="7849381" y="2879194"/>
                <a:ext cx="1390602" cy="947381"/>
              </a:xfrm>
              <a:prstGeom prst="roundRect">
                <a:avLst>
                  <a:gd name="adj" fmla="val 4318"/>
                </a:avLst>
              </a:prstGeom>
              <a:gradFill>
                <a:gsLst>
                  <a:gs pos="0">
                    <a:schemeClr val="bg1">
                      <a:alpha val="60000"/>
                    </a:schemeClr>
                  </a:gs>
                  <a:gs pos="100000">
                    <a:schemeClr val="bg1"/>
                  </a:gs>
                </a:gsLst>
                <a:lin ang="2700000" scaled="1"/>
              </a:gradFill>
              <a:ln>
                <a:gradFill flip="none" rotWithShape="1">
                  <a:gsLst>
                    <a:gs pos="0">
                      <a:srgbClr val="A6E0FF">
                        <a:alpha val="28000"/>
                      </a:srgb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eaLnBrk="0" fontAlgn="base" hangingPunct="0">
                  <a:spcBef>
                    <a:spcPct val="0"/>
                  </a:spcBef>
                  <a:spcAft>
                    <a:spcPct val="0"/>
                  </a:spcAft>
                </a:pPr>
                <a:endParaRPr lang="en-US" sz="1999">
                  <a:gradFill>
                    <a:gsLst>
                      <a:gs pos="0">
                        <a:schemeClr val="bg1"/>
                      </a:gs>
                      <a:gs pos="100000">
                        <a:schemeClr val="bg1"/>
                      </a:gs>
                    </a:gsLst>
                    <a:lin ang="5400000" scaled="1"/>
                  </a:gradFill>
                  <a:latin typeface="72 Brand" panose="020B0504030603020204" pitchFamily="34" charset="0"/>
                </a:endParaRPr>
              </a:p>
            </p:txBody>
          </p:sp>
          <p:sp>
            <p:nvSpPr>
              <p:cNvPr id="262" name="Rectangle: Top Corners Rounded 41">
                <a:extLst>
                  <a:ext uri="{FF2B5EF4-FFF2-40B4-BE49-F238E27FC236}">
                    <a16:creationId xmlns:a16="http://schemas.microsoft.com/office/drawing/2014/main" id="{857933ED-CDE0-8779-6700-B2C9503CD881}"/>
                  </a:ext>
                </a:extLst>
              </p:cNvPr>
              <p:cNvSpPr/>
              <p:nvPr/>
            </p:nvSpPr>
            <p:spPr bwMode="auto">
              <a:xfrm rot="16200000">
                <a:off x="7457146" y="3269134"/>
                <a:ext cx="947382" cy="164456"/>
              </a:xfrm>
              <a:prstGeom prst="round2SameRect">
                <a:avLst>
                  <a:gd name="adj1" fmla="val 16108"/>
                  <a:gd name="adj2" fmla="val 0"/>
                </a:avLst>
              </a:prstGeom>
              <a:solidFill>
                <a:srgbClr val="89D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pPr>
                <a:endParaRPr lang="en-US" sz="1999">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endParaRPr>
              </a:p>
            </p:txBody>
          </p:sp>
          <p:sp>
            <p:nvSpPr>
              <p:cNvPr id="263" name="Oval 262">
                <a:extLst>
                  <a:ext uri="{FF2B5EF4-FFF2-40B4-BE49-F238E27FC236}">
                    <a16:creationId xmlns:a16="http://schemas.microsoft.com/office/drawing/2014/main" id="{4DC88F05-3927-160A-57ED-B76B2545F301}"/>
                  </a:ext>
                </a:extLst>
              </p:cNvPr>
              <p:cNvSpPr/>
              <p:nvPr/>
            </p:nvSpPr>
            <p:spPr bwMode="auto">
              <a:xfrm>
                <a:off x="7893329" y="2948565"/>
                <a:ext cx="71184" cy="71184"/>
              </a:xfrm>
              <a:prstGeom prst="ellipse">
                <a:avLst/>
              </a:prstGeom>
              <a:solidFill>
                <a:srgbClr val="E7F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eaLnBrk="0" fontAlgn="base" hangingPunct="0">
                  <a:spcBef>
                    <a:spcPct val="0"/>
                  </a:spcBef>
                  <a:spcAft>
                    <a:spcPct val="0"/>
                  </a:spcAft>
                </a:pPr>
                <a:endParaRPr lang="en-US" sz="1999">
                  <a:gradFill>
                    <a:gsLst>
                      <a:gs pos="0">
                        <a:schemeClr val="bg1"/>
                      </a:gs>
                      <a:gs pos="100000">
                        <a:schemeClr val="bg1"/>
                      </a:gs>
                    </a:gsLst>
                    <a:lin ang="5400000" scaled="1"/>
                  </a:gradFill>
                  <a:latin typeface="72 Brand" panose="020B0504030603020204" pitchFamily="34" charset="0"/>
                </a:endParaRPr>
              </a:p>
            </p:txBody>
          </p:sp>
          <p:sp>
            <p:nvSpPr>
              <p:cNvPr id="264" name="Oval 263">
                <a:extLst>
                  <a:ext uri="{FF2B5EF4-FFF2-40B4-BE49-F238E27FC236}">
                    <a16:creationId xmlns:a16="http://schemas.microsoft.com/office/drawing/2014/main" id="{75216774-EF4F-4D66-931F-E5BE74AF2A47}"/>
                  </a:ext>
                </a:extLst>
              </p:cNvPr>
              <p:cNvSpPr/>
              <p:nvPr/>
            </p:nvSpPr>
            <p:spPr bwMode="auto">
              <a:xfrm>
                <a:off x="7893329" y="3120237"/>
                <a:ext cx="71184" cy="71184"/>
              </a:xfrm>
              <a:prstGeom prst="ellipse">
                <a:avLst/>
              </a:prstGeom>
              <a:solidFill>
                <a:srgbClr val="E7F4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eaLnBrk="0" fontAlgn="base" hangingPunct="0">
                  <a:spcBef>
                    <a:spcPct val="0"/>
                  </a:spcBef>
                  <a:spcAft>
                    <a:spcPct val="0"/>
                  </a:spcAft>
                </a:pPr>
                <a:endParaRPr lang="en-US" sz="1999">
                  <a:gradFill>
                    <a:gsLst>
                      <a:gs pos="0">
                        <a:schemeClr val="bg1"/>
                      </a:gs>
                      <a:gs pos="100000">
                        <a:schemeClr val="bg1"/>
                      </a:gs>
                    </a:gsLst>
                    <a:lin ang="5400000" scaled="1"/>
                  </a:gradFill>
                  <a:latin typeface="72 Brand" panose="020B0504030603020204" pitchFamily="34" charset="0"/>
                </a:endParaRPr>
              </a:p>
            </p:txBody>
          </p:sp>
          <p:grpSp>
            <p:nvGrpSpPr>
              <p:cNvPr id="265" name="Group 264">
                <a:extLst>
                  <a:ext uri="{FF2B5EF4-FFF2-40B4-BE49-F238E27FC236}">
                    <a16:creationId xmlns:a16="http://schemas.microsoft.com/office/drawing/2014/main" id="{FC1D7E8E-18B9-E004-7C5D-4312B55EFD07}"/>
                  </a:ext>
                </a:extLst>
              </p:cNvPr>
              <p:cNvGrpSpPr/>
              <p:nvPr/>
            </p:nvGrpSpPr>
            <p:grpSpPr>
              <a:xfrm>
                <a:off x="8062346" y="3403609"/>
                <a:ext cx="1129662" cy="369482"/>
                <a:chOff x="-1946765" y="2250333"/>
                <a:chExt cx="2089406" cy="683389"/>
              </a:xfrm>
            </p:grpSpPr>
            <p:sp>
              <p:nvSpPr>
                <p:cNvPr id="273" name="Rectangle: Rounded Corners 120">
                  <a:extLst>
                    <a:ext uri="{FF2B5EF4-FFF2-40B4-BE49-F238E27FC236}">
                      <a16:creationId xmlns:a16="http://schemas.microsoft.com/office/drawing/2014/main" id="{56373538-2303-D5AF-3FA2-324211557478}"/>
                    </a:ext>
                  </a:extLst>
                </p:cNvPr>
                <p:cNvSpPr/>
                <p:nvPr/>
              </p:nvSpPr>
              <p:spPr bwMode="auto">
                <a:xfrm>
                  <a:off x="-1229475" y="2355626"/>
                  <a:ext cx="654825" cy="578096"/>
                </a:xfrm>
                <a:prstGeom prst="roundRect">
                  <a:avLst>
                    <a:gd name="adj" fmla="val 3301"/>
                  </a:avLst>
                </a:prstGeom>
                <a:solidFill>
                  <a:schemeClr val="bg1"/>
                </a:solidFill>
                <a:ln>
                  <a:solidFill>
                    <a:srgbClr val="89D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pPr>
                  <a:endParaRPr lang="en-US" sz="1999">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endParaRPr>
                </a:p>
              </p:txBody>
            </p:sp>
            <p:sp>
              <p:nvSpPr>
                <p:cNvPr id="274" name="Rectangle: Rounded Corners 121">
                  <a:extLst>
                    <a:ext uri="{FF2B5EF4-FFF2-40B4-BE49-F238E27FC236}">
                      <a16:creationId xmlns:a16="http://schemas.microsoft.com/office/drawing/2014/main" id="{02ACACC4-869E-7C01-BD68-F0B8E0B91C7B}"/>
                    </a:ext>
                  </a:extLst>
                </p:cNvPr>
                <p:cNvSpPr/>
                <p:nvPr/>
              </p:nvSpPr>
              <p:spPr bwMode="auto">
                <a:xfrm>
                  <a:off x="-512184" y="2355626"/>
                  <a:ext cx="654825" cy="578096"/>
                </a:xfrm>
                <a:prstGeom prst="roundRect">
                  <a:avLst>
                    <a:gd name="adj" fmla="val 3301"/>
                  </a:avLst>
                </a:prstGeom>
                <a:solidFill>
                  <a:schemeClr val="bg1"/>
                </a:solidFill>
                <a:ln>
                  <a:solidFill>
                    <a:srgbClr val="89D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pPr>
                  <a:endParaRPr lang="en-US" sz="1999">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endParaRPr>
                </a:p>
              </p:txBody>
            </p:sp>
            <p:sp>
              <p:nvSpPr>
                <p:cNvPr id="275" name="Rectangle: Rounded Corners 122">
                  <a:extLst>
                    <a:ext uri="{FF2B5EF4-FFF2-40B4-BE49-F238E27FC236}">
                      <a16:creationId xmlns:a16="http://schemas.microsoft.com/office/drawing/2014/main" id="{94F19C9B-1D4D-B8A0-D359-CF8C0512885F}"/>
                    </a:ext>
                  </a:extLst>
                </p:cNvPr>
                <p:cNvSpPr/>
                <p:nvPr/>
              </p:nvSpPr>
              <p:spPr bwMode="auto">
                <a:xfrm>
                  <a:off x="-1946765" y="2355626"/>
                  <a:ext cx="654825" cy="578096"/>
                </a:xfrm>
                <a:prstGeom prst="roundRect">
                  <a:avLst>
                    <a:gd name="adj" fmla="val 3301"/>
                  </a:avLst>
                </a:prstGeom>
                <a:solidFill>
                  <a:schemeClr val="bg1"/>
                </a:solidFill>
                <a:ln>
                  <a:solidFill>
                    <a:srgbClr val="89D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pPr>
                  <a:endParaRPr lang="en-US" sz="1999">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endParaRPr>
                </a:p>
              </p:txBody>
            </p:sp>
            <p:sp>
              <p:nvSpPr>
                <p:cNvPr id="276" name="Rectangle: Rounded Corners 123">
                  <a:extLst>
                    <a:ext uri="{FF2B5EF4-FFF2-40B4-BE49-F238E27FC236}">
                      <a16:creationId xmlns:a16="http://schemas.microsoft.com/office/drawing/2014/main" id="{BC8E9567-F026-EE61-3F19-55C1FC40B7C8}"/>
                    </a:ext>
                  </a:extLst>
                </p:cNvPr>
                <p:cNvSpPr/>
                <p:nvPr/>
              </p:nvSpPr>
              <p:spPr bwMode="auto">
                <a:xfrm>
                  <a:off x="-1848369" y="2250333"/>
                  <a:ext cx="172802" cy="172802"/>
                </a:xfrm>
                <a:prstGeom prst="roundRect">
                  <a:avLst>
                    <a:gd name="adj" fmla="val 11397"/>
                  </a:avLst>
                </a:prstGeom>
                <a:solidFill>
                  <a:srgbClr val="E7F4FF"/>
                </a:solidFill>
                <a:ln>
                  <a:gradFill flip="none" rotWithShape="1">
                    <a:gsLst>
                      <a:gs pos="0">
                        <a:schemeClr val="accent1">
                          <a:lumMod val="5000"/>
                          <a:lumOff val="95000"/>
                        </a:scheme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a:endParaRPr lang="en-US" sz="1999">
                    <a:gradFill>
                      <a:gsLst>
                        <a:gs pos="0">
                          <a:schemeClr val="bg1"/>
                        </a:gs>
                        <a:gs pos="100000">
                          <a:schemeClr val="bg1"/>
                        </a:gs>
                      </a:gsLst>
                      <a:lin ang="5400000" scaled="1"/>
                    </a:gradFill>
                    <a:latin typeface="72 Brand" panose="020B0504030603020204" pitchFamily="34" charset="0"/>
                  </a:endParaRPr>
                </a:p>
              </p:txBody>
            </p:sp>
            <p:sp>
              <p:nvSpPr>
                <p:cNvPr id="277" name="Rectangle: Rounded Corners 124">
                  <a:extLst>
                    <a:ext uri="{FF2B5EF4-FFF2-40B4-BE49-F238E27FC236}">
                      <a16:creationId xmlns:a16="http://schemas.microsoft.com/office/drawing/2014/main" id="{9096CB94-D2B3-A562-3F0C-CE5B37AF06AC}"/>
                    </a:ext>
                  </a:extLst>
                </p:cNvPr>
                <p:cNvSpPr/>
                <p:nvPr/>
              </p:nvSpPr>
              <p:spPr bwMode="auto">
                <a:xfrm>
                  <a:off x="-1136195" y="2250333"/>
                  <a:ext cx="172802" cy="172802"/>
                </a:xfrm>
                <a:prstGeom prst="roundRect">
                  <a:avLst>
                    <a:gd name="adj" fmla="val 11397"/>
                  </a:avLst>
                </a:prstGeom>
                <a:solidFill>
                  <a:srgbClr val="E7F4FF"/>
                </a:solidFill>
                <a:ln>
                  <a:gradFill flip="none" rotWithShape="1">
                    <a:gsLst>
                      <a:gs pos="0">
                        <a:schemeClr val="accent1">
                          <a:lumMod val="5000"/>
                          <a:lumOff val="95000"/>
                        </a:scheme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a:endParaRPr lang="en-US" sz="1999">
                    <a:gradFill>
                      <a:gsLst>
                        <a:gs pos="0">
                          <a:schemeClr val="bg1"/>
                        </a:gs>
                        <a:gs pos="100000">
                          <a:schemeClr val="bg1"/>
                        </a:gs>
                      </a:gsLst>
                      <a:lin ang="5400000" scaled="1"/>
                    </a:gradFill>
                    <a:latin typeface="72 Brand" panose="020B0504030603020204" pitchFamily="34" charset="0"/>
                  </a:endParaRPr>
                </a:p>
              </p:txBody>
            </p:sp>
            <p:sp>
              <p:nvSpPr>
                <p:cNvPr id="278" name="Rectangle: Rounded Corners 125">
                  <a:extLst>
                    <a:ext uri="{FF2B5EF4-FFF2-40B4-BE49-F238E27FC236}">
                      <a16:creationId xmlns:a16="http://schemas.microsoft.com/office/drawing/2014/main" id="{FB79849E-87EA-6BD0-9EA7-E9CC7834A779}"/>
                    </a:ext>
                  </a:extLst>
                </p:cNvPr>
                <p:cNvSpPr/>
                <p:nvPr/>
              </p:nvSpPr>
              <p:spPr bwMode="auto">
                <a:xfrm>
                  <a:off x="-410937" y="2266167"/>
                  <a:ext cx="172802" cy="172802"/>
                </a:xfrm>
                <a:prstGeom prst="roundRect">
                  <a:avLst>
                    <a:gd name="adj" fmla="val 11397"/>
                  </a:avLst>
                </a:prstGeom>
                <a:solidFill>
                  <a:srgbClr val="E7F4FF"/>
                </a:solidFill>
                <a:ln>
                  <a:gradFill flip="none" rotWithShape="1">
                    <a:gsLst>
                      <a:gs pos="0">
                        <a:schemeClr val="accent1">
                          <a:lumMod val="5000"/>
                          <a:lumOff val="95000"/>
                        </a:scheme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a:endParaRPr lang="en-US" sz="1999">
                    <a:gradFill>
                      <a:gsLst>
                        <a:gs pos="0">
                          <a:schemeClr val="bg1"/>
                        </a:gs>
                        <a:gs pos="100000">
                          <a:schemeClr val="bg1"/>
                        </a:gs>
                      </a:gsLst>
                      <a:lin ang="5400000" scaled="1"/>
                    </a:gradFill>
                    <a:latin typeface="72 Brand" panose="020B0504030603020204" pitchFamily="34" charset="0"/>
                  </a:endParaRPr>
                </a:p>
              </p:txBody>
            </p:sp>
          </p:grpSp>
          <p:grpSp>
            <p:nvGrpSpPr>
              <p:cNvPr id="266" name="Group 265">
                <a:extLst>
                  <a:ext uri="{FF2B5EF4-FFF2-40B4-BE49-F238E27FC236}">
                    <a16:creationId xmlns:a16="http://schemas.microsoft.com/office/drawing/2014/main" id="{711B7BE3-04A6-13E9-DC00-37CC69145F90}"/>
                  </a:ext>
                </a:extLst>
              </p:cNvPr>
              <p:cNvGrpSpPr/>
              <p:nvPr/>
            </p:nvGrpSpPr>
            <p:grpSpPr>
              <a:xfrm>
                <a:off x="8062346" y="3007563"/>
                <a:ext cx="1129662" cy="369482"/>
                <a:chOff x="-1946765" y="2250333"/>
                <a:chExt cx="2089406" cy="683389"/>
              </a:xfrm>
            </p:grpSpPr>
            <p:sp>
              <p:nvSpPr>
                <p:cNvPr id="267" name="Rectangle: Rounded Corners 114">
                  <a:extLst>
                    <a:ext uri="{FF2B5EF4-FFF2-40B4-BE49-F238E27FC236}">
                      <a16:creationId xmlns:a16="http://schemas.microsoft.com/office/drawing/2014/main" id="{FB64057A-C6B0-4C37-3DE6-3A739C8438C8}"/>
                    </a:ext>
                  </a:extLst>
                </p:cNvPr>
                <p:cNvSpPr/>
                <p:nvPr/>
              </p:nvSpPr>
              <p:spPr bwMode="auto">
                <a:xfrm>
                  <a:off x="-1229475" y="2355626"/>
                  <a:ext cx="654825" cy="578096"/>
                </a:xfrm>
                <a:prstGeom prst="roundRect">
                  <a:avLst>
                    <a:gd name="adj" fmla="val 3301"/>
                  </a:avLst>
                </a:prstGeom>
                <a:solidFill>
                  <a:schemeClr val="bg1"/>
                </a:solidFill>
                <a:ln>
                  <a:solidFill>
                    <a:srgbClr val="89D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pPr>
                  <a:endParaRPr lang="en-US" sz="1999">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endParaRPr>
                </a:p>
              </p:txBody>
            </p:sp>
            <p:sp>
              <p:nvSpPr>
                <p:cNvPr id="268" name="Rectangle: Rounded Corners 115">
                  <a:extLst>
                    <a:ext uri="{FF2B5EF4-FFF2-40B4-BE49-F238E27FC236}">
                      <a16:creationId xmlns:a16="http://schemas.microsoft.com/office/drawing/2014/main" id="{EE6F2898-50D8-B628-4A4F-1B2218B22506}"/>
                    </a:ext>
                  </a:extLst>
                </p:cNvPr>
                <p:cNvSpPr/>
                <p:nvPr/>
              </p:nvSpPr>
              <p:spPr bwMode="auto">
                <a:xfrm>
                  <a:off x="-512184" y="2355626"/>
                  <a:ext cx="654825" cy="578096"/>
                </a:xfrm>
                <a:prstGeom prst="roundRect">
                  <a:avLst>
                    <a:gd name="adj" fmla="val 3301"/>
                  </a:avLst>
                </a:prstGeom>
                <a:solidFill>
                  <a:schemeClr val="bg1"/>
                </a:solidFill>
                <a:ln>
                  <a:solidFill>
                    <a:srgbClr val="89D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pPr>
                  <a:endParaRPr lang="en-US" sz="1999">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endParaRPr>
                </a:p>
              </p:txBody>
            </p:sp>
            <p:sp>
              <p:nvSpPr>
                <p:cNvPr id="269" name="Rectangle: Rounded Corners 116">
                  <a:extLst>
                    <a:ext uri="{FF2B5EF4-FFF2-40B4-BE49-F238E27FC236}">
                      <a16:creationId xmlns:a16="http://schemas.microsoft.com/office/drawing/2014/main" id="{49840487-9F60-F93B-B44E-F81AA310C343}"/>
                    </a:ext>
                  </a:extLst>
                </p:cNvPr>
                <p:cNvSpPr/>
                <p:nvPr/>
              </p:nvSpPr>
              <p:spPr bwMode="auto">
                <a:xfrm>
                  <a:off x="-1946765" y="2355626"/>
                  <a:ext cx="654825" cy="578096"/>
                </a:xfrm>
                <a:prstGeom prst="roundRect">
                  <a:avLst>
                    <a:gd name="adj" fmla="val 3301"/>
                  </a:avLst>
                </a:prstGeom>
                <a:solidFill>
                  <a:schemeClr val="bg1"/>
                </a:solidFill>
                <a:ln>
                  <a:solidFill>
                    <a:srgbClr val="89D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pPr>
                  <a:endParaRPr lang="en-US" sz="1999">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endParaRPr>
                </a:p>
              </p:txBody>
            </p:sp>
            <p:sp>
              <p:nvSpPr>
                <p:cNvPr id="270" name="Rectangle: Rounded Corners 117">
                  <a:extLst>
                    <a:ext uri="{FF2B5EF4-FFF2-40B4-BE49-F238E27FC236}">
                      <a16:creationId xmlns:a16="http://schemas.microsoft.com/office/drawing/2014/main" id="{DF448725-7514-5B1C-F43C-8EF052BB0790}"/>
                    </a:ext>
                  </a:extLst>
                </p:cNvPr>
                <p:cNvSpPr/>
                <p:nvPr/>
              </p:nvSpPr>
              <p:spPr bwMode="auto">
                <a:xfrm>
                  <a:off x="-1848369" y="2250333"/>
                  <a:ext cx="172802" cy="172802"/>
                </a:xfrm>
                <a:prstGeom prst="roundRect">
                  <a:avLst>
                    <a:gd name="adj" fmla="val 11397"/>
                  </a:avLst>
                </a:prstGeom>
                <a:solidFill>
                  <a:srgbClr val="E7F4FF"/>
                </a:solidFill>
                <a:ln>
                  <a:gradFill flip="none" rotWithShape="1">
                    <a:gsLst>
                      <a:gs pos="0">
                        <a:schemeClr val="accent1">
                          <a:lumMod val="5000"/>
                          <a:lumOff val="95000"/>
                        </a:scheme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a:endParaRPr lang="en-US" sz="1999">
                    <a:gradFill>
                      <a:gsLst>
                        <a:gs pos="0">
                          <a:schemeClr val="bg1"/>
                        </a:gs>
                        <a:gs pos="100000">
                          <a:schemeClr val="bg1"/>
                        </a:gs>
                      </a:gsLst>
                      <a:lin ang="5400000" scaled="1"/>
                    </a:gradFill>
                    <a:latin typeface="72 Brand" panose="020B0504030603020204" pitchFamily="34" charset="0"/>
                  </a:endParaRPr>
                </a:p>
              </p:txBody>
            </p:sp>
            <p:sp>
              <p:nvSpPr>
                <p:cNvPr id="271" name="Rectangle: Rounded Corners 118">
                  <a:extLst>
                    <a:ext uri="{FF2B5EF4-FFF2-40B4-BE49-F238E27FC236}">
                      <a16:creationId xmlns:a16="http://schemas.microsoft.com/office/drawing/2014/main" id="{03AD38CA-4417-2E43-A3DB-BD2A629424D5}"/>
                    </a:ext>
                  </a:extLst>
                </p:cNvPr>
                <p:cNvSpPr/>
                <p:nvPr/>
              </p:nvSpPr>
              <p:spPr bwMode="auto">
                <a:xfrm>
                  <a:off x="-1136195" y="2250333"/>
                  <a:ext cx="172802" cy="172802"/>
                </a:xfrm>
                <a:prstGeom prst="roundRect">
                  <a:avLst>
                    <a:gd name="adj" fmla="val 11397"/>
                  </a:avLst>
                </a:prstGeom>
                <a:solidFill>
                  <a:srgbClr val="E7F4FF"/>
                </a:solidFill>
                <a:ln>
                  <a:gradFill flip="none" rotWithShape="1">
                    <a:gsLst>
                      <a:gs pos="0">
                        <a:schemeClr val="accent1">
                          <a:lumMod val="5000"/>
                          <a:lumOff val="95000"/>
                        </a:scheme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a:endParaRPr lang="en-US" sz="1999">
                    <a:gradFill>
                      <a:gsLst>
                        <a:gs pos="0">
                          <a:schemeClr val="bg1"/>
                        </a:gs>
                        <a:gs pos="100000">
                          <a:schemeClr val="bg1"/>
                        </a:gs>
                      </a:gsLst>
                      <a:lin ang="5400000" scaled="1"/>
                    </a:gradFill>
                    <a:latin typeface="72 Brand" panose="020B0504030603020204" pitchFamily="34" charset="0"/>
                  </a:endParaRPr>
                </a:p>
              </p:txBody>
            </p:sp>
            <p:sp>
              <p:nvSpPr>
                <p:cNvPr id="272" name="Rectangle: Rounded Corners 119">
                  <a:extLst>
                    <a:ext uri="{FF2B5EF4-FFF2-40B4-BE49-F238E27FC236}">
                      <a16:creationId xmlns:a16="http://schemas.microsoft.com/office/drawing/2014/main" id="{F3EA414C-95AC-BA08-DC91-577AA97F7B35}"/>
                    </a:ext>
                  </a:extLst>
                </p:cNvPr>
                <p:cNvSpPr/>
                <p:nvPr/>
              </p:nvSpPr>
              <p:spPr bwMode="auto">
                <a:xfrm>
                  <a:off x="-410937" y="2266167"/>
                  <a:ext cx="172802" cy="172802"/>
                </a:xfrm>
                <a:prstGeom prst="roundRect">
                  <a:avLst>
                    <a:gd name="adj" fmla="val 11397"/>
                  </a:avLst>
                </a:prstGeom>
                <a:solidFill>
                  <a:srgbClr val="E7F4FF"/>
                </a:solidFill>
                <a:ln>
                  <a:gradFill flip="none" rotWithShape="1">
                    <a:gsLst>
                      <a:gs pos="0">
                        <a:schemeClr val="accent1">
                          <a:lumMod val="5000"/>
                          <a:lumOff val="95000"/>
                        </a:schemeClr>
                      </a:gs>
                      <a:gs pos="100000">
                        <a:srgbClr val="89D1FF"/>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a:endParaRPr lang="en-US" sz="1999">
                    <a:gradFill>
                      <a:gsLst>
                        <a:gs pos="0">
                          <a:schemeClr val="bg1"/>
                        </a:gs>
                        <a:gs pos="100000">
                          <a:schemeClr val="bg1"/>
                        </a:gs>
                      </a:gsLst>
                      <a:lin ang="5400000" scaled="1"/>
                    </a:gradFill>
                    <a:latin typeface="72 Brand" panose="020B0504030603020204" pitchFamily="34" charset="0"/>
                  </a:endParaRPr>
                </a:p>
              </p:txBody>
            </p:sp>
          </p:grpSp>
        </p:grpSp>
        <p:grpSp>
          <p:nvGrpSpPr>
            <p:cNvPr id="279" name="Group 278">
              <a:extLst>
                <a:ext uri="{FF2B5EF4-FFF2-40B4-BE49-F238E27FC236}">
                  <a16:creationId xmlns:a16="http://schemas.microsoft.com/office/drawing/2014/main" id="{FC104379-5390-445B-A8EB-E61C537C39AD}"/>
                </a:ext>
              </a:extLst>
            </p:cNvPr>
            <p:cNvGrpSpPr/>
            <p:nvPr/>
          </p:nvGrpSpPr>
          <p:grpSpPr>
            <a:xfrm>
              <a:off x="4052151" y="3045936"/>
              <a:ext cx="1250260" cy="413908"/>
              <a:chOff x="9292114" y="2827321"/>
              <a:chExt cx="617858" cy="204547"/>
            </a:xfrm>
          </p:grpSpPr>
          <p:sp>
            <p:nvSpPr>
              <p:cNvPr id="280" name="Freeform: Shape 127">
                <a:extLst>
                  <a:ext uri="{FF2B5EF4-FFF2-40B4-BE49-F238E27FC236}">
                    <a16:creationId xmlns:a16="http://schemas.microsoft.com/office/drawing/2014/main" id="{50F9C04C-1A75-2923-C439-26B6DAD3A5F8}"/>
                  </a:ext>
                </a:extLst>
              </p:cNvPr>
              <p:cNvSpPr/>
              <p:nvPr/>
            </p:nvSpPr>
            <p:spPr>
              <a:xfrm>
                <a:off x="9292114" y="2827321"/>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endParaRPr lang="en-US" sz="2099"/>
              </a:p>
            </p:txBody>
          </p:sp>
          <p:sp>
            <p:nvSpPr>
              <p:cNvPr id="281" name="Freeform: Shape 128">
                <a:extLst>
                  <a:ext uri="{FF2B5EF4-FFF2-40B4-BE49-F238E27FC236}">
                    <a16:creationId xmlns:a16="http://schemas.microsoft.com/office/drawing/2014/main" id="{51F9F371-B42A-4691-EAA4-6AF3F15E3D2F}"/>
                  </a:ext>
                </a:extLst>
              </p:cNvPr>
              <p:cNvSpPr/>
              <p:nvPr/>
            </p:nvSpPr>
            <p:spPr>
              <a:xfrm>
                <a:off x="9292114" y="2967240"/>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FFB300"/>
              </a:solidFill>
              <a:ln w="1853" cap="flat">
                <a:noFill/>
                <a:prstDash val="solid"/>
                <a:miter/>
              </a:ln>
            </p:spPr>
            <p:txBody>
              <a:bodyPr rtlCol="0" anchor="ctr"/>
              <a:lstStyle/>
              <a:p>
                <a:endParaRPr lang="en-US" sz="2099"/>
              </a:p>
            </p:txBody>
          </p:sp>
          <p:sp>
            <p:nvSpPr>
              <p:cNvPr id="282" name="Freeform: Shape 129">
                <a:extLst>
                  <a:ext uri="{FF2B5EF4-FFF2-40B4-BE49-F238E27FC236}">
                    <a16:creationId xmlns:a16="http://schemas.microsoft.com/office/drawing/2014/main" id="{58D6F8DB-034C-6BF6-BB2E-2D94DD7FEFBB}"/>
                  </a:ext>
                </a:extLst>
              </p:cNvPr>
              <p:cNvSpPr/>
              <p:nvPr/>
            </p:nvSpPr>
            <p:spPr>
              <a:xfrm>
                <a:off x="9502360" y="2961166"/>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endParaRPr lang="en-US" sz="2099"/>
              </a:p>
            </p:txBody>
          </p:sp>
          <p:sp>
            <p:nvSpPr>
              <p:cNvPr id="283" name="Freeform: Shape 130">
                <a:extLst>
                  <a:ext uri="{FF2B5EF4-FFF2-40B4-BE49-F238E27FC236}">
                    <a16:creationId xmlns:a16="http://schemas.microsoft.com/office/drawing/2014/main" id="{505F5699-1365-573E-42B3-28191A12A84F}"/>
                  </a:ext>
                </a:extLst>
              </p:cNvPr>
              <p:cNvSpPr/>
              <p:nvPr/>
            </p:nvSpPr>
            <p:spPr>
              <a:xfrm>
                <a:off x="9502360" y="2998473"/>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FFB300"/>
              </a:solidFill>
              <a:ln w="1853" cap="flat">
                <a:noFill/>
                <a:prstDash val="solid"/>
                <a:miter/>
              </a:ln>
            </p:spPr>
            <p:txBody>
              <a:bodyPr rtlCol="0" anchor="ctr"/>
              <a:lstStyle/>
              <a:p>
                <a:endParaRPr lang="en-US" sz="2099"/>
              </a:p>
            </p:txBody>
          </p:sp>
          <p:sp>
            <p:nvSpPr>
              <p:cNvPr id="284" name="Freeform: Shape 131">
                <a:extLst>
                  <a:ext uri="{FF2B5EF4-FFF2-40B4-BE49-F238E27FC236}">
                    <a16:creationId xmlns:a16="http://schemas.microsoft.com/office/drawing/2014/main" id="{BF4DBA72-C91B-B12A-E120-AC5AD251D985}"/>
                  </a:ext>
                </a:extLst>
              </p:cNvPr>
              <p:cNvSpPr/>
              <p:nvPr/>
            </p:nvSpPr>
            <p:spPr>
              <a:xfrm>
                <a:off x="9706872" y="2927432"/>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endParaRPr lang="en-US" sz="2099"/>
              </a:p>
            </p:txBody>
          </p:sp>
          <p:sp>
            <p:nvSpPr>
              <p:cNvPr id="285" name="Freeform: Shape 132">
                <a:extLst>
                  <a:ext uri="{FF2B5EF4-FFF2-40B4-BE49-F238E27FC236}">
                    <a16:creationId xmlns:a16="http://schemas.microsoft.com/office/drawing/2014/main" id="{04BB3740-984E-3554-62B8-6E6DC04DE632}"/>
                  </a:ext>
                </a:extLst>
              </p:cNvPr>
              <p:cNvSpPr/>
              <p:nvPr/>
            </p:nvSpPr>
            <p:spPr>
              <a:xfrm>
                <a:off x="9706872" y="2987360"/>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FFB300"/>
              </a:solidFill>
              <a:ln w="1853" cap="flat">
                <a:noFill/>
                <a:prstDash val="solid"/>
                <a:miter/>
              </a:ln>
            </p:spPr>
            <p:txBody>
              <a:bodyPr rtlCol="0" anchor="ctr"/>
              <a:lstStyle/>
              <a:p>
                <a:endParaRPr lang="en-US" sz="2099"/>
              </a:p>
            </p:txBody>
          </p:sp>
          <p:sp>
            <p:nvSpPr>
              <p:cNvPr id="286" name="Freeform: Shape 133">
                <a:extLst>
                  <a:ext uri="{FF2B5EF4-FFF2-40B4-BE49-F238E27FC236}">
                    <a16:creationId xmlns:a16="http://schemas.microsoft.com/office/drawing/2014/main" id="{38E15084-4DA4-B3EA-3C5F-D2AAD3AB3BCB}"/>
                  </a:ext>
                </a:extLst>
              </p:cNvPr>
              <p:cNvSpPr/>
              <p:nvPr/>
            </p:nvSpPr>
            <p:spPr>
              <a:xfrm>
                <a:off x="9887709" y="2944995"/>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FFB300"/>
              </a:solidFill>
              <a:ln w="1853" cap="flat">
                <a:noFill/>
                <a:prstDash val="solid"/>
                <a:miter/>
              </a:ln>
            </p:spPr>
            <p:txBody>
              <a:bodyPr rtlCol="0" anchor="ctr"/>
              <a:lstStyle/>
              <a:p>
                <a:endParaRPr lang="en-US" sz="2099"/>
              </a:p>
            </p:txBody>
          </p:sp>
          <p:sp>
            <p:nvSpPr>
              <p:cNvPr id="287" name="Freeform: Shape 134">
                <a:extLst>
                  <a:ext uri="{FF2B5EF4-FFF2-40B4-BE49-F238E27FC236}">
                    <a16:creationId xmlns:a16="http://schemas.microsoft.com/office/drawing/2014/main" id="{647DED80-5A40-C175-D077-7850E51463C3}"/>
                  </a:ext>
                </a:extLst>
              </p:cNvPr>
              <p:cNvSpPr/>
              <p:nvPr/>
            </p:nvSpPr>
            <p:spPr>
              <a:xfrm>
                <a:off x="9887709" y="3009605"/>
                <a:ext cx="22263" cy="22263"/>
              </a:xfrm>
              <a:custGeom>
                <a:avLst/>
                <a:gdLst>
                  <a:gd name="connsiteX0" fmla="*/ 22264 w 22263"/>
                  <a:gd name="connsiteY0" fmla="*/ 11132 h 22263"/>
                  <a:gd name="connsiteX1" fmla="*/ 11132 w 22263"/>
                  <a:gd name="connsiteY1" fmla="*/ 22264 h 22263"/>
                  <a:gd name="connsiteX2" fmla="*/ 0 w 22263"/>
                  <a:gd name="connsiteY2" fmla="*/ 11132 h 22263"/>
                  <a:gd name="connsiteX3" fmla="*/ 11132 w 22263"/>
                  <a:gd name="connsiteY3" fmla="*/ 0 h 22263"/>
                  <a:gd name="connsiteX4" fmla="*/ 22264 w 22263"/>
                  <a:gd name="connsiteY4" fmla="*/ 11132 h 2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3" h="22263">
                    <a:moveTo>
                      <a:pt x="22264" y="11132"/>
                    </a:moveTo>
                    <a:cubicBezTo>
                      <a:pt x="22264" y="17280"/>
                      <a:pt x="17280" y="22264"/>
                      <a:pt x="11132" y="22264"/>
                    </a:cubicBezTo>
                    <a:cubicBezTo>
                      <a:pt x="4984" y="22264"/>
                      <a:pt x="0" y="17280"/>
                      <a:pt x="0" y="11132"/>
                    </a:cubicBezTo>
                    <a:cubicBezTo>
                      <a:pt x="0" y="4984"/>
                      <a:pt x="4984" y="0"/>
                      <a:pt x="11132" y="0"/>
                    </a:cubicBezTo>
                    <a:cubicBezTo>
                      <a:pt x="17280" y="0"/>
                      <a:pt x="22264" y="4984"/>
                      <a:pt x="22264" y="11132"/>
                    </a:cubicBezTo>
                    <a:close/>
                  </a:path>
                </a:pathLst>
              </a:custGeom>
              <a:solidFill>
                <a:srgbClr val="4DB1FF"/>
              </a:solidFill>
              <a:ln w="1853" cap="flat">
                <a:noFill/>
                <a:prstDash val="solid"/>
                <a:miter/>
              </a:ln>
            </p:spPr>
            <p:txBody>
              <a:bodyPr rtlCol="0" anchor="ctr"/>
              <a:lstStyle/>
              <a:p>
                <a:endParaRPr lang="en-US" sz="2099"/>
              </a:p>
            </p:txBody>
          </p:sp>
          <p:sp>
            <p:nvSpPr>
              <p:cNvPr id="288" name="Freeform: Shape 135">
                <a:extLst>
                  <a:ext uri="{FF2B5EF4-FFF2-40B4-BE49-F238E27FC236}">
                    <a16:creationId xmlns:a16="http://schemas.microsoft.com/office/drawing/2014/main" id="{3D6662D4-C0D3-0CA0-25E7-BCE548E2A67D}"/>
                  </a:ext>
                </a:extLst>
              </p:cNvPr>
              <p:cNvSpPr/>
              <p:nvPr/>
            </p:nvSpPr>
            <p:spPr>
              <a:xfrm>
                <a:off x="9303245" y="2838452"/>
                <a:ext cx="595595" cy="182284"/>
              </a:xfrm>
              <a:custGeom>
                <a:avLst/>
                <a:gdLst>
                  <a:gd name="connsiteX0" fmla="*/ 0 w 595595"/>
                  <a:gd name="connsiteY0" fmla="*/ 0 h 182284"/>
                  <a:gd name="connsiteX1" fmla="*/ 210247 w 595595"/>
                  <a:gd name="connsiteY1" fmla="*/ 133846 h 182284"/>
                  <a:gd name="connsiteX2" fmla="*/ 414758 w 595595"/>
                  <a:gd name="connsiteY2" fmla="*/ 100112 h 182284"/>
                  <a:gd name="connsiteX3" fmla="*/ 595595 w 595595"/>
                  <a:gd name="connsiteY3" fmla="*/ 182285 h 182284"/>
                </a:gdLst>
                <a:ahLst/>
                <a:cxnLst>
                  <a:cxn ang="0">
                    <a:pos x="connsiteX0" y="connsiteY0"/>
                  </a:cxn>
                  <a:cxn ang="0">
                    <a:pos x="connsiteX1" y="connsiteY1"/>
                  </a:cxn>
                  <a:cxn ang="0">
                    <a:pos x="connsiteX2" y="connsiteY2"/>
                  </a:cxn>
                  <a:cxn ang="0">
                    <a:pos x="connsiteX3" y="connsiteY3"/>
                  </a:cxn>
                </a:cxnLst>
                <a:rect l="l" t="t" r="r" b="b"/>
                <a:pathLst>
                  <a:path w="595595" h="182284">
                    <a:moveTo>
                      <a:pt x="0" y="0"/>
                    </a:moveTo>
                    <a:lnTo>
                      <a:pt x="210247" y="133846"/>
                    </a:lnTo>
                    <a:lnTo>
                      <a:pt x="414758" y="100112"/>
                    </a:lnTo>
                    <a:lnTo>
                      <a:pt x="595595" y="182285"/>
                    </a:lnTo>
                  </a:path>
                </a:pathLst>
              </a:custGeom>
              <a:ln w="9525" cap="rnd">
                <a:solidFill>
                  <a:srgbClr val="4DB1FF"/>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2099"/>
              </a:p>
            </p:txBody>
          </p:sp>
          <p:sp>
            <p:nvSpPr>
              <p:cNvPr id="289" name="Freeform: Shape 136">
                <a:extLst>
                  <a:ext uri="{FF2B5EF4-FFF2-40B4-BE49-F238E27FC236}">
                    <a16:creationId xmlns:a16="http://schemas.microsoft.com/office/drawing/2014/main" id="{38E01613-ADDA-9D52-5A5E-11C54E239451}"/>
                  </a:ext>
                </a:extLst>
              </p:cNvPr>
              <p:cNvSpPr/>
              <p:nvPr/>
            </p:nvSpPr>
            <p:spPr>
              <a:xfrm>
                <a:off x="9322613" y="2978372"/>
                <a:ext cx="170796" cy="26551"/>
              </a:xfrm>
              <a:custGeom>
                <a:avLst/>
                <a:gdLst>
                  <a:gd name="connsiteX0" fmla="*/ 0 w 170796"/>
                  <a:gd name="connsiteY0" fmla="*/ 0 h 26551"/>
                  <a:gd name="connsiteX1" fmla="*/ 170796 w 170796"/>
                  <a:gd name="connsiteY1" fmla="*/ 26551 h 26551"/>
                </a:gdLst>
                <a:ahLst/>
                <a:cxnLst>
                  <a:cxn ang="0">
                    <a:pos x="connsiteX0" y="connsiteY0"/>
                  </a:cxn>
                  <a:cxn ang="0">
                    <a:pos x="connsiteX1" y="connsiteY1"/>
                  </a:cxn>
                </a:cxnLst>
                <a:rect l="l" t="t" r="r" b="b"/>
                <a:pathLst>
                  <a:path w="170796" h="26551">
                    <a:moveTo>
                      <a:pt x="0" y="0"/>
                    </a:moveTo>
                    <a:lnTo>
                      <a:pt x="170796" y="26551"/>
                    </a:lnTo>
                  </a:path>
                </a:pathLst>
              </a:custGeom>
              <a:ln w="9525" cap="rnd">
                <a:solidFill>
                  <a:srgbClr val="FFB300"/>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2099"/>
              </a:p>
            </p:txBody>
          </p:sp>
          <p:sp>
            <p:nvSpPr>
              <p:cNvPr id="290" name="Freeform: Shape 137">
                <a:extLst>
                  <a:ext uri="{FF2B5EF4-FFF2-40B4-BE49-F238E27FC236}">
                    <a16:creationId xmlns:a16="http://schemas.microsoft.com/office/drawing/2014/main" id="{22C3FEBF-9371-BCF6-FBC3-A9D9960D32DA}"/>
                  </a:ext>
                </a:extLst>
              </p:cNvPr>
              <p:cNvSpPr/>
              <p:nvPr/>
            </p:nvSpPr>
            <p:spPr>
              <a:xfrm>
                <a:off x="9534308" y="3002065"/>
                <a:ext cx="162898" cy="7540"/>
              </a:xfrm>
              <a:custGeom>
                <a:avLst/>
                <a:gdLst>
                  <a:gd name="connsiteX0" fmla="*/ 0 w 162898"/>
                  <a:gd name="connsiteY0" fmla="*/ 7540 h 7540"/>
                  <a:gd name="connsiteX1" fmla="*/ 162898 w 162898"/>
                  <a:gd name="connsiteY1" fmla="*/ 0 h 7540"/>
                </a:gdLst>
                <a:ahLst/>
                <a:cxnLst>
                  <a:cxn ang="0">
                    <a:pos x="connsiteX0" y="connsiteY0"/>
                  </a:cxn>
                  <a:cxn ang="0">
                    <a:pos x="connsiteX1" y="connsiteY1"/>
                  </a:cxn>
                </a:cxnLst>
                <a:rect l="l" t="t" r="r" b="b"/>
                <a:pathLst>
                  <a:path w="162898" h="7540">
                    <a:moveTo>
                      <a:pt x="0" y="7540"/>
                    </a:moveTo>
                    <a:lnTo>
                      <a:pt x="162898" y="0"/>
                    </a:lnTo>
                  </a:path>
                </a:pathLst>
              </a:custGeom>
              <a:ln w="9525" cap="rnd">
                <a:solidFill>
                  <a:srgbClr val="FFB300"/>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2099"/>
              </a:p>
            </p:txBody>
          </p:sp>
          <p:sp>
            <p:nvSpPr>
              <p:cNvPr id="291" name="Freeform: Shape 138">
                <a:extLst>
                  <a:ext uri="{FF2B5EF4-FFF2-40B4-BE49-F238E27FC236}">
                    <a16:creationId xmlns:a16="http://schemas.microsoft.com/office/drawing/2014/main" id="{2460D6EE-4BD9-4107-F501-77B87ACC5E3E}"/>
                  </a:ext>
                </a:extLst>
              </p:cNvPr>
              <p:cNvSpPr/>
              <p:nvPr/>
            </p:nvSpPr>
            <p:spPr>
              <a:xfrm>
                <a:off x="9738105" y="2961185"/>
                <a:ext cx="140653" cy="34411"/>
              </a:xfrm>
              <a:custGeom>
                <a:avLst/>
                <a:gdLst>
                  <a:gd name="connsiteX0" fmla="*/ 0 w 140653"/>
                  <a:gd name="connsiteY0" fmla="*/ 34411 h 34411"/>
                  <a:gd name="connsiteX1" fmla="*/ 140653 w 140653"/>
                  <a:gd name="connsiteY1" fmla="*/ 0 h 34411"/>
                </a:gdLst>
                <a:ahLst/>
                <a:cxnLst>
                  <a:cxn ang="0">
                    <a:pos x="connsiteX0" y="connsiteY0"/>
                  </a:cxn>
                  <a:cxn ang="0">
                    <a:pos x="connsiteX1" y="connsiteY1"/>
                  </a:cxn>
                </a:cxnLst>
                <a:rect l="l" t="t" r="r" b="b"/>
                <a:pathLst>
                  <a:path w="140653" h="34411">
                    <a:moveTo>
                      <a:pt x="0" y="34411"/>
                    </a:moveTo>
                    <a:lnTo>
                      <a:pt x="140653" y="0"/>
                    </a:lnTo>
                  </a:path>
                </a:pathLst>
              </a:custGeom>
              <a:ln w="9525" cap="rnd">
                <a:solidFill>
                  <a:srgbClr val="FFB300"/>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endParaRPr lang="en-US" sz="2099"/>
              </a:p>
            </p:txBody>
          </p:sp>
        </p:grpSp>
        <p:grpSp>
          <p:nvGrpSpPr>
            <p:cNvPr id="292" name="Group 291">
              <a:extLst>
                <a:ext uri="{FF2B5EF4-FFF2-40B4-BE49-F238E27FC236}">
                  <a16:creationId xmlns:a16="http://schemas.microsoft.com/office/drawing/2014/main" id="{CD878B2B-FE93-19EB-ED1F-D78D2B889CB7}"/>
                </a:ext>
              </a:extLst>
            </p:cNvPr>
            <p:cNvGrpSpPr/>
            <p:nvPr/>
          </p:nvGrpSpPr>
          <p:grpSpPr>
            <a:xfrm>
              <a:off x="4112785" y="3471056"/>
              <a:ext cx="868741" cy="555654"/>
              <a:chOff x="-2176260" y="4686054"/>
              <a:chExt cx="1528009" cy="977331"/>
            </a:xfrm>
          </p:grpSpPr>
          <p:sp>
            <p:nvSpPr>
              <p:cNvPr id="293" name="Rectangle: Rounded Corners 71">
                <a:extLst>
                  <a:ext uri="{FF2B5EF4-FFF2-40B4-BE49-F238E27FC236}">
                    <a16:creationId xmlns:a16="http://schemas.microsoft.com/office/drawing/2014/main" id="{C234B91A-712B-2AF3-8228-A15655BDF7A2}"/>
                  </a:ext>
                </a:extLst>
              </p:cNvPr>
              <p:cNvSpPr/>
              <p:nvPr/>
            </p:nvSpPr>
            <p:spPr bwMode="auto">
              <a:xfrm>
                <a:off x="-2176260" y="4767388"/>
                <a:ext cx="1528009" cy="895997"/>
              </a:xfrm>
              <a:prstGeom prst="roundRect">
                <a:avLst>
                  <a:gd name="adj" fmla="val 8384"/>
                </a:avLst>
              </a:prstGeom>
              <a:gradFill>
                <a:gsLst>
                  <a:gs pos="0">
                    <a:schemeClr val="bg1">
                      <a:alpha val="60000"/>
                    </a:schemeClr>
                  </a:gs>
                  <a:gs pos="100000">
                    <a:schemeClr val="bg1"/>
                  </a:gs>
                </a:gsLst>
                <a:lin ang="2700000" scaled="1"/>
              </a:gradFill>
              <a:ln>
                <a:solidFill>
                  <a:srgbClr val="5D36FF">
                    <a:alpha val="14000"/>
                  </a:srgbClr>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a:endParaRPr lang="en-US" sz="1999">
                  <a:gradFill>
                    <a:gsLst>
                      <a:gs pos="0">
                        <a:schemeClr val="bg1"/>
                      </a:gs>
                      <a:gs pos="100000">
                        <a:schemeClr val="bg1"/>
                      </a:gs>
                    </a:gsLst>
                    <a:lin ang="5400000" scaled="1"/>
                  </a:gradFill>
                  <a:latin typeface="72 Brand" panose="020B0504030603020204" pitchFamily="34" charset="0"/>
                </a:endParaRPr>
              </a:p>
            </p:txBody>
          </p:sp>
          <p:cxnSp>
            <p:nvCxnSpPr>
              <p:cNvPr id="294" name="Straight Connector 293">
                <a:extLst>
                  <a:ext uri="{FF2B5EF4-FFF2-40B4-BE49-F238E27FC236}">
                    <a16:creationId xmlns:a16="http://schemas.microsoft.com/office/drawing/2014/main" id="{5814BF32-BF43-838B-82AA-3D340DA95FE3}"/>
                  </a:ext>
                </a:extLst>
              </p:cNvPr>
              <p:cNvCxnSpPr>
                <a:cxnSpLocks/>
              </p:cNvCxnSpPr>
              <p:nvPr/>
            </p:nvCxnSpPr>
            <p:spPr>
              <a:xfrm>
                <a:off x="-2009608" y="5416176"/>
                <a:ext cx="576870" cy="0"/>
              </a:xfrm>
              <a:prstGeom prst="line">
                <a:avLst/>
              </a:prstGeom>
              <a:ln w="25400" cap="rnd">
                <a:solidFill>
                  <a:srgbClr val="5D36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120DE793-45CF-0170-2228-6586B6D64F31}"/>
                  </a:ext>
                </a:extLst>
              </p:cNvPr>
              <p:cNvCxnSpPr>
                <a:cxnSpLocks/>
              </p:cNvCxnSpPr>
              <p:nvPr/>
            </p:nvCxnSpPr>
            <p:spPr>
              <a:xfrm>
                <a:off x="-2009608" y="5531069"/>
                <a:ext cx="467609" cy="0"/>
              </a:xfrm>
              <a:prstGeom prst="line">
                <a:avLst/>
              </a:prstGeom>
              <a:ln w="9525" cap="rnd">
                <a:solidFill>
                  <a:srgbClr val="5D36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6" name="Rectangle: Rounded Corners 74">
                <a:extLst>
                  <a:ext uri="{FF2B5EF4-FFF2-40B4-BE49-F238E27FC236}">
                    <a16:creationId xmlns:a16="http://schemas.microsoft.com/office/drawing/2014/main" id="{E686D632-9C77-8D5C-2E6E-37432DD70ECE}"/>
                  </a:ext>
                </a:extLst>
              </p:cNvPr>
              <p:cNvSpPr/>
              <p:nvPr/>
            </p:nvSpPr>
            <p:spPr bwMode="auto">
              <a:xfrm>
                <a:off x="-1392466" y="4942518"/>
                <a:ext cx="564801" cy="103266"/>
              </a:xfrm>
              <a:prstGeom prst="roundRect">
                <a:avLst>
                  <a:gd name="adj" fmla="val 47982"/>
                </a:avLst>
              </a:prstGeom>
              <a:solidFill>
                <a:srgbClr val="89D1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pPr>
                <a:endParaRPr lang="en-US" sz="1999">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endParaRPr>
              </a:p>
            </p:txBody>
          </p:sp>
          <p:sp>
            <p:nvSpPr>
              <p:cNvPr id="297" name="Rectangle: Rounded Corners 75">
                <a:extLst>
                  <a:ext uri="{FF2B5EF4-FFF2-40B4-BE49-F238E27FC236}">
                    <a16:creationId xmlns:a16="http://schemas.microsoft.com/office/drawing/2014/main" id="{A85D4E1D-F735-BFE2-AC18-7CC614CAB4B7}"/>
                  </a:ext>
                </a:extLst>
              </p:cNvPr>
              <p:cNvSpPr/>
              <p:nvPr/>
            </p:nvSpPr>
            <p:spPr bwMode="auto">
              <a:xfrm>
                <a:off x="-1992628" y="4686054"/>
                <a:ext cx="433648" cy="433648"/>
              </a:xfrm>
              <a:prstGeom prst="roundRect">
                <a:avLst/>
              </a:prstGeom>
              <a:solidFill>
                <a:srgbClr val="00CEA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pPr>
                <a:endParaRPr lang="en-US" sz="1999">
                  <a:gradFill>
                    <a:gsLst>
                      <a:gs pos="0">
                        <a:schemeClr val="bg1"/>
                      </a:gs>
                      <a:gs pos="100000">
                        <a:schemeClr val="bg1"/>
                      </a:gs>
                    </a:gsLst>
                    <a:lin ang="5400000" scaled="1"/>
                  </a:gradFill>
                  <a:latin typeface="72 Brand" panose="020B0504030603020204" pitchFamily="34" charset="0"/>
                  <a:ea typeface="Segoe UI" pitchFamily="34" charset="0"/>
                  <a:cs typeface="72" panose="020B0503030000000003" pitchFamily="34" charset="0"/>
                </a:endParaRPr>
              </a:p>
            </p:txBody>
          </p:sp>
        </p:grpSp>
      </p:grpSp>
      <p:grpSp>
        <p:nvGrpSpPr>
          <p:cNvPr id="29" name="Group 28">
            <a:extLst>
              <a:ext uri="{FF2B5EF4-FFF2-40B4-BE49-F238E27FC236}">
                <a16:creationId xmlns:a16="http://schemas.microsoft.com/office/drawing/2014/main" id="{E9D5EC25-BD48-7F6E-E215-C69E64090A45}"/>
              </a:ext>
            </a:extLst>
          </p:cNvPr>
          <p:cNvGrpSpPr/>
          <p:nvPr/>
        </p:nvGrpSpPr>
        <p:grpSpPr>
          <a:xfrm>
            <a:off x="922964" y="1593883"/>
            <a:ext cx="1346033" cy="2210203"/>
            <a:chOff x="502951" y="1156780"/>
            <a:chExt cx="1346734" cy="2211354"/>
          </a:xfrm>
        </p:grpSpPr>
        <p:sp>
          <p:nvSpPr>
            <p:cNvPr id="20" name="Rectangle: Rounded Corners 3">
              <a:extLst>
                <a:ext uri="{FF2B5EF4-FFF2-40B4-BE49-F238E27FC236}">
                  <a16:creationId xmlns:a16="http://schemas.microsoft.com/office/drawing/2014/main" id="{EF45F841-1E7F-D994-EDA6-88D19E75B47D}"/>
                </a:ext>
              </a:extLst>
            </p:cNvPr>
            <p:cNvSpPr/>
            <p:nvPr/>
          </p:nvSpPr>
          <p:spPr bwMode="auto">
            <a:xfrm>
              <a:off x="502951" y="1156780"/>
              <a:ext cx="1346734" cy="2211354"/>
            </a:xfrm>
            <a:prstGeom prst="roundRect">
              <a:avLst>
                <a:gd name="adj" fmla="val 2446"/>
              </a:avLst>
            </a:prstGeom>
            <a:gradFill>
              <a:gsLst>
                <a:gs pos="100000">
                  <a:srgbClr val="A6E0FF">
                    <a:alpha val="50000"/>
                  </a:srgbClr>
                </a:gs>
                <a:gs pos="0">
                  <a:srgbClr val="D1EFFF">
                    <a:alpha val="50000"/>
                  </a:srgbClr>
                </a:gs>
              </a:gsLst>
              <a:lin ang="2700000" scaled="1"/>
            </a:gradFill>
            <a:ln w="12700">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71963" rIns="89953" bIns="89953" numCol="1" spcCol="0" rtlCol="0" fromWordArt="0" anchor="t" anchorCtr="0" forceAA="0" compatLnSpc="1">
              <a:prstTxWarp prst="textNoShape">
                <a:avLst/>
              </a:prstTxWarp>
              <a:noAutofit/>
            </a:bodyPr>
            <a:lstStyle/>
            <a:p>
              <a:pPr algn="ctr" defTabSz="932006" fontAlgn="base">
                <a:spcBef>
                  <a:spcPct val="0"/>
                </a:spcBef>
                <a:spcAft>
                  <a:spcPct val="0"/>
                </a:spcAft>
              </a:pPr>
              <a:r>
                <a:rPr lang="en-US" sz="1099">
                  <a:solidFill>
                    <a:srgbClr val="00144A"/>
                  </a:solidFill>
                  <a:latin typeface="+mj-lt"/>
                  <a:cs typeface="72" panose="020B0503030000000003" pitchFamily="34" charset="0"/>
                </a:rPr>
                <a:t>SAP managed</a:t>
              </a:r>
            </a:p>
          </p:txBody>
        </p:sp>
        <p:sp>
          <p:nvSpPr>
            <p:cNvPr id="8" name="Rectangle: Rounded Corners 7">
              <a:extLst>
                <a:ext uri="{FF2B5EF4-FFF2-40B4-BE49-F238E27FC236}">
                  <a16:creationId xmlns:a16="http://schemas.microsoft.com/office/drawing/2014/main" id="{1347A118-8E74-728E-02E6-588D5B3FEC7A}"/>
                </a:ext>
              </a:extLst>
            </p:cNvPr>
            <p:cNvSpPr/>
            <p:nvPr/>
          </p:nvSpPr>
          <p:spPr bwMode="gray">
            <a:xfrm>
              <a:off x="600318" y="1555549"/>
              <a:ext cx="1152000" cy="252000"/>
            </a:xfrm>
            <a:prstGeom prst="roundRect">
              <a:avLst>
                <a:gd name="adj" fmla="val 8412"/>
              </a:avLst>
            </a:prstGeom>
            <a:gradFill flip="none" rotWithShape="1">
              <a:gsLst>
                <a:gs pos="100000">
                  <a:srgbClr val="EBF8FF"/>
                </a:gs>
                <a:gs pos="0">
                  <a:schemeClr val="bg1"/>
                </a:gs>
              </a:gsLst>
              <a:lin ang="2700000" scaled="1"/>
              <a:tileRect/>
            </a:gradFill>
            <a:ln w="12700">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ctr" anchorCtr="0" forceAA="0" compatLnSpc="1">
              <a:prstTxWarp prst="textNoShape">
                <a:avLst/>
              </a:prstTxWarp>
              <a:noAutofit/>
            </a:bodyPr>
            <a:lstStyle/>
            <a:p>
              <a:pPr algn="ctr" defTabSz="932006" fontAlgn="base">
                <a:spcBef>
                  <a:spcPct val="0"/>
                </a:spcBef>
                <a:spcAft>
                  <a:spcPct val="0"/>
                </a:spcAft>
              </a:pPr>
              <a:r>
                <a:rPr lang="en-US" sz="900">
                  <a:solidFill>
                    <a:srgbClr val="002A86"/>
                  </a:solidFill>
                  <a:cs typeface="72" panose="020B0503030000000003" pitchFamily="34" charset="0"/>
                </a:rPr>
                <a:t>S/4HANA PCE</a:t>
              </a:r>
            </a:p>
          </p:txBody>
        </p:sp>
        <p:sp>
          <p:nvSpPr>
            <p:cNvPr id="9" name="Rectangle: Rounded Corners 8">
              <a:extLst>
                <a:ext uri="{FF2B5EF4-FFF2-40B4-BE49-F238E27FC236}">
                  <a16:creationId xmlns:a16="http://schemas.microsoft.com/office/drawing/2014/main" id="{650F8931-BAC0-C251-31D0-0A8DF42C650F}"/>
                </a:ext>
              </a:extLst>
            </p:cNvPr>
            <p:cNvSpPr/>
            <p:nvPr/>
          </p:nvSpPr>
          <p:spPr bwMode="gray">
            <a:xfrm>
              <a:off x="600318" y="1905922"/>
              <a:ext cx="1152000" cy="252000"/>
            </a:xfrm>
            <a:prstGeom prst="roundRect">
              <a:avLst>
                <a:gd name="adj" fmla="val 8412"/>
              </a:avLst>
            </a:prstGeom>
            <a:gradFill flip="none" rotWithShape="1">
              <a:gsLst>
                <a:gs pos="100000">
                  <a:srgbClr val="EBF8FF"/>
                </a:gs>
                <a:gs pos="0">
                  <a:schemeClr val="bg1"/>
                </a:gs>
              </a:gsLst>
              <a:lin ang="2700000" scaled="1"/>
              <a:tileRect/>
            </a:gradFill>
            <a:ln w="12700">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ctr" anchorCtr="0" forceAA="0" compatLnSpc="1">
              <a:prstTxWarp prst="textNoShape">
                <a:avLst/>
              </a:prstTxWarp>
              <a:noAutofit/>
            </a:bodyPr>
            <a:lstStyle/>
            <a:p>
              <a:pPr algn="ctr" defTabSz="932006" fontAlgn="base">
                <a:spcBef>
                  <a:spcPct val="0"/>
                </a:spcBef>
                <a:spcAft>
                  <a:spcPct val="0"/>
                </a:spcAft>
              </a:pPr>
              <a:r>
                <a:rPr lang="en-US" sz="900">
                  <a:solidFill>
                    <a:srgbClr val="002A86"/>
                  </a:solidFill>
                  <a:cs typeface="72" panose="020B0503030000000003" pitchFamily="34" charset="0"/>
                </a:rPr>
                <a:t>Success Factors</a:t>
              </a:r>
            </a:p>
          </p:txBody>
        </p:sp>
        <p:sp>
          <p:nvSpPr>
            <p:cNvPr id="12" name="Rectangle: Rounded Corners 11">
              <a:extLst>
                <a:ext uri="{FF2B5EF4-FFF2-40B4-BE49-F238E27FC236}">
                  <a16:creationId xmlns:a16="http://schemas.microsoft.com/office/drawing/2014/main" id="{A560B706-19EF-26D2-360D-DFAAE95E81E1}"/>
                </a:ext>
              </a:extLst>
            </p:cNvPr>
            <p:cNvSpPr/>
            <p:nvPr/>
          </p:nvSpPr>
          <p:spPr bwMode="gray">
            <a:xfrm>
              <a:off x="600318" y="2256295"/>
              <a:ext cx="1152000" cy="252000"/>
            </a:xfrm>
            <a:prstGeom prst="roundRect">
              <a:avLst>
                <a:gd name="adj" fmla="val 8412"/>
              </a:avLst>
            </a:prstGeom>
            <a:gradFill flip="none" rotWithShape="1">
              <a:gsLst>
                <a:gs pos="100000">
                  <a:srgbClr val="EBF8FF"/>
                </a:gs>
                <a:gs pos="0">
                  <a:schemeClr val="bg1"/>
                </a:gs>
              </a:gsLst>
              <a:lin ang="2700000" scaled="1"/>
              <a:tileRect/>
            </a:gradFill>
            <a:ln w="12700">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ctr" anchorCtr="0" forceAA="0" compatLnSpc="1">
              <a:prstTxWarp prst="textNoShape">
                <a:avLst/>
              </a:prstTxWarp>
              <a:noAutofit/>
            </a:bodyPr>
            <a:lstStyle/>
            <a:p>
              <a:pPr algn="ctr" defTabSz="932006" fontAlgn="base">
                <a:spcBef>
                  <a:spcPct val="0"/>
                </a:spcBef>
                <a:spcAft>
                  <a:spcPct val="0"/>
                </a:spcAft>
              </a:pPr>
              <a:r>
                <a:rPr lang="en-US" sz="900">
                  <a:solidFill>
                    <a:srgbClr val="002A86"/>
                  </a:solidFill>
                  <a:cs typeface="72" panose="020B0503030000000003" pitchFamily="34" charset="0"/>
                </a:rPr>
                <a:t>Ariba</a:t>
              </a:r>
            </a:p>
          </p:txBody>
        </p:sp>
        <p:sp>
          <p:nvSpPr>
            <p:cNvPr id="13" name="Rectangle: Rounded Corners 12">
              <a:extLst>
                <a:ext uri="{FF2B5EF4-FFF2-40B4-BE49-F238E27FC236}">
                  <a16:creationId xmlns:a16="http://schemas.microsoft.com/office/drawing/2014/main" id="{80EDB923-6374-5BA6-8C05-098B9AE0A212}"/>
                </a:ext>
              </a:extLst>
            </p:cNvPr>
            <p:cNvSpPr/>
            <p:nvPr/>
          </p:nvSpPr>
          <p:spPr bwMode="gray">
            <a:xfrm>
              <a:off x="600318" y="2606668"/>
              <a:ext cx="1152000" cy="252000"/>
            </a:xfrm>
            <a:prstGeom prst="roundRect">
              <a:avLst>
                <a:gd name="adj" fmla="val 8412"/>
              </a:avLst>
            </a:prstGeom>
            <a:gradFill flip="none" rotWithShape="1">
              <a:gsLst>
                <a:gs pos="100000">
                  <a:srgbClr val="EBF8FF"/>
                </a:gs>
                <a:gs pos="0">
                  <a:schemeClr val="bg1"/>
                </a:gs>
              </a:gsLst>
              <a:lin ang="2700000" scaled="1"/>
              <a:tileRect/>
            </a:gradFill>
            <a:ln w="12700">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ctr" anchorCtr="0" forceAA="0" compatLnSpc="1">
              <a:prstTxWarp prst="textNoShape">
                <a:avLst/>
              </a:prstTxWarp>
              <a:noAutofit/>
            </a:bodyPr>
            <a:lstStyle/>
            <a:p>
              <a:pPr algn="ctr" defTabSz="932006" fontAlgn="base">
                <a:spcBef>
                  <a:spcPct val="0"/>
                </a:spcBef>
                <a:spcAft>
                  <a:spcPct val="0"/>
                </a:spcAft>
              </a:pPr>
              <a:r>
                <a:rPr lang="en-US" sz="900">
                  <a:solidFill>
                    <a:srgbClr val="002A86"/>
                  </a:solidFill>
                  <a:cs typeface="72" panose="020B0503030000000003" pitchFamily="34" charset="0"/>
                </a:rPr>
                <a:t>Concur</a:t>
              </a:r>
            </a:p>
          </p:txBody>
        </p:sp>
        <p:sp>
          <p:nvSpPr>
            <p:cNvPr id="17" name="Rectangle: Rounded Corners 16">
              <a:extLst>
                <a:ext uri="{FF2B5EF4-FFF2-40B4-BE49-F238E27FC236}">
                  <a16:creationId xmlns:a16="http://schemas.microsoft.com/office/drawing/2014/main" id="{025D58F7-CF97-3AF8-8D95-B6461E6EB3F9}"/>
                </a:ext>
              </a:extLst>
            </p:cNvPr>
            <p:cNvSpPr/>
            <p:nvPr/>
          </p:nvSpPr>
          <p:spPr bwMode="gray">
            <a:xfrm>
              <a:off x="600318" y="2957040"/>
              <a:ext cx="1152000" cy="252000"/>
            </a:xfrm>
            <a:prstGeom prst="roundRect">
              <a:avLst>
                <a:gd name="adj" fmla="val 8412"/>
              </a:avLst>
            </a:prstGeom>
            <a:gradFill flip="none" rotWithShape="1">
              <a:gsLst>
                <a:gs pos="100000">
                  <a:srgbClr val="EBF8FF"/>
                </a:gs>
                <a:gs pos="0">
                  <a:schemeClr val="bg1"/>
                </a:gs>
              </a:gsLst>
              <a:lin ang="2700000" scaled="1"/>
              <a:tileRect/>
            </a:gradFill>
            <a:ln w="12700">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ctr" anchorCtr="0" forceAA="0" compatLnSpc="1">
              <a:prstTxWarp prst="textNoShape">
                <a:avLst/>
              </a:prstTxWarp>
              <a:noAutofit/>
            </a:bodyPr>
            <a:lstStyle/>
            <a:p>
              <a:pPr algn="ctr" defTabSz="932006" fontAlgn="base">
                <a:spcBef>
                  <a:spcPct val="0"/>
                </a:spcBef>
                <a:spcAft>
                  <a:spcPct val="0"/>
                </a:spcAft>
              </a:pPr>
              <a:r>
                <a:rPr lang="en-US" sz="900">
                  <a:solidFill>
                    <a:srgbClr val="002A86"/>
                  </a:solidFill>
                  <a:cs typeface="72" panose="020B0503030000000003" pitchFamily="34" charset="0"/>
                </a:rPr>
                <a:t>…</a:t>
              </a:r>
            </a:p>
          </p:txBody>
        </p:sp>
      </p:grpSp>
      <p:grpSp>
        <p:nvGrpSpPr>
          <p:cNvPr id="27" name="Group 26">
            <a:extLst>
              <a:ext uri="{FF2B5EF4-FFF2-40B4-BE49-F238E27FC236}">
                <a16:creationId xmlns:a16="http://schemas.microsoft.com/office/drawing/2014/main" id="{84D021CE-55C0-1080-DF87-FA50E655C933}"/>
              </a:ext>
            </a:extLst>
          </p:cNvPr>
          <p:cNvGrpSpPr/>
          <p:nvPr/>
        </p:nvGrpSpPr>
        <p:grpSpPr>
          <a:xfrm>
            <a:off x="920624" y="4202648"/>
            <a:ext cx="1346033" cy="1922827"/>
            <a:chOff x="502951" y="4065079"/>
            <a:chExt cx="1346734" cy="1923829"/>
          </a:xfrm>
        </p:grpSpPr>
        <p:sp>
          <p:nvSpPr>
            <p:cNvPr id="21" name="Rectangle: Rounded Corners 3">
              <a:extLst>
                <a:ext uri="{FF2B5EF4-FFF2-40B4-BE49-F238E27FC236}">
                  <a16:creationId xmlns:a16="http://schemas.microsoft.com/office/drawing/2014/main" id="{BA1D4B75-9F94-FF92-5803-AD9C09043B8D}"/>
                </a:ext>
              </a:extLst>
            </p:cNvPr>
            <p:cNvSpPr/>
            <p:nvPr/>
          </p:nvSpPr>
          <p:spPr bwMode="auto">
            <a:xfrm>
              <a:off x="502951" y="4065079"/>
              <a:ext cx="1346734" cy="1923829"/>
            </a:xfrm>
            <a:prstGeom prst="roundRect">
              <a:avLst>
                <a:gd name="adj" fmla="val 2446"/>
              </a:avLst>
            </a:prstGeom>
            <a:gradFill>
              <a:gsLst>
                <a:gs pos="100000">
                  <a:srgbClr val="0070F2"/>
                </a:gs>
                <a:gs pos="0">
                  <a:schemeClr val="bg2">
                    <a:lumMod val="40000"/>
                    <a:lumOff val="60000"/>
                  </a:schemeClr>
                </a:gs>
              </a:gsLst>
              <a:lin ang="2700000" scaled="1"/>
            </a:gra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71963" rIns="89953" bIns="89953" numCol="1" spcCol="0" rtlCol="0" fromWordArt="0" anchor="t" anchorCtr="0" forceAA="0" compatLnSpc="1">
              <a:prstTxWarp prst="textNoShape">
                <a:avLst/>
              </a:prstTxWarp>
              <a:noAutofit/>
            </a:bodyPr>
            <a:lstStyle/>
            <a:p>
              <a:pPr algn="ctr" defTabSz="932006" fontAlgn="base">
                <a:spcBef>
                  <a:spcPct val="0"/>
                </a:spcBef>
                <a:spcAft>
                  <a:spcPct val="0"/>
                </a:spcAft>
              </a:pPr>
              <a:r>
                <a:rPr lang="en-US" sz="1099">
                  <a:solidFill>
                    <a:srgbClr val="00144A"/>
                  </a:solidFill>
                  <a:latin typeface="+mj-lt"/>
                  <a:cs typeface="72" panose="020B0503030000000003" pitchFamily="34" charset="0"/>
                </a:rPr>
                <a:t>Custom managed</a:t>
              </a:r>
            </a:p>
          </p:txBody>
        </p:sp>
        <p:sp>
          <p:nvSpPr>
            <p:cNvPr id="15" name="Rectangle: Rounded Corners 14">
              <a:extLst>
                <a:ext uri="{FF2B5EF4-FFF2-40B4-BE49-F238E27FC236}">
                  <a16:creationId xmlns:a16="http://schemas.microsoft.com/office/drawing/2014/main" id="{6C3C8FCE-7255-ECC8-16BF-849ADE6E4B2C}"/>
                </a:ext>
              </a:extLst>
            </p:cNvPr>
            <p:cNvSpPr/>
            <p:nvPr/>
          </p:nvSpPr>
          <p:spPr bwMode="gray">
            <a:xfrm>
              <a:off x="600318" y="5575221"/>
              <a:ext cx="1152000" cy="252000"/>
            </a:xfrm>
            <a:prstGeom prst="roundRect">
              <a:avLst>
                <a:gd name="adj" fmla="val 8412"/>
              </a:avLst>
            </a:prstGeom>
            <a:gradFill flip="none" rotWithShape="1">
              <a:gsLst>
                <a:gs pos="100000">
                  <a:srgbClr val="EBF8FF"/>
                </a:gs>
                <a:gs pos="0">
                  <a:schemeClr val="bg1"/>
                </a:gs>
              </a:gsLst>
              <a:lin ang="2700000" scaled="1"/>
              <a:tileRect/>
            </a:gra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ctr" anchorCtr="0" forceAA="0" compatLnSpc="1">
              <a:prstTxWarp prst="textNoShape">
                <a:avLst/>
              </a:prstTxWarp>
              <a:noAutofit/>
            </a:bodyPr>
            <a:lstStyle/>
            <a:p>
              <a:pPr algn="ctr" defTabSz="932006" fontAlgn="base">
                <a:spcBef>
                  <a:spcPct val="0"/>
                </a:spcBef>
                <a:spcAft>
                  <a:spcPct val="0"/>
                </a:spcAft>
              </a:pPr>
              <a:r>
                <a:rPr lang="en-US" sz="900">
                  <a:solidFill>
                    <a:srgbClr val="002A86"/>
                  </a:solidFill>
                  <a:cs typeface="72" panose="020B0503030000000003" pitchFamily="34" charset="0"/>
                </a:rPr>
                <a:t>Third-party</a:t>
              </a:r>
            </a:p>
          </p:txBody>
        </p:sp>
        <p:sp>
          <p:nvSpPr>
            <p:cNvPr id="22" name="Rectangle: Rounded Corners 21">
              <a:extLst>
                <a:ext uri="{FF2B5EF4-FFF2-40B4-BE49-F238E27FC236}">
                  <a16:creationId xmlns:a16="http://schemas.microsoft.com/office/drawing/2014/main" id="{63A5C609-CB05-154A-7445-F464575D5818}"/>
                </a:ext>
              </a:extLst>
            </p:cNvPr>
            <p:cNvSpPr/>
            <p:nvPr/>
          </p:nvSpPr>
          <p:spPr bwMode="gray">
            <a:xfrm>
              <a:off x="600318" y="4464994"/>
              <a:ext cx="1152000" cy="252000"/>
            </a:xfrm>
            <a:prstGeom prst="roundRect">
              <a:avLst>
                <a:gd name="adj" fmla="val 8412"/>
              </a:avLst>
            </a:prstGeom>
            <a:gradFill flip="none" rotWithShape="1">
              <a:gsLst>
                <a:gs pos="100000">
                  <a:srgbClr val="EBF8FF"/>
                </a:gs>
                <a:gs pos="0">
                  <a:schemeClr val="bg1"/>
                </a:gs>
              </a:gsLst>
              <a:lin ang="2700000" scaled="1"/>
              <a:tileRect/>
            </a:gra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ctr" anchorCtr="0" forceAA="0" compatLnSpc="1">
              <a:prstTxWarp prst="textNoShape">
                <a:avLst/>
              </a:prstTxWarp>
              <a:noAutofit/>
            </a:bodyPr>
            <a:lstStyle/>
            <a:p>
              <a:pPr algn="ctr" defTabSz="932006" fontAlgn="base">
                <a:spcBef>
                  <a:spcPct val="0"/>
                </a:spcBef>
                <a:spcAft>
                  <a:spcPct val="0"/>
                </a:spcAft>
              </a:pPr>
              <a:r>
                <a:rPr lang="en-US" sz="900">
                  <a:solidFill>
                    <a:srgbClr val="002A86"/>
                  </a:solidFill>
                  <a:cs typeface="72" panose="020B0503030000000003" pitchFamily="34" charset="0"/>
                </a:rPr>
                <a:t>S/4HANA</a:t>
              </a:r>
            </a:p>
          </p:txBody>
        </p:sp>
        <p:sp>
          <p:nvSpPr>
            <p:cNvPr id="23" name="Rectangle: Rounded Corners 22">
              <a:extLst>
                <a:ext uri="{FF2B5EF4-FFF2-40B4-BE49-F238E27FC236}">
                  <a16:creationId xmlns:a16="http://schemas.microsoft.com/office/drawing/2014/main" id="{CA34DEFE-F7D4-3F7E-7F57-7CE4BA2AE579}"/>
                </a:ext>
              </a:extLst>
            </p:cNvPr>
            <p:cNvSpPr/>
            <p:nvPr/>
          </p:nvSpPr>
          <p:spPr bwMode="gray">
            <a:xfrm>
              <a:off x="600318" y="4835070"/>
              <a:ext cx="1152000" cy="252000"/>
            </a:xfrm>
            <a:prstGeom prst="roundRect">
              <a:avLst>
                <a:gd name="adj" fmla="val 8412"/>
              </a:avLst>
            </a:prstGeom>
            <a:gradFill flip="none" rotWithShape="1">
              <a:gsLst>
                <a:gs pos="100000">
                  <a:srgbClr val="EBF8FF"/>
                </a:gs>
                <a:gs pos="0">
                  <a:schemeClr val="bg1"/>
                </a:gs>
              </a:gsLst>
              <a:lin ang="2700000" scaled="1"/>
              <a:tileRect/>
            </a:gra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ctr" anchorCtr="0" forceAA="0" compatLnSpc="1">
              <a:prstTxWarp prst="textNoShape">
                <a:avLst/>
              </a:prstTxWarp>
              <a:noAutofit/>
            </a:bodyPr>
            <a:lstStyle/>
            <a:p>
              <a:pPr algn="ctr" defTabSz="932006" fontAlgn="base">
                <a:spcBef>
                  <a:spcPct val="0"/>
                </a:spcBef>
                <a:spcAft>
                  <a:spcPct val="0"/>
                </a:spcAft>
              </a:pPr>
              <a:r>
                <a:rPr lang="en-US" sz="900">
                  <a:solidFill>
                    <a:srgbClr val="002A86"/>
                  </a:solidFill>
                  <a:cs typeface="72" panose="020B0503030000000003" pitchFamily="34" charset="0"/>
                </a:rPr>
                <a:t>ECC</a:t>
              </a:r>
            </a:p>
          </p:txBody>
        </p:sp>
        <p:sp>
          <p:nvSpPr>
            <p:cNvPr id="25" name="Rectangle: Rounded Corners 24">
              <a:extLst>
                <a:ext uri="{FF2B5EF4-FFF2-40B4-BE49-F238E27FC236}">
                  <a16:creationId xmlns:a16="http://schemas.microsoft.com/office/drawing/2014/main" id="{C0770625-3B4F-02C5-BA1D-10D8DD923250}"/>
                </a:ext>
              </a:extLst>
            </p:cNvPr>
            <p:cNvSpPr/>
            <p:nvPr/>
          </p:nvSpPr>
          <p:spPr bwMode="gray">
            <a:xfrm>
              <a:off x="600318" y="5205146"/>
              <a:ext cx="1152000" cy="252000"/>
            </a:xfrm>
            <a:prstGeom prst="roundRect">
              <a:avLst>
                <a:gd name="adj" fmla="val 8412"/>
              </a:avLst>
            </a:prstGeom>
            <a:gradFill flip="none" rotWithShape="1">
              <a:gsLst>
                <a:gs pos="100000">
                  <a:srgbClr val="EBF8FF"/>
                </a:gs>
                <a:gs pos="0">
                  <a:schemeClr val="bg1"/>
                </a:gs>
              </a:gsLst>
              <a:lin ang="2700000" scaled="1"/>
              <a:tileRect/>
            </a:gra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ctr" anchorCtr="0" forceAA="0" compatLnSpc="1">
              <a:prstTxWarp prst="textNoShape">
                <a:avLst/>
              </a:prstTxWarp>
              <a:noAutofit/>
            </a:bodyPr>
            <a:lstStyle/>
            <a:p>
              <a:pPr algn="ctr" defTabSz="932006" fontAlgn="base">
                <a:spcBef>
                  <a:spcPct val="0"/>
                </a:spcBef>
                <a:spcAft>
                  <a:spcPct val="0"/>
                </a:spcAft>
              </a:pPr>
              <a:r>
                <a:rPr lang="en-US" sz="900">
                  <a:solidFill>
                    <a:srgbClr val="002A86"/>
                  </a:solidFill>
                  <a:cs typeface="72" panose="020B0503030000000003" pitchFamily="34" charset="0"/>
                </a:rPr>
                <a:t>BW[4]</a:t>
              </a:r>
            </a:p>
          </p:txBody>
        </p:sp>
      </p:grpSp>
      <p:sp>
        <p:nvSpPr>
          <p:cNvPr id="24" name="Rectangle: Rounded Corners 46">
            <a:extLst>
              <a:ext uri="{FF2B5EF4-FFF2-40B4-BE49-F238E27FC236}">
                <a16:creationId xmlns:a16="http://schemas.microsoft.com/office/drawing/2014/main" id="{99BA6554-7761-17EE-142E-EAB0B610197B}"/>
              </a:ext>
            </a:extLst>
          </p:cNvPr>
          <p:cNvSpPr/>
          <p:nvPr/>
        </p:nvSpPr>
        <p:spPr bwMode="gray">
          <a:xfrm>
            <a:off x="3415304" y="3634791"/>
            <a:ext cx="1152770" cy="387148"/>
          </a:xfrm>
          <a:prstGeom prst="roundRect">
            <a:avLst>
              <a:gd name="adj" fmla="val 50000"/>
            </a:avLst>
          </a:prstGeom>
          <a:gradFill flip="none" rotWithShape="1">
            <a:gsLst>
              <a:gs pos="100000">
                <a:srgbClr val="E2D8FF"/>
              </a:gs>
              <a:gs pos="0">
                <a:schemeClr val="bg1"/>
              </a:gs>
            </a:gsLst>
            <a:lin ang="2700000" scaled="1"/>
            <a:tileRect/>
          </a:gradFill>
          <a:ln w="12700">
            <a:solidFill>
              <a:srgbClr val="B894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ctr" anchorCtr="0" forceAA="0" compatLnSpc="1">
            <a:prstTxWarp prst="textNoShape">
              <a:avLst/>
            </a:prstTxWarp>
            <a:noAutofit/>
          </a:bodyPr>
          <a:lstStyle/>
          <a:p>
            <a:pPr algn="ctr" defTabSz="932006" fontAlgn="base">
              <a:spcBef>
                <a:spcPct val="0"/>
              </a:spcBef>
              <a:spcAft>
                <a:spcPct val="0"/>
              </a:spcAft>
            </a:pPr>
            <a:r>
              <a:rPr lang="en-US" sz="800">
                <a:solidFill>
                  <a:srgbClr val="1C0C6E"/>
                </a:solidFill>
                <a:latin typeface="72 Brand Book" panose="020B0404030603020204" pitchFamily="34" charset="0"/>
                <a:cs typeface="72" panose="020B0503030000000003" pitchFamily="34" charset="0"/>
              </a:rPr>
              <a:t>Data integration &amp; transformation</a:t>
            </a:r>
          </a:p>
        </p:txBody>
      </p:sp>
      <p:sp>
        <p:nvSpPr>
          <p:cNvPr id="47" name="Rectangle: Rounded Corners 46">
            <a:extLst>
              <a:ext uri="{FF2B5EF4-FFF2-40B4-BE49-F238E27FC236}">
                <a16:creationId xmlns:a16="http://schemas.microsoft.com/office/drawing/2014/main" id="{36098C6D-162E-34A5-2F8E-869076318012}"/>
              </a:ext>
            </a:extLst>
          </p:cNvPr>
          <p:cNvSpPr/>
          <p:nvPr/>
        </p:nvSpPr>
        <p:spPr bwMode="gray">
          <a:xfrm>
            <a:off x="7477089" y="3634791"/>
            <a:ext cx="1152770" cy="387148"/>
          </a:xfrm>
          <a:prstGeom prst="roundRect">
            <a:avLst>
              <a:gd name="adj" fmla="val 50000"/>
            </a:avLst>
          </a:prstGeom>
          <a:gradFill flip="none" rotWithShape="1">
            <a:gsLst>
              <a:gs pos="100000">
                <a:srgbClr val="E2D8FF"/>
              </a:gs>
              <a:gs pos="0">
                <a:schemeClr val="bg1"/>
              </a:gs>
            </a:gsLst>
            <a:lin ang="2700000" scaled="1"/>
            <a:tileRect/>
          </a:gradFill>
          <a:ln w="12700">
            <a:solidFill>
              <a:srgbClr val="B894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953" tIns="89953" rIns="89953" bIns="89953" numCol="1" spcCol="0" rtlCol="0" fromWordArt="0" anchor="ctr" anchorCtr="0" forceAA="0" compatLnSpc="1">
            <a:prstTxWarp prst="textNoShape">
              <a:avLst/>
            </a:prstTxWarp>
            <a:noAutofit/>
          </a:bodyPr>
          <a:lstStyle/>
          <a:p>
            <a:pPr algn="ctr" defTabSz="932006" fontAlgn="base">
              <a:spcBef>
                <a:spcPct val="0"/>
              </a:spcBef>
              <a:spcAft>
                <a:spcPct val="0"/>
              </a:spcAft>
            </a:pPr>
            <a:r>
              <a:rPr lang="en-US" sz="800">
                <a:solidFill>
                  <a:srgbClr val="1C0C6E"/>
                </a:solidFill>
                <a:latin typeface="72 Brand Book" panose="020B0404030603020204" pitchFamily="34" charset="0"/>
                <a:cs typeface="72" panose="020B0503030000000003" pitchFamily="34" charset="0"/>
              </a:rPr>
              <a:t>Zero copy </a:t>
            </a:r>
            <a:br>
              <a:rPr lang="en-US" sz="800">
                <a:solidFill>
                  <a:srgbClr val="1C0C6E"/>
                </a:solidFill>
                <a:latin typeface="72 Brand Book" panose="020B0404030603020204" pitchFamily="34" charset="0"/>
                <a:cs typeface="72" panose="020B0503030000000003" pitchFamily="34" charset="0"/>
              </a:rPr>
            </a:br>
            <a:r>
              <a:rPr lang="en-US" sz="800">
                <a:solidFill>
                  <a:srgbClr val="1C0C6E"/>
                </a:solidFill>
                <a:latin typeface="72 Brand Book" panose="020B0404030603020204" pitchFamily="34" charset="0"/>
                <a:cs typeface="72" panose="020B0503030000000003" pitchFamily="34" charset="0"/>
              </a:rPr>
              <a:t>delta share</a:t>
            </a:r>
          </a:p>
        </p:txBody>
      </p:sp>
      <p:sp>
        <p:nvSpPr>
          <p:cNvPr id="44" name="Rectangle: Rounded Corners 13">
            <a:extLst>
              <a:ext uri="{FF2B5EF4-FFF2-40B4-BE49-F238E27FC236}">
                <a16:creationId xmlns:a16="http://schemas.microsoft.com/office/drawing/2014/main" id="{C3FBBE7C-3DCE-785A-0135-99A882A6B960}"/>
              </a:ext>
            </a:extLst>
          </p:cNvPr>
          <p:cNvSpPr/>
          <p:nvPr/>
        </p:nvSpPr>
        <p:spPr bwMode="gray">
          <a:xfrm>
            <a:off x="9329797" y="2120976"/>
            <a:ext cx="700675" cy="703721"/>
          </a:xfrm>
          <a:prstGeom prst="roundRect">
            <a:avLst>
              <a:gd name="adj" fmla="val 8412"/>
            </a:avLst>
          </a:prstGeom>
          <a:gradFill flip="none" rotWithShape="1">
            <a:gsLst>
              <a:gs pos="100000">
                <a:srgbClr val="EBF8FF"/>
              </a:gs>
              <a:gs pos="0">
                <a:schemeClr val="bg1"/>
              </a:gs>
            </a:gsLst>
            <a:lin ang="2700000" scaled="1"/>
            <a:tileRect/>
          </a:gradFill>
          <a:ln w="12700">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ctr" anchorCtr="0" forceAA="0" compatLnSpc="1">
            <a:prstTxWarp prst="textNoShape">
              <a:avLst/>
            </a:prstTxWarp>
            <a:noAutofit/>
          </a:bodyPr>
          <a:lstStyle/>
          <a:p>
            <a:pPr algn="ctr" defTabSz="932006" fontAlgn="base">
              <a:spcBef>
                <a:spcPct val="0"/>
              </a:spcBef>
              <a:spcAft>
                <a:spcPct val="0"/>
              </a:spcAft>
            </a:pPr>
            <a:endParaRPr lang="en-US" sz="1199">
              <a:gradFill>
                <a:gsLst>
                  <a:gs pos="0">
                    <a:srgbClr val="002A86"/>
                  </a:gs>
                  <a:gs pos="100000">
                    <a:srgbClr val="002A86"/>
                  </a:gs>
                </a:gsLst>
                <a:lin ang="5400000" scaled="1"/>
              </a:gradFill>
              <a:latin typeface="+mj-lt"/>
              <a:cs typeface="72" panose="020B0503030000000003" pitchFamily="34" charset="0"/>
            </a:endParaRPr>
          </a:p>
        </p:txBody>
      </p:sp>
      <p:sp>
        <p:nvSpPr>
          <p:cNvPr id="45" name="TextBox 44">
            <a:extLst>
              <a:ext uri="{FF2B5EF4-FFF2-40B4-BE49-F238E27FC236}">
                <a16:creationId xmlns:a16="http://schemas.microsoft.com/office/drawing/2014/main" id="{A13F3F4B-EA3E-EBFA-F7E4-A2666511644C}"/>
              </a:ext>
            </a:extLst>
          </p:cNvPr>
          <p:cNvSpPr txBox="1"/>
          <p:nvPr/>
        </p:nvSpPr>
        <p:spPr>
          <a:xfrm>
            <a:off x="9249956" y="2951239"/>
            <a:ext cx="860365" cy="184570"/>
          </a:xfrm>
          <a:prstGeom prst="rect">
            <a:avLst/>
          </a:prstGeom>
          <a:noFill/>
        </p:spPr>
        <p:txBody>
          <a:bodyPr wrap="none" lIns="0" tIns="0" rIns="0" bIns="0" rtlCol="0" anchor="ctr">
            <a:spAutoFit/>
          </a:bodyPr>
          <a:lstStyle/>
          <a:p>
            <a:pPr algn="ctr" fontAlgn="base">
              <a:spcBef>
                <a:spcPct val="50000"/>
              </a:spcBef>
              <a:spcAft>
                <a:spcPct val="0"/>
              </a:spcAft>
              <a:buClr>
                <a:schemeClr val="tx1"/>
              </a:buClr>
              <a:buSzPct val="100000"/>
            </a:pPr>
            <a:r>
              <a:rPr lang="en-US" sz="1199" kern="0">
                <a:gradFill>
                  <a:gsLst>
                    <a:gs pos="0">
                      <a:srgbClr val="002A86"/>
                    </a:gs>
                    <a:gs pos="100000">
                      <a:srgbClr val="002A86"/>
                    </a:gs>
                  </a:gsLst>
                  <a:lin ang="5400000" scaled="1"/>
                </a:gradFill>
                <a:latin typeface="+mj-lt"/>
                <a:ea typeface="72 Brand" pitchFamily="34" charset="-128"/>
                <a:cs typeface="72 Brand" pitchFamily="34" charset="-128"/>
              </a:rPr>
              <a:t>Insight apps</a:t>
            </a:r>
          </a:p>
        </p:txBody>
      </p:sp>
      <p:sp>
        <p:nvSpPr>
          <p:cNvPr id="46" name="Rectangle: Rounded Corners 15">
            <a:extLst>
              <a:ext uri="{FF2B5EF4-FFF2-40B4-BE49-F238E27FC236}">
                <a16:creationId xmlns:a16="http://schemas.microsoft.com/office/drawing/2014/main" id="{2BE4FB04-2928-322E-4DA5-DF5E73843DBB}"/>
              </a:ext>
            </a:extLst>
          </p:cNvPr>
          <p:cNvSpPr/>
          <p:nvPr/>
        </p:nvSpPr>
        <p:spPr bwMode="gray">
          <a:xfrm>
            <a:off x="9329797" y="3482341"/>
            <a:ext cx="700675" cy="703721"/>
          </a:xfrm>
          <a:prstGeom prst="roundRect">
            <a:avLst>
              <a:gd name="adj" fmla="val 8412"/>
            </a:avLst>
          </a:prstGeom>
          <a:gradFill flip="none" rotWithShape="1">
            <a:gsLst>
              <a:gs pos="100000">
                <a:srgbClr val="EBF8FF"/>
              </a:gs>
              <a:gs pos="0">
                <a:schemeClr val="bg1"/>
              </a:gs>
            </a:gsLst>
            <a:lin ang="2700000" scaled="1"/>
            <a:tileRect/>
          </a:gradFill>
          <a:ln w="12700">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ctr" anchorCtr="0" forceAA="0" compatLnSpc="1">
            <a:prstTxWarp prst="textNoShape">
              <a:avLst/>
            </a:prstTxWarp>
            <a:noAutofit/>
          </a:bodyPr>
          <a:lstStyle/>
          <a:p>
            <a:pPr algn="ctr" defTabSz="932006" fontAlgn="base">
              <a:spcBef>
                <a:spcPct val="0"/>
              </a:spcBef>
              <a:spcAft>
                <a:spcPct val="0"/>
              </a:spcAft>
            </a:pPr>
            <a:endParaRPr lang="en-US" sz="1199">
              <a:gradFill>
                <a:gsLst>
                  <a:gs pos="0">
                    <a:srgbClr val="002A86"/>
                  </a:gs>
                  <a:gs pos="100000">
                    <a:srgbClr val="002A86"/>
                  </a:gs>
                </a:gsLst>
                <a:lin ang="5400000" scaled="1"/>
              </a:gradFill>
              <a:latin typeface="+mj-lt"/>
              <a:cs typeface="72" panose="020B0503030000000003" pitchFamily="34" charset="0"/>
            </a:endParaRPr>
          </a:p>
        </p:txBody>
      </p:sp>
      <p:sp>
        <p:nvSpPr>
          <p:cNvPr id="48" name="TextBox 47">
            <a:extLst>
              <a:ext uri="{FF2B5EF4-FFF2-40B4-BE49-F238E27FC236}">
                <a16:creationId xmlns:a16="http://schemas.microsoft.com/office/drawing/2014/main" id="{960AF36E-DD58-34B6-1292-F2FE56CD6758}"/>
              </a:ext>
            </a:extLst>
          </p:cNvPr>
          <p:cNvSpPr txBox="1"/>
          <p:nvPr/>
        </p:nvSpPr>
        <p:spPr>
          <a:xfrm>
            <a:off x="9469454" y="4312605"/>
            <a:ext cx="421370" cy="184570"/>
          </a:xfrm>
          <a:prstGeom prst="rect">
            <a:avLst/>
          </a:prstGeom>
          <a:noFill/>
        </p:spPr>
        <p:txBody>
          <a:bodyPr wrap="none" lIns="0" tIns="0" rIns="0" bIns="0" rtlCol="0" anchor="ctr">
            <a:spAutoFit/>
          </a:bodyPr>
          <a:lstStyle/>
          <a:p>
            <a:pPr algn="ctr" fontAlgn="base">
              <a:spcBef>
                <a:spcPct val="50000"/>
              </a:spcBef>
              <a:spcAft>
                <a:spcPct val="0"/>
              </a:spcAft>
              <a:buClr>
                <a:schemeClr val="tx1"/>
              </a:buClr>
              <a:buSzPct val="100000"/>
            </a:pPr>
            <a:r>
              <a:rPr lang="en-US" sz="1199" kern="0">
                <a:gradFill>
                  <a:gsLst>
                    <a:gs pos="0">
                      <a:srgbClr val="002A86"/>
                    </a:gs>
                    <a:gs pos="100000">
                      <a:srgbClr val="002A86"/>
                    </a:gs>
                  </a:gsLst>
                  <a:lin ang="5400000" scaled="1"/>
                </a:gradFill>
                <a:latin typeface="+mj-lt"/>
                <a:ea typeface="72 Brand" pitchFamily="34" charset="-128"/>
                <a:cs typeface="72 Brand" pitchFamily="34" charset="-128"/>
              </a:rPr>
              <a:t>AI/ML</a:t>
            </a:r>
          </a:p>
        </p:txBody>
      </p:sp>
      <p:sp>
        <p:nvSpPr>
          <p:cNvPr id="49" name="Rectangle: Rounded Corners 17">
            <a:extLst>
              <a:ext uri="{FF2B5EF4-FFF2-40B4-BE49-F238E27FC236}">
                <a16:creationId xmlns:a16="http://schemas.microsoft.com/office/drawing/2014/main" id="{3370C669-7601-496E-0FD7-70692041ADCE}"/>
              </a:ext>
            </a:extLst>
          </p:cNvPr>
          <p:cNvSpPr/>
          <p:nvPr/>
        </p:nvSpPr>
        <p:spPr bwMode="gray">
          <a:xfrm>
            <a:off x="9329797" y="4853227"/>
            <a:ext cx="700675" cy="703721"/>
          </a:xfrm>
          <a:prstGeom prst="roundRect">
            <a:avLst>
              <a:gd name="adj" fmla="val 8412"/>
            </a:avLst>
          </a:prstGeom>
          <a:gradFill flip="none" rotWithShape="1">
            <a:gsLst>
              <a:gs pos="100000">
                <a:srgbClr val="EBF8FF"/>
              </a:gs>
              <a:gs pos="0">
                <a:schemeClr val="bg1"/>
              </a:gs>
            </a:gsLst>
            <a:lin ang="2700000" scaled="1"/>
            <a:tileRect/>
          </a:gradFill>
          <a:ln w="12700">
            <a:solidFill>
              <a:srgbClr val="A6E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ctr" anchorCtr="0" forceAA="0" compatLnSpc="1">
            <a:prstTxWarp prst="textNoShape">
              <a:avLst/>
            </a:prstTxWarp>
            <a:noAutofit/>
          </a:bodyPr>
          <a:lstStyle/>
          <a:p>
            <a:pPr algn="ctr" defTabSz="932006" fontAlgn="base">
              <a:spcBef>
                <a:spcPct val="0"/>
              </a:spcBef>
              <a:spcAft>
                <a:spcPct val="0"/>
              </a:spcAft>
            </a:pPr>
            <a:endParaRPr lang="en-US" sz="1199">
              <a:gradFill>
                <a:gsLst>
                  <a:gs pos="0">
                    <a:srgbClr val="002A86"/>
                  </a:gs>
                  <a:gs pos="100000">
                    <a:srgbClr val="002A86"/>
                  </a:gs>
                </a:gsLst>
                <a:lin ang="5400000" scaled="1"/>
              </a:gradFill>
              <a:latin typeface="+mj-lt"/>
              <a:cs typeface="72" panose="020B0503030000000003" pitchFamily="34" charset="0"/>
            </a:endParaRPr>
          </a:p>
        </p:txBody>
      </p:sp>
      <p:sp>
        <p:nvSpPr>
          <p:cNvPr id="50" name="TextBox 49">
            <a:extLst>
              <a:ext uri="{FF2B5EF4-FFF2-40B4-BE49-F238E27FC236}">
                <a16:creationId xmlns:a16="http://schemas.microsoft.com/office/drawing/2014/main" id="{C16B1682-C8C1-34F6-3535-CFAB2ED5D76D}"/>
              </a:ext>
            </a:extLst>
          </p:cNvPr>
          <p:cNvSpPr txBox="1"/>
          <p:nvPr/>
        </p:nvSpPr>
        <p:spPr>
          <a:xfrm>
            <a:off x="9356501" y="5683490"/>
            <a:ext cx="647277" cy="184570"/>
          </a:xfrm>
          <a:prstGeom prst="rect">
            <a:avLst/>
          </a:prstGeom>
          <a:noFill/>
        </p:spPr>
        <p:txBody>
          <a:bodyPr wrap="none" lIns="0" tIns="0" rIns="0" bIns="0" rtlCol="0" anchor="ctr">
            <a:spAutoFit/>
          </a:bodyPr>
          <a:lstStyle/>
          <a:p>
            <a:pPr algn="ctr" fontAlgn="base">
              <a:spcBef>
                <a:spcPct val="50000"/>
              </a:spcBef>
              <a:spcAft>
                <a:spcPct val="0"/>
              </a:spcAft>
              <a:buClr>
                <a:schemeClr val="tx1"/>
              </a:buClr>
              <a:buSzPct val="100000"/>
            </a:pPr>
            <a:r>
              <a:rPr lang="en-US" sz="1199" kern="0">
                <a:gradFill>
                  <a:gsLst>
                    <a:gs pos="0">
                      <a:srgbClr val="002A86"/>
                    </a:gs>
                    <a:gs pos="100000">
                      <a:srgbClr val="002A86"/>
                    </a:gs>
                  </a:gsLst>
                  <a:lin ang="5400000" scaled="1"/>
                </a:gradFill>
                <a:latin typeface="+mj-lt"/>
                <a:ea typeface="72 Brand" pitchFamily="34" charset="-128"/>
                <a:cs typeface="72 Brand" pitchFamily="34" charset="-128"/>
              </a:rPr>
              <a:t>Analytics</a:t>
            </a:r>
          </a:p>
        </p:txBody>
      </p:sp>
      <p:sp>
        <p:nvSpPr>
          <p:cNvPr id="51" name="Rectangle: Rounded Corners 219">
            <a:extLst>
              <a:ext uri="{FF2B5EF4-FFF2-40B4-BE49-F238E27FC236}">
                <a16:creationId xmlns:a16="http://schemas.microsoft.com/office/drawing/2014/main" id="{C907EB39-D2EF-4643-584C-C820712184F2}"/>
              </a:ext>
            </a:extLst>
          </p:cNvPr>
          <p:cNvSpPr/>
          <p:nvPr/>
        </p:nvSpPr>
        <p:spPr bwMode="gray">
          <a:xfrm flipH="1">
            <a:off x="8988520" y="2464743"/>
            <a:ext cx="293044" cy="2776317"/>
          </a:xfrm>
          <a:custGeom>
            <a:avLst/>
            <a:gdLst>
              <a:gd name="connsiteX0" fmla="*/ 0 w 374577"/>
              <a:gd name="connsiteY0" fmla="*/ 133949 h 3976270"/>
              <a:gd name="connsiteX1" fmla="*/ 133949 w 374577"/>
              <a:gd name="connsiteY1" fmla="*/ 0 h 3976270"/>
              <a:gd name="connsiteX2" fmla="*/ 240628 w 374577"/>
              <a:gd name="connsiteY2" fmla="*/ 0 h 3976270"/>
              <a:gd name="connsiteX3" fmla="*/ 374577 w 374577"/>
              <a:gd name="connsiteY3" fmla="*/ 133949 h 3976270"/>
              <a:gd name="connsiteX4" fmla="*/ 374577 w 374577"/>
              <a:gd name="connsiteY4" fmla="*/ 3842321 h 3976270"/>
              <a:gd name="connsiteX5" fmla="*/ 240628 w 374577"/>
              <a:gd name="connsiteY5" fmla="*/ 3976270 h 3976270"/>
              <a:gd name="connsiteX6" fmla="*/ 133949 w 374577"/>
              <a:gd name="connsiteY6" fmla="*/ 3976270 h 3976270"/>
              <a:gd name="connsiteX7" fmla="*/ 0 w 374577"/>
              <a:gd name="connsiteY7" fmla="*/ 3842321 h 3976270"/>
              <a:gd name="connsiteX8" fmla="*/ 0 w 374577"/>
              <a:gd name="connsiteY8" fmla="*/ 133949 h 3976270"/>
              <a:gd name="connsiteX0" fmla="*/ 0 w 374577"/>
              <a:gd name="connsiteY0" fmla="*/ 133949 h 3976270"/>
              <a:gd name="connsiteX1" fmla="*/ 133949 w 374577"/>
              <a:gd name="connsiteY1" fmla="*/ 0 h 3976270"/>
              <a:gd name="connsiteX2" fmla="*/ 240628 w 374577"/>
              <a:gd name="connsiteY2" fmla="*/ 0 h 3976270"/>
              <a:gd name="connsiteX3" fmla="*/ 374577 w 374577"/>
              <a:gd name="connsiteY3" fmla="*/ 133949 h 3976270"/>
              <a:gd name="connsiteX4" fmla="*/ 374577 w 374577"/>
              <a:gd name="connsiteY4" fmla="*/ 3842321 h 3976270"/>
              <a:gd name="connsiteX5" fmla="*/ 240628 w 374577"/>
              <a:gd name="connsiteY5" fmla="*/ 3976270 h 3976270"/>
              <a:gd name="connsiteX6" fmla="*/ 133949 w 374577"/>
              <a:gd name="connsiteY6" fmla="*/ 3976270 h 3976270"/>
              <a:gd name="connsiteX7" fmla="*/ 0 w 374577"/>
              <a:gd name="connsiteY7" fmla="*/ 3842321 h 3976270"/>
              <a:gd name="connsiteX8" fmla="*/ 91440 w 374577"/>
              <a:gd name="connsiteY8" fmla="*/ 225389 h 3976270"/>
              <a:gd name="connsiteX0" fmla="*/ 0 w 374577"/>
              <a:gd name="connsiteY0" fmla="*/ 133949 h 3976270"/>
              <a:gd name="connsiteX1" fmla="*/ 133949 w 374577"/>
              <a:gd name="connsiteY1" fmla="*/ 0 h 3976270"/>
              <a:gd name="connsiteX2" fmla="*/ 240628 w 374577"/>
              <a:gd name="connsiteY2" fmla="*/ 0 h 3976270"/>
              <a:gd name="connsiteX3" fmla="*/ 374577 w 374577"/>
              <a:gd name="connsiteY3" fmla="*/ 133949 h 3976270"/>
              <a:gd name="connsiteX4" fmla="*/ 374577 w 374577"/>
              <a:gd name="connsiteY4" fmla="*/ 3842321 h 3976270"/>
              <a:gd name="connsiteX5" fmla="*/ 240628 w 374577"/>
              <a:gd name="connsiteY5" fmla="*/ 3976270 h 3976270"/>
              <a:gd name="connsiteX6" fmla="*/ 133949 w 374577"/>
              <a:gd name="connsiteY6" fmla="*/ 3976270 h 3976270"/>
              <a:gd name="connsiteX7" fmla="*/ 0 w 374577"/>
              <a:gd name="connsiteY7" fmla="*/ 3842321 h 3976270"/>
              <a:gd name="connsiteX0" fmla="*/ 133949 w 374577"/>
              <a:gd name="connsiteY0" fmla="*/ 0 h 3976270"/>
              <a:gd name="connsiteX1" fmla="*/ 240628 w 374577"/>
              <a:gd name="connsiteY1" fmla="*/ 0 h 3976270"/>
              <a:gd name="connsiteX2" fmla="*/ 374577 w 374577"/>
              <a:gd name="connsiteY2" fmla="*/ 133949 h 3976270"/>
              <a:gd name="connsiteX3" fmla="*/ 374577 w 374577"/>
              <a:gd name="connsiteY3" fmla="*/ 3842321 h 3976270"/>
              <a:gd name="connsiteX4" fmla="*/ 240628 w 374577"/>
              <a:gd name="connsiteY4" fmla="*/ 3976270 h 3976270"/>
              <a:gd name="connsiteX5" fmla="*/ 133949 w 374577"/>
              <a:gd name="connsiteY5" fmla="*/ 3976270 h 3976270"/>
              <a:gd name="connsiteX6" fmla="*/ 0 w 374577"/>
              <a:gd name="connsiteY6" fmla="*/ 3842321 h 3976270"/>
              <a:gd name="connsiteX0" fmla="*/ 0 w 240628"/>
              <a:gd name="connsiteY0" fmla="*/ 0 h 3976270"/>
              <a:gd name="connsiteX1" fmla="*/ 106679 w 240628"/>
              <a:gd name="connsiteY1" fmla="*/ 0 h 3976270"/>
              <a:gd name="connsiteX2" fmla="*/ 240628 w 240628"/>
              <a:gd name="connsiteY2" fmla="*/ 133949 h 3976270"/>
              <a:gd name="connsiteX3" fmla="*/ 240628 w 240628"/>
              <a:gd name="connsiteY3" fmla="*/ 3842321 h 3976270"/>
              <a:gd name="connsiteX4" fmla="*/ 106679 w 240628"/>
              <a:gd name="connsiteY4" fmla="*/ 3976270 h 3976270"/>
              <a:gd name="connsiteX5" fmla="*/ 0 w 240628"/>
              <a:gd name="connsiteY5" fmla="*/ 3976270 h 3976270"/>
              <a:gd name="connsiteX0" fmla="*/ 0 w 367446"/>
              <a:gd name="connsiteY0" fmla="*/ 0 h 3976270"/>
              <a:gd name="connsiteX1" fmla="*/ 233497 w 367446"/>
              <a:gd name="connsiteY1" fmla="*/ 0 h 3976270"/>
              <a:gd name="connsiteX2" fmla="*/ 367446 w 367446"/>
              <a:gd name="connsiteY2" fmla="*/ 133949 h 3976270"/>
              <a:gd name="connsiteX3" fmla="*/ 367446 w 367446"/>
              <a:gd name="connsiteY3" fmla="*/ 3842321 h 3976270"/>
              <a:gd name="connsiteX4" fmla="*/ 233497 w 367446"/>
              <a:gd name="connsiteY4" fmla="*/ 3976270 h 3976270"/>
              <a:gd name="connsiteX5" fmla="*/ 126818 w 367446"/>
              <a:gd name="connsiteY5" fmla="*/ 3976270 h 3976270"/>
              <a:gd name="connsiteX0" fmla="*/ 52583 w 420029"/>
              <a:gd name="connsiteY0" fmla="*/ 0 h 3979364"/>
              <a:gd name="connsiteX1" fmla="*/ 286080 w 420029"/>
              <a:gd name="connsiteY1" fmla="*/ 0 h 3979364"/>
              <a:gd name="connsiteX2" fmla="*/ 420029 w 420029"/>
              <a:gd name="connsiteY2" fmla="*/ 133949 h 3979364"/>
              <a:gd name="connsiteX3" fmla="*/ 420029 w 420029"/>
              <a:gd name="connsiteY3" fmla="*/ 3842321 h 3979364"/>
              <a:gd name="connsiteX4" fmla="*/ 286080 w 420029"/>
              <a:gd name="connsiteY4" fmla="*/ 3976270 h 3979364"/>
              <a:gd name="connsiteX5" fmla="*/ 0 w 420029"/>
              <a:gd name="connsiteY5" fmla="*/ 3979364 h 397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029" h="3979364">
                <a:moveTo>
                  <a:pt x="52583" y="0"/>
                </a:moveTo>
                <a:lnTo>
                  <a:pt x="286080" y="0"/>
                </a:lnTo>
                <a:cubicBezTo>
                  <a:pt x="360058" y="0"/>
                  <a:pt x="420029" y="59971"/>
                  <a:pt x="420029" y="133949"/>
                </a:cubicBezTo>
                <a:lnTo>
                  <a:pt x="420029" y="3842321"/>
                </a:lnTo>
                <a:cubicBezTo>
                  <a:pt x="420029" y="3916299"/>
                  <a:pt x="360058" y="3976270"/>
                  <a:pt x="286080" y="3976270"/>
                </a:cubicBezTo>
                <a:lnTo>
                  <a:pt x="0" y="3979364"/>
                </a:lnTo>
              </a:path>
            </a:pathLst>
          </a:custGeom>
          <a:noFill/>
          <a:ln>
            <a:gradFill>
              <a:gsLst>
                <a:gs pos="0">
                  <a:srgbClr val="4DB1FF"/>
                </a:gs>
                <a:gs pos="100000">
                  <a:srgbClr val="A6E0FF"/>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5" tIns="146228" rIns="182785" bIns="146228" numCol="1" spcCol="0" rtlCol="0" fromWordArt="0" anchor="t" anchorCtr="0" forceAA="0" compatLnSpc="1">
            <a:prstTxWarp prst="textNoShape">
              <a:avLst/>
            </a:prstTxWarp>
            <a:noAutofit/>
          </a:bodyPr>
          <a:lstStyle/>
          <a:p>
            <a:pPr defTabSz="932006" fontAlgn="base">
              <a:spcBef>
                <a:spcPct val="0"/>
              </a:spcBef>
              <a:spcAft>
                <a:spcPct val="0"/>
              </a:spcAft>
            </a:pPr>
            <a:endParaRPr lang="en-US" sz="1999">
              <a:gradFill>
                <a:gsLst>
                  <a:gs pos="0">
                    <a:schemeClr val="bg1"/>
                  </a:gs>
                  <a:gs pos="100000">
                    <a:schemeClr val="bg1"/>
                  </a:gs>
                </a:gsLst>
                <a:lin ang="5400000" scaled="1"/>
              </a:gradFill>
              <a:latin typeface="72 Brand" panose="020B0504030603020204" pitchFamily="34" charset="0"/>
              <a:cs typeface="72" panose="020B0503030000000003" pitchFamily="34" charset="0"/>
            </a:endParaRPr>
          </a:p>
        </p:txBody>
      </p:sp>
      <p:cxnSp>
        <p:nvCxnSpPr>
          <p:cNvPr id="52" name="Straight Connector 51">
            <a:extLst>
              <a:ext uri="{FF2B5EF4-FFF2-40B4-BE49-F238E27FC236}">
                <a16:creationId xmlns:a16="http://schemas.microsoft.com/office/drawing/2014/main" id="{97EACB2A-E3D6-94C2-B282-156B6121C74B}"/>
              </a:ext>
            </a:extLst>
          </p:cNvPr>
          <p:cNvCxnSpPr>
            <a:cxnSpLocks/>
          </p:cNvCxnSpPr>
          <p:nvPr/>
        </p:nvCxnSpPr>
        <p:spPr>
          <a:xfrm>
            <a:off x="8839161" y="3852899"/>
            <a:ext cx="353548" cy="0"/>
          </a:xfrm>
          <a:prstGeom prst="line">
            <a:avLst/>
          </a:prstGeom>
          <a:noFill/>
          <a:ln>
            <a:gradFill>
              <a:gsLst>
                <a:gs pos="0">
                  <a:srgbClr val="4DB1FF"/>
                </a:gs>
                <a:gs pos="100000">
                  <a:srgbClr val="A6E0FF"/>
                </a:gs>
              </a:gsLst>
              <a:lin ang="5400000" scaled="1"/>
            </a:gra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53" name="Graphic 52">
            <a:extLst>
              <a:ext uri="{FF2B5EF4-FFF2-40B4-BE49-F238E27FC236}">
                <a16:creationId xmlns:a16="http://schemas.microsoft.com/office/drawing/2014/main" id="{4D43D6A3-2B21-7757-BD25-233E107B67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532128" y="5057082"/>
            <a:ext cx="296016" cy="296014"/>
          </a:xfrm>
          <a:prstGeom prst="rect">
            <a:avLst/>
          </a:prstGeom>
        </p:spPr>
      </p:pic>
      <p:pic>
        <p:nvPicPr>
          <p:cNvPr id="54" name="Graphic 53">
            <a:extLst>
              <a:ext uri="{FF2B5EF4-FFF2-40B4-BE49-F238E27FC236}">
                <a16:creationId xmlns:a16="http://schemas.microsoft.com/office/drawing/2014/main" id="{9F07DD0C-4E4E-5BEC-4AB5-7E9CF4FEE1C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36888" y="3690955"/>
            <a:ext cx="286493" cy="286493"/>
          </a:xfrm>
          <a:prstGeom prst="rect">
            <a:avLst/>
          </a:prstGeom>
        </p:spPr>
      </p:pic>
      <p:pic>
        <p:nvPicPr>
          <p:cNvPr id="55" name="Graphic 54">
            <a:extLst>
              <a:ext uri="{FF2B5EF4-FFF2-40B4-BE49-F238E27FC236}">
                <a16:creationId xmlns:a16="http://schemas.microsoft.com/office/drawing/2014/main" id="{E5D660DE-1393-E466-F48C-6FCB97F736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542096" y="2334798"/>
            <a:ext cx="276081" cy="276081"/>
          </a:xfrm>
          <a:prstGeom prst="rect">
            <a:avLst/>
          </a:prstGeom>
        </p:spPr>
      </p:pic>
      <p:sp>
        <p:nvSpPr>
          <p:cNvPr id="2" name="Oval 1">
            <a:extLst>
              <a:ext uri="{FF2B5EF4-FFF2-40B4-BE49-F238E27FC236}">
                <a16:creationId xmlns:a16="http://schemas.microsoft.com/office/drawing/2014/main" id="{897527A4-F390-F837-B92C-ADE25DCD7446}"/>
              </a:ext>
              <a:ext uri="{C183D7F6-B498-43B3-948B-1728B52AA6E4}">
                <adec:decorative xmlns:adec="http://schemas.microsoft.com/office/drawing/2017/decorative" val="1"/>
              </a:ext>
            </a:extLst>
          </p:cNvPr>
          <p:cNvSpPr/>
          <p:nvPr/>
        </p:nvSpPr>
        <p:spPr bwMode="gray">
          <a:xfrm>
            <a:off x="10807846" y="550199"/>
            <a:ext cx="740337" cy="740336"/>
          </a:xfrm>
          <a:prstGeom prst="ellipse">
            <a:avLst/>
          </a:prstGeom>
          <a:noFill/>
          <a:ln w="12700" algn="ctr">
            <a:gradFill>
              <a:gsLst>
                <a:gs pos="0">
                  <a:srgbClr val="89D1FF"/>
                </a:gs>
                <a:gs pos="100000">
                  <a:srgbClr val="1B90FF"/>
                </a:gs>
              </a:gsLst>
              <a:lin ang="5400000" scaled="1"/>
            </a:grad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
        <p:nvSpPr>
          <p:cNvPr id="4" name="Rectangle: Rounded Corners 1922">
            <a:extLst>
              <a:ext uri="{FF2B5EF4-FFF2-40B4-BE49-F238E27FC236}">
                <a16:creationId xmlns:a16="http://schemas.microsoft.com/office/drawing/2014/main" id="{C3811965-772C-984C-F916-C436498B9DBF}"/>
              </a:ext>
            </a:extLst>
          </p:cNvPr>
          <p:cNvSpPr/>
          <p:nvPr/>
        </p:nvSpPr>
        <p:spPr bwMode="gray">
          <a:xfrm>
            <a:off x="10666040" y="501842"/>
            <a:ext cx="1023949" cy="234614"/>
          </a:xfrm>
          <a:prstGeom prst="roundRect">
            <a:avLst>
              <a:gd name="adj" fmla="val 14916"/>
            </a:avLst>
          </a:prstGeom>
          <a:solidFill>
            <a:srgbClr val="7858FF"/>
          </a:solidFill>
          <a:ln w="15238" cap="flat">
            <a:noFill/>
            <a:prstDash val="solid"/>
            <a:miter/>
          </a:ln>
        </p:spPr>
        <p:txBody>
          <a:bodyPr rtlCol="0" anchor="ctr"/>
          <a:lstStyle/>
          <a:p>
            <a:pPr algn="ctr" defTabSz="1088122"/>
            <a:r>
              <a:rPr lang="en-US" sz="1100">
                <a:gradFill>
                  <a:gsLst>
                    <a:gs pos="0">
                      <a:schemeClr val="bg1"/>
                    </a:gs>
                    <a:gs pos="100000">
                      <a:schemeClr val="bg1"/>
                    </a:gs>
                  </a:gsLst>
                  <a:lin ang="0" scaled="0"/>
                </a:gradFill>
                <a:latin typeface="+mj-lt"/>
              </a:rPr>
              <a:t>AI</a:t>
            </a:r>
          </a:p>
        </p:txBody>
      </p:sp>
      <p:sp>
        <p:nvSpPr>
          <p:cNvPr id="5" name="Rectangle: Rounded Corners 1926">
            <a:extLst>
              <a:ext uri="{FF2B5EF4-FFF2-40B4-BE49-F238E27FC236}">
                <a16:creationId xmlns:a16="http://schemas.microsoft.com/office/drawing/2014/main" id="{C5E6276B-BDF6-C50C-4179-7CBC1F341C72}"/>
              </a:ext>
            </a:extLst>
          </p:cNvPr>
          <p:cNvSpPr/>
          <p:nvPr/>
        </p:nvSpPr>
        <p:spPr bwMode="gray">
          <a:xfrm>
            <a:off x="10666040" y="1104278"/>
            <a:ext cx="1023949" cy="234614"/>
          </a:xfrm>
          <a:prstGeom prst="roundRect">
            <a:avLst>
              <a:gd name="adj" fmla="val 16401"/>
            </a:avLst>
          </a:prstGeom>
          <a:gradFill flip="none" rotWithShape="1">
            <a:gsLst>
              <a:gs pos="0">
                <a:srgbClr val="A6E0FF"/>
              </a:gs>
              <a:gs pos="100000">
                <a:srgbClr val="89D1FF"/>
              </a:gs>
            </a:gsLst>
            <a:lin ang="2700000" scaled="1"/>
            <a:tileRect/>
          </a:gradFill>
          <a:ln w="15238" cap="flat">
            <a:noFill/>
            <a:prstDash val="solid"/>
            <a:miter/>
          </a:ln>
        </p:spPr>
        <p:txBody>
          <a:bodyPr lIns="91440" tIns="91440" rIns="91440" bIns="91440" rtlCol="0" anchor="ctr"/>
          <a:lstStyle/>
          <a:p>
            <a:pPr algn="ctr" defTabSz="913943" fontAlgn="base">
              <a:spcAft>
                <a:spcPts val="600"/>
              </a:spcAft>
              <a:buClr>
                <a:srgbClr val="F0AB00"/>
              </a:buClr>
              <a:buSzPct val="80000"/>
            </a:pPr>
            <a:r>
              <a:rPr lang="en-US" sz="1100" kern="0">
                <a:latin typeface="+mj-lt"/>
              </a:rPr>
              <a:t>Applications</a:t>
            </a:r>
          </a:p>
        </p:txBody>
      </p:sp>
      <p:sp>
        <p:nvSpPr>
          <p:cNvPr id="6" name="Rectangle 1925">
            <a:extLst>
              <a:ext uri="{FF2B5EF4-FFF2-40B4-BE49-F238E27FC236}">
                <a16:creationId xmlns:a16="http://schemas.microsoft.com/office/drawing/2014/main" id="{4894DC53-69C5-0EE0-8DE7-A0B1F6D170FC}"/>
              </a:ext>
              <a:ext uri="{C183D7F6-B498-43B3-948B-1728B52AA6E4}">
                <adec:decorative xmlns:adec="http://schemas.microsoft.com/office/drawing/2017/decorative" val="1"/>
              </a:ext>
            </a:extLst>
          </p:cNvPr>
          <p:cNvSpPr/>
          <p:nvPr/>
        </p:nvSpPr>
        <p:spPr bwMode="gray">
          <a:xfrm>
            <a:off x="10628148" y="444958"/>
            <a:ext cx="1055852" cy="316934"/>
          </a:xfrm>
          <a:prstGeom prst="rect">
            <a:avLst/>
          </a:prstGeom>
          <a:solidFill>
            <a:schemeClr val="bg1">
              <a:alpha val="80000"/>
            </a:schemeClr>
          </a:solidFill>
          <a:ln w="25400" algn="ctr">
            <a:no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
        <p:nvSpPr>
          <p:cNvPr id="10" name="Rectangle: Rounded Corners 1924">
            <a:extLst>
              <a:ext uri="{FF2B5EF4-FFF2-40B4-BE49-F238E27FC236}">
                <a16:creationId xmlns:a16="http://schemas.microsoft.com/office/drawing/2014/main" id="{2A0C65DA-FD11-A095-8DC9-374F928182D5}"/>
              </a:ext>
            </a:extLst>
          </p:cNvPr>
          <p:cNvSpPr/>
          <p:nvPr/>
        </p:nvSpPr>
        <p:spPr bwMode="gray">
          <a:xfrm>
            <a:off x="10666040" y="803060"/>
            <a:ext cx="1023949" cy="234614"/>
          </a:xfrm>
          <a:prstGeom prst="roundRect">
            <a:avLst>
              <a:gd name="adj" fmla="val 17081"/>
            </a:avLst>
          </a:prstGeom>
          <a:solidFill>
            <a:srgbClr val="0070F2"/>
          </a:solidFill>
          <a:ln w="15238" cap="flat">
            <a:noFill/>
            <a:prstDash val="solid"/>
            <a:miter/>
          </a:ln>
        </p:spPr>
        <p:txBody>
          <a:bodyPr rtlCol="0" anchor="ctr"/>
          <a:lstStyle/>
          <a:p>
            <a:pPr algn="ctr" defTabSz="1088122"/>
            <a:r>
              <a:rPr lang="en-US" sz="1100">
                <a:gradFill>
                  <a:gsLst>
                    <a:gs pos="0">
                      <a:schemeClr val="bg1"/>
                    </a:gs>
                    <a:gs pos="100000">
                      <a:schemeClr val="bg1"/>
                    </a:gs>
                  </a:gsLst>
                  <a:lin ang="0" scaled="0"/>
                </a:gradFill>
                <a:latin typeface="+mj-lt"/>
              </a:rPr>
              <a:t>Data</a:t>
            </a:r>
          </a:p>
        </p:txBody>
      </p:sp>
      <p:sp>
        <p:nvSpPr>
          <p:cNvPr id="11" name="Rectangle 4">
            <a:extLst>
              <a:ext uri="{FF2B5EF4-FFF2-40B4-BE49-F238E27FC236}">
                <a16:creationId xmlns:a16="http://schemas.microsoft.com/office/drawing/2014/main" id="{89FE87C2-EB91-0814-A4B9-110BD9CE3A5A}"/>
              </a:ext>
              <a:ext uri="{C183D7F6-B498-43B3-948B-1728B52AA6E4}">
                <adec:decorative xmlns:adec="http://schemas.microsoft.com/office/drawing/2017/decorative" val="1"/>
              </a:ext>
            </a:extLst>
          </p:cNvPr>
          <p:cNvSpPr/>
          <p:nvPr/>
        </p:nvSpPr>
        <p:spPr bwMode="gray">
          <a:xfrm>
            <a:off x="10659690" y="1040631"/>
            <a:ext cx="1038552" cy="308564"/>
          </a:xfrm>
          <a:prstGeom prst="rect">
            <a:avLst/>
          </a:prstGeom>
          <a:solidFill>
            <a:schemeClr val="bg1">
              <a:alpha val="80000"/>
            </a:schemeClr>
          </a:solidFill>
          <a:ln w="25400" algn="ctr">
            <a:noFill/>
            <a:miter lim="800000"/>
            <a:headEnd/>
            <a:tailEnd/>
          </a:ln>
        </p:spPr>
        <p:txBody>
          <a:bodyPr lIns="182880" tIns="146304" rIns="182880" bIns="146304" rtlCol="0" anchor="t"/>
          <a:lstStyle/>
          <a:p>
            <a:pPr marR="0" algn="l"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a:ln>
                <a:noFill/>
              </a:ln>
              <a:effectLst/>
              <a:uLnTx/>
              <a:uFillTx/>
              <a:latin typeface="+mn-lt"/>
              <a:ea typeface="72 Brand" pitchFamily="34" charset="-128"/>
              <a:cs typeface="72 Brand" pitchFamily="34" charset="-128"/>
            </a:endParaRPr>
          </a:p>
        </p:txBody>
      </p:sp>
    </p:spTree>
    <p:extLst>
      <p:ext uri="{BB962C8B-B14F-4D97-AF65-F5344CB8AC3E}">
        <p14:creationId xmlns:p14="http://schemas.microsoft.com/office/powerpoint/2010/main" val="17626376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TOC TOCShowsSubsections Dividers SectionNumber SlideNumber"/>
  <p:tag name="EE4P_STYLE_ID" val="53dc91cf-1586-4672-bb41-d777e4467b45"/>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heme/theme1.xml><?xml version="1.0" encoding="utf-8"?>
<a:theme xmlns:a="http://schemas.openxmlformats.org/drawingml/2006/main" name="16_SAP Template 2024">
  <a:themeElements>
    <a:clrScheme name="Custom 1">
      <a:dk1>
        <a:srgbClr val="000000"/>
      </a:dk1>
      <a:lt1>
        <a:srgbClr val="FFFFFF"/>
      </a:lt1>
      <a:dk2>
        <a:srgbClr val="475E75"/>
      </a:dk2>
      <a:lt2>
        <a:srgbClr val="EAECEE"/>
      </a:lt2>
      <a:accent1>
        <a:srgbClr val="0070F2"/>
      </a:accent1>
      <a:accent2>
        <a:srgbClr val="07838F"/>
      </a:accent2>
      <a:accent3>
        <a:srgbClr val="188918"/>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25400" algn="ctr">
          <a:noFill/>
          <a:miter lim="800000"/>
          <a:headEnd/>
          <a:tailEnd/>
        </a:ln>
      </a:spPr>
      <a:bodyPr lIns="182880" tIns="146304" rIns="182880" bIns="146304" rtlCol="0" anchor="t"/>
      <a:lstStyle>
        <a:defPPr marR="0" algn="l" defTabSz="914400" eaLnBrk="1" fontAlgn="base" latinLnBrk="0" hangingPunct="1">
          <a:lnSpc>
            <a:spcPct val="100000"/>
          </a:lnSpc>
          <a:spcBef>
            <a:spcPct val="50000"/>
          </a:spcBef>
          <a:spcAft>
            <a:spcPct val="0"/>
          </a:spcAft>
          <a:buClr>
            <a:srgbClr val="F0AB00"/>
          </a:buClr>
          <a:buSzPct val="80000"/>
          <a:tabLst/>
          <a:defRPr kumimoji="0" sz="1200" b="0" i="0" u="none" strike="noStrike" kern="0" cap="none" spc="0" normalizeH="0" baseline="0" noProof="0" dirty="0">
            <a:ln>
              <a:noFill/>
            </a:ln>
            <a:effectLst/>
            <a:uLnTx/>
            <a:uFillTx/>
            <a:latin typeface="+mn-lt"/>
            <a:ea typeface="72 Brand" pitchFamily="34" charset="-128"/>
            <a:cs typeface="72 Brand" pitchFamily="34" charset="-128"/>
          </a:defRPr>
        </a:defPPr>
      </a:lst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chemeClr val="tx1"/>
          </a:buClr>
          <a:buSzPct val="100000"/>
          <a:defRPr sz="1800" kern="0" dirty="0" smtClean="0">
            <a:gradFill>
              <a:gsLst>
                <a:gs pos="0">
                  <a:schemeClr val="tx1"/>
                </a:gs>
                <a:gs pos="100000">
                  <a:schemeClr val="tx1"/>
                </a:gs>
              </a:gsLst>
              <a:lin ang="5400000" scaled="1"/>
            </a:gradFill>
            <a:latin typeface="72 Brand" panose="020B0504030603020204" pitchFamily="34" charset="0"/>
            <a:ea typeface="72 Brand" pitchFamily="34" charset="-128"/>
            <a:cs typeface="72 Brand"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 id="{32301934-1F47-4673-8AA2-5547A30C3C81}" vid="{38BE2240-BC57-4CDF-A9EF-510593098AD1}"/>
    </a:ext>
  </a:extLst>
</a:theme>
</file>

<file path=ppt/theme/theme2.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D0FCFAFA-D3D3-1441-8101-DA629D03A5D9}">
  <we:reference id="b0692d11-e342-a550-cfba-e8c57e47b8f1" version="1.0.0.8"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E65AE667-A5F5-0F47-8627-5174A8B7EA47}">
  <we:reference id="b8d7a30b-109c-4c41-a1df-a6cb639730b5" version="2.0.0.5"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TemplafyTemplateConfiguration><![CDATA[{"elementsMetadata":[{"type":"shape","id":"76c4043b-c5f8-4125-a6b1-5f0cab3b6918","elementConfiguration":{"binding":"{{ DataSources.Classification[Form.Classification.Name].Display}}","type":"text","disableUpdates":false}},{"type":"shape","id":"a3b14d52-b1f5-4140-a8b2-9119c1b5b59f","elementConfiguration":{"inheritDimensions":"{{InheritDimensions.InheritNone}}","width":"","height":"1 cm","image":"{{Form.SAPLogo.SubbrandBlue}}","visibility":"","type":"image","disableUpdates":false}},{"type":"shape","id":"1aeadf82-69e5-4de9-9020-48a2e373f90a","elementConfiguration":{"binding":"{{Form.Classification.Display}}","visibility":"","type":"text","disableUpdates":false}},{"type":"shape","id":"2778584a-fee8-42fe-bb6e-c6555204019b","elementConfiguration":{"binding":"{{Form.Classification.Display}}","visibility":"","type":"text","disableUpdates":false}},{"type":"shape","id":"9d7ca791-fd85-4c4a-b91c-29c0b5d31407","elementConfiguration":{"inheritDimensions":"{{InheritDimensions.InheritNone}}","width":"","height":"1 cm","image":"{{Form.SAPLogo.SubbrandBlack}}","visibility":"","type":"image","disableUpdates":false}},{"type":"shape","id":"f57bba0f-5138-44f4-a8ff-8727c01e33f4","elementConfiguration":{"inheritDimensions":"{{InheritDimensions.InheritNone}}","width":"","height":"1 cm","image":"{{Form.SAPLogo.SubbrandWhite}}","visibility":"","type":"image","disableUpdates":false}},{"type":"shape","id":"f9c895f0-ec9d-4083-974f-72200176dd70","elementConfiguration":{"binding":"{{Form.Classification.Display}}","visibility":"","type":"text","disableUpdates":false}},{"type":"shape","id":"d633b289-05fa-415e-b880-07ec20204d0c","elementConfiguration":{"inheritDimensions":"{{InheritDimensions.InheritNone}}","width":"","height":"1 cm","image":"{{Form.SAPLogo.SubbrandBlue}}","visibility":"","type":"image","disableUpdates":false}},{"type":"shape","id":"3291029b-1612-4723-9ba0-cc70ffa8b321","elementConfiguration":{"binding":"{{Form.Classification.Display}}","visibility":"","type":"text","disableUpdates":false}},{"type":"shape","id":"82623553-f402-4efc-904c-2ec7243f7478","elementConfiguration":{"inheritDimensions":"{{InheritDimensions.InheritNone}}","width":"","height":"1 cm","image":"{{Form.SAPLogo.SubbrandBlue}}","visibility":"","type":"image","disableUpdates":false}},{"type":"shape","id":"f4c4571f-e3d6-4268-9287-4d23fe5c2b6a","elementConfiguration":{"binding":"{{Form.Classification.Display}}","visibility":"","type":"text","disableUpdates":false}},{"type":"shape","id":"e198b4a1-e1d2-495b-b028-39f8c6c670d3","elementConfiguration":{"inheritDimensions":"{{InheritDimensions.InheritNone}}","width":"","height":"1 cm","image":"{{Form.SAPLogo.SubbrandBlue}}","visibility":"","type":"image","disableUpdates":false}},{"type":"shape","id":"c2220925-b3fc-4447-988e-db902ba7b88d","elementConfiguration":{"binding":"{{Form.Classification.Display}}","visibility":"","type":"text","disableUpdates":false}},{"type":"shape","id":"a41d2c7d-c0ce-4233-8c54-ab19a333bd8e","elementConfiguration":{"inheritDimensions":"{{InheritDimensions.InheritNone}}","width":"","height":"1 cm","image":"{{Form.SAPLogo.SubbrandWhite}}","visibility":"","type":"image","disableUpdates":false}},{"type":"shape","id":"d4edbc1a-515f-42d4-a376-a66e00159224","elementConfiguration":{"binding":"{{Form.Classification.Display}}","visibility":"","type":"text","disableUpdates":false}},{"type":"shape","id":"625b2fcf-bfd1-43cd-96e0-6ad3bf030b4c","elementConfiguration":{"binding":"{{DataSources.PPTCopyRight[\"Slide 5 copyright\"].CopyrightMessage}}","visibility":"","type":"text","disableUpdates":false}},{"type":"shape","id":"f37fd1c5-1a9b-47b2-a321-c4cd586b56da","elementConfiguration":{"inheritDimensions":"{{InheritDimensions.InheritNone}}","width":"","height":"1 cm","image":"{{Form.SAPLogo.SubbrandBlack}}","visibility":"","type":"image","disableUpdates":false}},{"type":"shape","id":"c293c1ea-d392-49a3-9214-e5fbc159db28","elementConfiguration":{"binding":"{{Form.Classification.Display}}","visibility":"","type":"text","disableUpdates":false}},{"type":"shape","id":"f174db79-4257-4968-97f9-d366da2117b8","elementConfiguration":{"inheritDimensions":"{{InheritDimensions.InheritNone}}","width":"","height":"1 cm","image":"{{Form.SAPLogo.SubbrandWhite}}","visibility":"","type":"image","disableUpdates":false}},{"type":"shape","id":"ccf4739a-cbc2-438f-90dc-fb65202d77ea","elementConfiguration":{"binding":"{{Form.Classification.Display}}","visibility":"","type":"text","disableUpdates":false}},{"type":"shape","id":"4ba16476-24c9-492b-9ce4-1d4e0b0389e4","elementConfiguration":{"inheritDimensions":"{{InheritDimensions.InheritNone}}","width":"","height":"1 cm","image":"{{Form.SAPLogo.SubbrandBlack}}","visibility":"","type":"image","disableUpdates":false}},{"type":"shape","id":"948a0834-d5fb-4b86-ae56-77a7b5366e28","elementConfiguration":{"binding":"{{Form.Classification.Display}}","visibility":"","type":"text","disableUpdates":false}},{"type":"shape","id":"5a5b3da8-a3a6-421a-ad53-186e883f6f85","elementConfiguration":{"inheritDimensions":"{{InheritDimensions.InheritNone}}","width":"","height":"1 cm","image":"{{Form.SAPLogo.SubbrandWhite}}","visibility":"","type":"image","disableUpdates":false}},{"type":"shape","id":"07378db2-8ffa-454e-ad1a-6b9c95867991","elementConfiguration":{"binding":"{{Form.Classification.Display}}","visibility":"","type":"text","disableUpdates":false}},{"type":"shape","id":"b789734e-9f5d-41f3-9cae-9edad3123ec4","elementConfiguration":{"inheritDimensions":"{{InheritDimensions.InheritNone}}","width":"","height":"1 cm","image":"{{Form.SAPLogo.SubbrandWhite}}","visibility":"","type":"image","disableUpdates":false}},{"type":"shape","id":"d3dfc1ec-d0e8-4de2-ba6d-d3d6cb1c3b12","elementConfiguration":{"binding":"{{Form.Classification.Display}}","visibility":"","type":"text","disableUpdates":false}}],"transformationConfigurations":[],"templateName":"Blank - PowerPoint_20240709","templateDescription":"","enableDocumentContentUpdater":true,"version":"2.0"}]]></TemplafyTemplateConfiguration>
</file>

<file path=customXml/item2.xml><?xml version="1.0" encoding="utf-8"?>
<TemplafyFormConfiguration><![CDATA[{"formFields":[{"distinct":false,"hideIfNoUserInteractionRequired":false,"required":false,"defaultValue":" SAP Corporate","autoSelectFirstOption":false,"shareValue":false,"type":"dropDown","dataSourceName":"PPTSubBrandLogos2023","dataSourceFieldName":"Name","name":"SAPLogo","label":"Select Template"},{"distinct":false,"hideIfNoUserInteractionRequired":false,"required":false,"defaultValue":"INTERNAL - SAP Only","autoSelectFirstOption":false,"shareValue":false,"type":"dropDown","dataSourceName":"Classification","dataSourceFieldName":"Name","name":"Classification","label":"Select Classification"}],"formDataEntries":[{"name":"SAPLogo","value":"wE+s8fdhNCaiXuC1E15vlQ=="},{"name":"Classification","value":"wE+s8fdhNCaiXuC1E15vlQ=="}]}]]></TemplafyFormConfiguration>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a1ccb42-7cdc-403e-a462-f1b20785ae94">
      <Terms xmlns="http://schemas.microsoft.com/office/infopath/2007/PartnerControls"/>
    </lcf76f155ced4ddcb4097134ff3c332f>
    <TaxCatchAll xmlns="d3e11325-e39c-4946-810b-be2856ddcbe9"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Document" ma:contentTypeID="0x010100B6012EE0EE194E4F8FAF564DAC167FEA" ma:contentTypeVersion="17" ma:contentTypeDescription="Create a new document." ma:contentTypeScope="" ma:versionID="3b689fe7f7becad8bd71a725a1acfa51">
  <xsd:schema xmlns:xsd="http://www.w3.org/2001/XMLSchema" xmlns:xs="http://www.w3.org/2001/XMLSchema" xmlns:p="http://schemas.microsoft.com/office/2006/metadata/properties" xmlns:ns2="d3e11325-e39c-4946-810b-be2856ddcbe9" xmlns:ns3="aa1ccb42-7cdc-403e-a462-f1b20785ae94" targetNamespace="http://schemas.microsoft.com/office/2006/metadata/properties" ma:root="true" ma:fieldsID="bc5f837536b15d137467f5af9a2312af" ns2:_="" ns3:_="">
    <xsd:import namespace="d3e11325-e39c-4946-810b-be2856ddcbe9"/>
    <xsd:import namespace="aa1ccb42-7cdc-403e-a462-f1b20785ae9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lcf76f155ced4ddcb4097134ff3c332f" minOccurs="0"/>
                <xsd:element ref="ns2:TaxCatchAll" minOccurs="0"/>
                <xsd:element ref="ns3:MediaServiceGenerationTime" minOccurs="0"/>
                <xsd:element ref="ns3:MediaServiceEventHashCode" minOccurs="0"/>
                <xsd:element ref="ns3:MediaServiceOCR" minOccurs="0"/>
                <xsd:element ref="ns3:MediaServiceLocation" minOccurs="0"/>
                <xsd:element ref="ns3:MediaServiceAutoKeyPoints" minOccurs="0"/>
                <xsd:element ref="ns3:MediaServiceKeyPoint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e11325-e39c-4946-810b-be2856ddcbe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bf699a30-6e90-4c9f-b45c-405c9f924242}" ma:internalName="TaxCatchAll" ma:showField="CatchAllData" ma:web="d3e11325-e39c-4946-810b-be2856ddcbe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a1ccb42-7cdc-403e-a462-f1b20785ae9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a5cc3639-fa82-406e-bfdc-6e27a69b6bf2"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TemplafySlideFormConfiguration><![CDATA[{"formFields":[],"formDataEntries":[]}]]></TemplafySlideFormConfiguration>
</file>

<file path=customXml/item7.xml><?xml version="1.0" encoding="utf-8"?>
<TemplafySlideTemplateConfiguration><![CDATA[{"slideVersion":5,"isValidatorEnabled":false,"isLocked":false,"elementsMetadata":[],"slideId":"1075673554343165952","enableDocumentContentUpdater":false,"version":"2.0"}]]></TemplafySlideTemplateConfiguration>
</file>

<file path=customXml/itemProps1.xml><?xml version="1.0" encoding="utf-8"?>
<ds:datastoreItem xmlns:ds="http://schemas.openxmlformats.org/officeDocument/2006/customXml" ds:itemID="{626BBCBB-1894-4E66-BA48-9E91CE3ACBA0}">
  <ds:schemaRefs/>
</ds:datastoreItem>
</file>

<file path=customXml/itemProps2.xml><?xml version="1.0" encoding="utf-8"?>
<ds:datastoreItem xmlns:ds="http://schemas.openxmlformats.org/officeDocument/2006/customXml" ds:itemID="{CC49FFC8-2FF3-4057-96F0-3BCD1A4F0351}">
  <ds:schemaRefs/>
</ds:datastoreItem>
</file>

<file path=customXml/itemProps3.xml><?xml version="1.0" encoding="utf-8"?>
<ds:datastoreItem xmlns:ds="http://schemas.openxmlformats.org/officeDocument/2006/customXml" ds:itemID="{C1422F45-04DB-421D-8796-270006657806}">
  <ds:schemaRefs>
    <ds:schemaRef ds:uri="http://purl.org/dc/dcmitype/"/>
    <ds:schemaRef ds:uri="http://schemas.microsoft.com/office/2006/documentManagement/types"/>
    <ds:schemaRef ds:uri="http://www.w3.org/XML/1998/namespace"/>
    <ds:schemaRef ds:uri="http://purl.org/dc/terms/"/>
    <ds:schemaRef ds:uri="http://schemas.microsoft.com/office/infopath/2007/PartnerControls"/>
    <ds:schemaRef ds:uri="http://schemas.microsoft.com/office/2006/metadata/properties"/>
    <ds:schemaRef ds:uri="http://schemas.openxmlformats.org/package/2006/metadata/core-properties"/>
    <ds:schemaRef ds:uri="582ef66f-9b25-4345-aa25-d37221798b52"/>
    <ds:schemaRef ds:uri="edc09761-b009-443a-82f3-1bec474cb9a0"/>
    <ds:schemaRef ds:uri="http://purl.org/dc/elements/1.1/"/>
    <ds:schemaRef ds:uri="aa1ccb42-7cdc-403e-a462-f1b20785ae94"/>
    <ds:schemaRef ds:uri="d3e11325-e39c-4946-810b-be2856ddcbe9"/>
  </ds:schemaRefs>
</ds:datastoreItem>
</file>

<file path=customXml/itemProps4.xml><?xml version="1.0" encoding="utf-8"?>
<ds:datastoreItem xmlns:ds="http://schemas.openxmlformats.org/officeDocument/2006/customXml" ds:itemID="{291DCB28-1C52-4C0E-804A-6BD2D3F0FB8D}">
  <ds:schemaRefs>
    <ds:schemaRef ds:uri="http://schemas.microsoft.com/sharepoint/v3/contenttype/forms"/>
  </ds:schemaRefs>
</ds:datastoreItem>
</file>

<file path=customXml/itemProps5.xml><?xml version="1.0" encoding="utf-8"?>
<ds:datastoreItem xmlns:ds="http://schemas.openxmlformats.org/officeDocument/2006/customXml" ds:itemID="{58376181-18EB-4963-83D4-CA8EBCABE5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e11325-e39c-4946-810b-be2856ddcbe9"/>
    <ds:schemaRef ds:uri="aa1ccb42-7cdc-403e-a462-f1b20785ae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FC251EE6-AE84-4210-965C-056FED6133A0}">
  <ds:schemaRefs/>
</ds:datastoreItem>
</file>

<file path=customXml/itemProps7.xml><?xml version="1.0" encoding="utf-8"?>
<ds:datastoreItem xmlns:ds="http://schemas.openxmlformats.org/officeDocument/2006/customXml" ds:itemID="{89421747-FB26-4FD6-BEB5-82545387F2E4}">
  <ds:schemaRefs/>
</ds:datastoreItem>
</file>

<file path=docMetadata/LabelInfo.xml><?xml version="1.0" encoding="utf-8"?>
<clbl:labelList xmlns:clbl="http://schemas.microsoft.com/office/2020/mipLabelMetadata">
  <clbl:label id="{51e9b6e7-e4bc-422b-b136-be52bca82e7c}" enabled="1" method="Privileged" siteId="{42f7676c-f455-423c-82f6-dc2d99791af7}" removed="0"/>
</clbl:labelList>
</file>

<file path=docProps/app.xml><?xml version="1.0" encoding="utf-8"?>
<Properties xmlns="http://schemas.openxmlformats.org/officeDocument/2006/extended-properties" xmlns:vt="http://schemas.openxmlformats.org/officeDocument/2006/docPropsVTypes">
  <Template/>
  <TotalTime>0</TotalTime>
  <Words>1415</Words>
  <Application>Microsoft Office PowerPoint</Application>
  <PresentationFormat>Benutzerdefiniert</PresentationFormat>
  <Paragraphs>255</Paragraphs>
  <Slides>18</Slides>
  <Notes>16</Notes>
  <HiddenSlides>1</HiddenSlides>
  <MMClips>2</MMClips>
  <ScaleCrop>false</ScaleCrop>
  <HeadingPairs>
    <vt:vector size="8" baseType="variant">
      <vt:variant>
        <vt:lpstr>Verwendete Schriftarten</vt:lpstr>
      </vt:variant>
      <vt:variant>
        <vt:i4>13</vt:i4>
      </vt:variant>
      <vt:variant>
        <vt:lpstr>Design</vt:lpstr>
      </vt:variant>
      <vt:variant>
        <vt:i4>1</vt:i4>
      </vt:variant>
      <vt:variant>
        <vt:lpstr>Eingebettete OLE-Server</vt:lpstr>
      </vt:variant>
      <vt:variant>
        <vt:i4>1</vt:i4>
      </vt:variant>
      <vt:variant>
        <vt:lpstr>Folientitel</vt:lpstr>
      </vt:variant>
      <vt:variant>
        <vt:i4>18</vt:i4>
      </vt:variant>
    </vt:vector>
  </HeadingPairs>
  <TitlesOfParts>
    <vt:vector size="33" baseType="lpstr">
      <vt:lpstr>72 Brand</vt:lpstr>
      <vt:lpstr>Wingdings</vt:lpstr>
      <vt:lpstr>Symbol</vt:lpstr>
      <vt:lpstr>72 Brand Book</vt:lpstr>
      <vt:lpstr>Calibri</vt:lpstr>
      <vt:lpstr>Segoe UI</vt:lpstr>
      <vt:lpstr>Times New Roman</vt:lpstr>
      <vt:lpstr>72 Brand Light</vt:lpstr>
      <vt:lpstr>72 Brand Medium</vt:lpstr>
      <vt:lpstr>Wingdings</vt:lpstr>
      <vt:lpstr>Aptos</vt:lpstr>
      <vt:lpstr>72</vt:lpstr>
      <vt:lpstr>Arial</vt:lpstr>
      <vt:lpstr>16_SAP Template 2024</vt:lpstr>
      <vt:lpstr>think-cell Slide</vt:lpstr>
      <vt:lpstr>Join a new era of  enterprise management with SAP Business Suite   </vt:lpstr>
      <vt:lpstr>Meeting your challenges requires a new era of enterprise management</vt:lpstr>
      <vt:lpstr>Realizing our vision by bringing together applications, data, and AI</vt:lpstr>
      <vt:lpstr>Agentic processes represent a next generation of automation</vt:lpstr>
      <vt:lpstr>Systems of AI agents</vt:lpstr>
      <vt:lpstr>Unmatched Data with SAP Business Data Cloud</vt:lpstr>
      <vt:lpstr>What is a data product? Organize SAP data through data products</vt:lpstr>
      <vt:lpstr>What are insight apps in SAP Business Data Cloud?</vt:lpstr>
      <vt:lpstr>Insight apps and data products leverage SAP’s deep knowledge  of application data and metadata</vt:lpstr>
      <vt:lpstr>Unparalleled Applications</vt:lpstr>
      <vt:lpstr>PowerPoint-Präsentation</vt:lpstr>
      <vt:lpstr>Working Capital – Gain a deep understanding of your operations  Insight Apps for Core Enterprise Analytics</vt:lpstr>
      <vt:lpstr>PowerPoint-Präsentation</vt:lpstr>
      <vt:lpstr>SAP Business Suite</vt:lpstr>
      <vt:lpstr>PowerPoint-Präsentation</vt:lpstr>
      <vt:lpstr>RISE with SAP Methodology Transformation and continuous innovation </vt:lpstr>
      <vt:lpstr>PowerPoint-Präsentation</vt:lpstr>
      <vt:lpstr>PowerPoint-Prä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
  <dc:creator>Gudat, Sandra</dc:creator>
  <cp:keywords>2024/16:9/white</cp:keywords>
  <dc:description/>
  <cp:lastModifiedBy>Nicole Schroeter</cp:lastModifiedBy>
  <cp:revision>7</cp:revision>
  <cp:lastPrinted>2025-01-22T19:06:13Z</cp:lastPrinted>
  <dcterms:created xsi:type="dcterms:W3CDTF">2024-10-21T15:50:21Z</dcterms:created>
  <dcterms:modified xsi:type="dcterms:W3CDTF">2025-05-08T13:08:3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01452479</vt:i4>
  </property>
  <property fmtid="{D5CDD505-2E9C-101B-9397-08002B2CF9AE}" pid="3" name="_NewReviewCycle">
    <vt:lpwstr/>
  </property>
  <property fmtid="{D5CDD505-2E9C-101B-9397-08002B2CF9AE}" pid="4" name="_EmailSubject">
    <vt:lpwstr>SAP - PPT Exploration (Updated)</vt:lpwstr>
  </property>
  <property fmtid="{D5CDD505-2E9C-101B-9397-08002B2CF9AE}" pid="5" name="_AuthorEmail">
    <vt:lpwstr>heidi.bitz@sap.com</vt:lpwstr>
  </property>
  <property fmtid="{D5CDD505-2E9C-101B-9397-08002B2CF9AE}" pid="6" name="_AuthorEmailDisplayName">
    <vt:lpwstr>Bitz, Heidi</vt:lpwstr>
  </property>
  <property fmtid="{D5CDD505-2E9C-101B-9397-08002B2CF9AE}" pid="7" name="_PreviousAdHocReviewCycleID">
    <vt:i4>1357826825</vt:i4>
  </property>
  <property fmtid="{D5CDD505-2E9C-101B-9397-08002B2CF9AE}" pid="8" name="TemplafyTimeStamp">
    <vt:lpwstr>2024-07-09T08:38:38</vt:lpwstr>
  </property>
  <property fmtid="{D5CDD505-2E9C-101B-9397-08002B2CF9AE}" pid="9" name="TemplafyTenantId">
    <vt:lpwstr>sap</vt:lpwstr>
  </property>
  <property fmtid="{D5CDD505-2E9C-101B-9397-08002B2CF9AE}" pid="10" name="TemplafyTemplateId">
    <vt:lpwstr>953956191151325618</vt:lpwstr>
  </property>
  <property fmtid="{D5CDD505-2E9C-101B-9397-08002B2CF9AE}" pid="11" name="TemplafyUserProfileId">
    <vt:lpwstr>637865290433647264</vt:lpwstr>
  </property>
  <property fmtid="{D5CDD505-2E9C-101B-9397-08002B2CF9AE}" pid="12" name="TemplafyLanguageCode">
    <vt:lpwstr>en-US</vt:lpwstr>
  </property>
  <property fmtid="{D5CDD505-2E9C-101B-9397-08002B2CF9AE}" pid="13" name="TemplafyFromBlank">
    <vt:bool>true</vt:bool>
  </property>
  <property fmtid="{D5CDD505-2E9C-101B-9397-08002B2CF9AE}" pid="14" name="ContentTypeId">
    <vt:lpwstr>0x010100B6012EE0EE194E4F8FAF564DAC167FEA</vt:lpwstr>
  </property>
  <property fmtid="{D5CDD505-2E9C-101B-9397-08002B2CF9AE}" pid="15" name="MediaServiceImageTags">
    <vt:lpwstr/>
  </property>
  <property fmtid="{D5CDD505-2E9C-101B-9397-08002B2CF9AE}" pid="16" name="ClassificationContentMarkingFooterLocations">
    <vt:lpwstr>16_SAP Template 2024:132\SAP Template 2025:132</vt:lpwstr>
  </property>
  <property fmtid="{D5CDD505-2E9C-101B-9397-08002B2CF9AE}" pid="17" name="ClassificationContentMarkingFooterText">
    <vt:lpwstr>Public</vt:lpwstr>
  </property>
</Properties>
</file>